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902" r:id="rId1"/>
  </p:sldMasterIdLst>
  <p:notesMasterIdLst>
    <p:notesMasterId r:id="rId38"/>
  </p:notesMasterIdLst>
  <p:handoutMasterIdLst>
    <p:handoutMasterId r:id="rId39"/>
  </p:handoutMasterIdLst>
  <p:sldIdLst>
    <p:sldId id="2147473788" r:id="rId2"/>
    <p:sldId id="2142532923" r:id="rId3"/>
    <p:sldId id="276" r:id="rId4"/>
    <p:sldId id="2147473753" r:id="rId5"/>
    <p:sldId id="2147473757" r:id="rId6"/>
    <p:sldId id="2147473755" r:id="rId7"/>
    <p:sldId id="2147473756" r:id="rId8"/>
    <p:sldId id="2147473787" r:id="rId9"/>
    <p:sldId id="2147473759" r:id="rId10"/>
    <p:sldId id="2147473758" r:id="rId11"/>
    <p:sldId id="2147473760" r:id="rId12"/>
    <p:sldId id="2147473761" r:id="rId13"/>
    <p:sldId id="2147473762" r:id="rId14"/>
    <p:sldId id="2147473767" r:id="rId15"/>
    <p:sldId id="2147473789" r:id="rId16"/>
    <p:sldId id="2147473768" r:id="rId17"/>
    <p:sldId id="2147473766" r:id="rId18"/>
    <p:sldId id="2147473770" r:id="rId19"/>
    <p:sldId id="2147473771" r:id="rId20"/>
    <p:sldId id="2147473772" r:id="rId21"/>
    <p:sldId id="2147473773" r:id="rId22"/>
    <p:sldId id="2147473774" r:id="rId23"/>
    <p:sldId id="2147473775" r:id="rId24"/>
    <p:sldId id="2147473776" r:id="rId25"/>
    <p:sldId id="2147473777" r:id="rId26"/>
    <p:sldId id="2147473778" r:id="rId27"/>
    <p:sldId id="2147473779" r:id="rId28"/>
    <p:sldId id="2147473780" r:id="rId29"/>
    <p:sldId id="2147473781" r:id="rId30"/>
    <p:sldId id="2147473782" r:id="rId31"/>
    <p:sldId id="2147473783" r:id="rId32"/>
    <p:sldId id="2147473784" r:id="rId33"/>
    <p:sldId id="2147473786" r:id="rId34"/>
    <p:sldId id="2147473763" r:id="rId35"/>
    <p:sldId id="2147473785" r:id="rId36"/>
    <p:sldId id="2147473764" r:id="rId37"/>
  </p:sldIdLst>
  <p:sldSz cx="12192000" cy="6858000"/>
  <p:notesSz cx="6858000" cy="9144000"/>
  <p:defaultTextStyle>
    <a:defPPr>
      <a:defRPr lang="en-UA"/>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Liana Fedoriuk" initials="LF" lastIdx="3" clrIdx="0">
    <p:extLst>
      <p:ext uri="{19B8F6BF-5375-455C-9EA6-DF929625EA0E}">
        <p15:presenceInfo xmlns:p15="http://schemas.microsoft.com/office/powerpoint/2012/main" userId="S::Liana_Fedoriuk@epam.com::b21224b7-3d93-4e09-b1e4-e3460d40fd99" providerId="AD"/>
      </p:ext>
    </p:extLst>
  </p:cmAuthor>
  <p:cmAuthor id="2" name="Alina Naliesna" initials="AN" lastIdx="7" clrIdx="1">
    <p:extLst>
      <p:ext uri="{19B8F6BF-5375-455C-9EA6-DF929625EA0E}">
        <p15:presenceInfo xmlns:p15="http://schemas.microsoft.com/office/powerpoint/2012/main" userId="S::Alina_Naliesna@epam.com::998312b4-f654-4b54-8611-729ae66bee75" providerId="AD"/>
      </p:ext>
    </p:extLst>
  </p:cmAuthor>
  <p:cmAuthor id="3" name="Yana Noninian" initials="YN" lastIdx="1" clrIdx="2">
    <p:extLst>
      <p:ext uri="{19B8F6BF-5375-455C-9EA6-DF929625EA0E}">
        <p15:presenceInfo xmlns:p15="http://schemas.microsoft.com/office/powerpoint/2012/main" userId="S::yana_noninian@epam.com::014843ae-a80e-4e4a-81bf-6aa9753e0b37"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199B87"/>
    <a:srgbClr val="222222"/>
    <a:srgbClr val="F2FAF8"/>
    <a:srgbClr val="F2F2F2"/>
    <a:srgbClr val="E5F6F2"/>
    <a:srgbClr val="55CEBD"/>
    <a:srgbClr val="FF6866"/>
    <a:srgbClr val="ABDBDD"/>
    <a:srgbClr val="1A9BE1"/>
    <a:srgbClr val="F9E5C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A6288290-BC43-4144-8A9A-F5B40807FE2A}" v="170" dt="2024-08-18T07:36:24.813"/>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75000" autoAdjust="0"/>
  </p:normalViewPr>
  <p:slideViewPr>
    <p:cSldViewPr snapToGrid="0">
      <p:cViewPr varScale="1">
        <p:scale>
          <a:sx n="95" d="100"/>
          <a:sy n="95" d="100"/>
        </p:scale>
        <p:origin x="1158" y="84"/>
      </p:cViewPr>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handoutMaster" Target="handoutMasters/handoutMaster1.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viewProps" Target="viewProps.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commentAuthors" Target="commentAuthors.xml"/><Relationship Id="rId45" Type="http://schemas.microsoft.com/office/2016/11/relationships/changesInfo" Target="changesInfos/changesInfo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theme" Target="theme/theme1.xml"/><Relationship Id="rId8" Type="http://schemas.openxmlformats.org/officeDocument/2006/relationships/slide" Target="slides/slide7.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notesMaster" Target="notesMasters/notesMaster1.xml"/><Relationship Id="rId46" Type="http://schemas.microsoft.com/office/2015/10/relationships/revisionInfo" Target="revisionInfo.xml"/><Relationship Id="rId20" Type="http://schemas.openxmlformats.org/officeDocument/2006/relationships/slide" Target="slides/slide19.xml"/><Relationship Id="rId41" Type="http://schemas.openxmlformats.org/officeDocument/2006/relationships/presProps" Target="pres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Uladzimir Litvinau" userId="7c780bef-f8d3-4d23-a35d-3c7004030c64" providerId="ADAL" clId="{A6288290-BC43-4144-8A9A-F5B40807FE2A}"/>
    <pc:docChg chg="undo custSel addSld modSld">
      <pc:chgData name="Uladzimir Litvinau" userId="7c780bef-f8d3-4d23-a35d-3c7004030c64" providerId="ADAL" clId="{A6288290-BC43-4144-8A9A-F5B40807FE2A}" dt="2024-08-18T07:36:43.717" v="817" actId="20577"/>
      <pc:docMkLst>
        <pc:docMk/>
      </pc:docMkLst>
      <pc:sldChg chg="addSp delSp modSp mod modNotesTx">
        <pc:chgData name="Uladzimir Litvinau" userId="7c780bef-f8d3-4d23-a35d-3c7004030c64" providerId="ADAL" clId="{A6288290-BC43-4144-8A9A-F5B40807FE2A}" dt="2024-08-18T07:35:21.824" v="814" actId="313"/>
        <pc:sldMkLst>
          <pc:docMk/>
          <pc:sldMk cId="2849265882" sldId="2142532923"/>
        </pc:sldMkLst>
        <pc:spChg chg="add mod">
          <ac:chgData name="Uladzimir Litvinau" userId="7c780bef-f8d3-4d23-a35d-3c7004030c64" providerId="ADAL" clId="{A6288290-BC43-4144-8A9A-F5B40807FE2A}" dt="2024-08-11T09:51:18.738" v="11" actId="20577"/>
          <ac:spMkLst>
            <pc:docMk/>
            <pc:sldMk cId="2849265882" sldId="2142532923"/>
            <ac:spMk id="15" creationId="{322F0B90-B35E-696D-343A-3C4149B74C84}"/>
          </ac:spMkLst>
        </pc:spChg>
        <pc:spChg chg="add mod">
          <ac:chgData name="Uladzimir Litvinau" userId="7c780bef-f8d3-4d23-a35d-3c7004030c64" providerId="ADAL" clId="{A6288290-BC43-4144-8A9A-F5B40807FE2A}" dt="2024-08-11T09:51:13.054" v="9" actId="1076"/>
          <ac:spMkLst>
            <pc:docMk/>
            <pc:sldMk cId="2849265882" sldId="2142532923"/>
            <ac:spMk id="17" creationId="{22794733-F54B-FDAB-61CB-F57BCB4AC656}"/>
          </ac:spMkLst>
        </pc:spChg>
        <pc:spChg chg="mod">
          <ac:chgData name="Uladzimir Litvinau" userId="7c780bef-f8d3-4d23-a35d-3c7004030c64" providerId="ADAL" clId="{A6288290-BC43-4144-8A9A-F5B40807FE2A}" dt="2024-08-11T09:51:45.393" v="41" actId="20577"/>
          <ac:spMkLst>
            <pc:docMk/>
            <pc:sldMk cId="2849265882" sldId="2142532923"/>
            <ac:spMk id="71" creationId="{407F047D-5E25-B04C-82BA-F942C1AA01CB}"/>
          </ac:spMkLst>
        </pc:spChg>
        <pc:spChg chg="mod">
          <ac:chgData name="Uladzimir Litvinau" userId="7c780bef-f8d3-4d23-a35d-3c7004030c64" providerId="ADAL" clId="{A6288290-BC43-4144-8A9A-F5B40807FE2A}" dt="2024-08-11T09:51:24.594" v="13"/>
          <ac:spMkLst>
            <pc:docMk/>
            <pc:sldMk cId="2849265882" sldId="2142532923"/>
            <ac:spMk id="75" creationId="{40500105-3BED-4A40-BD42-1ECF1E6BAE47}"/>
          </ac:spMkLst>
        </pc:spChg>
        <pc:spChg chg="mod">
          <ac:chgData name="Uladzimir Litvinau" userId="7c780bef-f8d3-4d23-a35d-3c7004030c64" providerId="ADAL" clId="{A6288290-BC43-4144-8A9A-F5B40807FE2A}" dt="2024-08-11T09:51:22.023" v="12"/>
          <ac:spMkLst>
            <pc:docMk/>
            <pc:sldMk cId="2849265882" sldId="2142532923"/>
            <ac:spMk id="76" creationId="{237CB115-4F19-6A41-9C2F-B6EF7960E3D7}"/>
          </ac:spMkLst>
        </pc:spChg>
        <pc:picChg chg="add del">
          <ac:chgData name="Uladzimir Litvinau" userId="7c780bef-f8d3-4d23-a35d-3c7004030c64" providerId="ADAL" clId="{A6288290-BC43-4144-8A9A-F5B40807FE2A}" dt="2024-08-11T09:50:57.634" v="7" actId="22"/>
          <ac:picMkLst>
            <pc:docMk/>
            <pc:sldMk cId="2849265882" sldId="2142532923"/>
            <ac:picMk id="14" creationId="{DBEDB7B4-9A80-4F7F-ADE6-65A49846D4FA}"/>
          </ac:picMkLst>
        </pc:picChg>
      </pc:sldChg>
      <pc:sldChg chg="modSp mod">
        <pc:chgData name="Uladzimir Litvinau" userId="7c780bef-f8d3-4d23-a35d-3c7004030c64" providerId="ADAL" clId="{A6288290-BC43-4144-8A9A-F5B40807FE2A}" dt="2024-08-16T15:07:22.986" v="709" actId="20577"/>
        <pc:sldMkLst>
          <pc:docMk/>
          <pc:sldMk cId="96084815" sldId="2147473753"/>
        </pc:sldMkLst>
        <pc:spChg chg="mod">
          <ac:chgData name="Uladzimir Litvinau" userId="7c780bef-f8d3-4d23-a35d-3c7004030c64" providerId="ADAL" clId="{A6288290-BC43-4144-8A9A-F5B40807FE2A}" dt="2024-08-16T14:56:48.037" v="701" actId="20577"/>
          <ac:spMkLst>
            <pc:docMk/>
            <pc:sldMk cId="96084815" sldId="2147473753"/>
            <ac:spMk id="2" creationId="{EE3E7B12-94E5-1E8A-9A20-C930CC8426EB}"/>
          </ac:spMkLst>
        </pc:spChg>
        <pc:spChg chg="mod">
          <ac:chgData name="Uladzimir Litvinau" userId="7c780bef-f8d3-4d23-a35d-3c7004030c64" providerId="ADAL" clId="{A6288290-BC43-4144-8A9A-F5B40807FE2A}" dt="2024-08-16T15:07:22.986" v="709" actId="20577"/>
          <ac:spMkLst>
            <pc:docMk/>
            <pc:sldMk cId="96084815" sldId="2147473753"/>
            <ac:spMk id="9" creationId="{43E65A60-BFF6-5D2C-96CA-C0DCDBCDC9B7}"/>
          </ac:spMkLst>
        </pc:spChg>
      </pc:sldChg>
      <pc:sldChg chg="modNotesTx">
        <pc:chgData name="Uladzimir Litvinau" userId="7c780bef-f8d3-4d23-a35d-3c7004030c64" providerId="ADAL" clId="{A6288290-BC43-4144-8A9A-F5B40807FE2A}" dt="2024-08-11T09:56:11.561" v="335" actId="20577"/>
        <pc:sldMkLst>
          <pc:docMk/>
          <pc:sldMk cId="2378474052" sldId="2147473759"/>
        </pc:sldMkLst>
      </pc:sldChg>
      <pc:sldChg chg="modSp mod modAnim">
        <pc:chgData name="Uladzimir Litvinau" userId="7c780bef-f8d3-4d23-a35d-3c7004030c64" providerId="ADAL" clId="{A6288290-BC43-4144-8A9A-F5B40807FE2A}" dt="2024-08-18T07:36:24.813" v="816" actId="114"/>
        <pc:sldMkLst>
          <pc:docMk/>
          <pc:sldMk cId="601109454" sldId="2147473762"/>
        </pc:sldMkLst>
        <pc:spChg chg="mod">
          <ac:chgData name="Uladzimir Litvinau" userId="7c780bef-f8d3-4d23-a35d-3c7004030c64" providerId="ADAL" clId="{A6288290-BC43-4144-8A9A-F5B40807FE2A}" dt="2024-08-18T07:36:24.813" v="816" actId="114"/>
          <ac:spMkLst>
            <pc:docMk/>
            <pc:sldMk cId="601109454" sldId="2147473762"/>
            <ac:spMk id="7" creationId="{CA211C83-0ECC-7201-4143-28C0C45C24D4}"/>
          </ac:spMkLst>
        </pc:spChg>
      </pc:sldChg>
      <pc:sldChg chg="modSp mod modNotesTx">
        <pc:chgData name="Uladzimir Litvinau" userId="7c780bef-f8d3-4d23-a35d-3c7004030c64" providerId="ADAL" clId="{A6288290-BC43-4144-8A9A-F5B40807FE2A}" dt="2024-08-16T13:53:32.942" v="642" actId="5793"/>
        <pc:sldMkLst>
          <pc:docMk/>
          <pc:sldMk cId="3573753785" sldId="2147473766"/>
        </pc:sldMkLst>
        <pc:spChg chg="mod">
          <ac:chgData name="Uladzimir Litvinau" userId="7c780bef-f8d3-4d23-a35d-3c7004030c64" providerId="ADAL" clId="{A6288290-BC43-4144-8A9A-F5B40807FE2A}" dt="2024-08-16T10:53:27.738" v="531" actId="207"/>
          <ac:spMkLst>
            <pc:docMk/>
            <pc:sldMk cId="3573753785" sldId="2147473766"/>
            <ac:spMk id="2" creationId="{EE3E7B12-94E5-1E8A-9A20-C930CC8426EB}"/>
          </ac:spMkLst>
        </pc:spChg>
        <pc:spChg chg="mod">
          <ac:chgData name="Uladzimir Litvinau" userId="7c780bef-f8d3-4d23-a35d-3c7004030c64" providerId="ADAL" clId="{A6288290-BC43-4144-8A9A-F5B40807FE2A}" dt="2024-08-16T10:53:07.798" v="529" actId="14100"/>
          <ac:spMkLst>
            <pc:docMk/>
            <pc:sldMk cId="3573753785" sldId="2147473766"/>
            <ac:spMk id="10" creationId="{1F88C411-8C59-AFA3-5C10-11E75FDF9817}"/>
          </ac:spMkLst>
        </pc:spChg>
        <pc:spChg chg="mod">
          <ac:chgData name="Uladzimir Litvinau" userId="7c780bef-f8d3-4d23-a35d-3c7004030c64" providerId="ADAL" clId="{A6288290-BC43-4144-8A9A-F5B40807FE2A}" dt="2024-08-16T11:08:43.283" v="633" actId="208"/>
          <ac:spMkLst>
            <pc:docMk/>
            <pc:sldMk cId="3573753785" sldId="2147473766"/>
            <ac:spMk id="34" creationId="{587F560B-62C0-B867-EC11-79B4C360893D}"/>
          </ac:spMkLst>
        </pc:spChg>
        <pc:picChg chg="mod">
          <ac:chgData name="Uladzimir Litvinau" userId="7c780bef-f8d3-4d23-a35d-3c7004030c64" providerId="ADAL" clId="{A6288290-BC43-4144-8A9A-F5B40807FE2A}" dt="2024-08-16T11:08:43.283" v="633" actId="208"/>
          <ac:picMkLst>
            <pc:docMk/>
            <pc:sldMk cId="3573753785" sldId="2147473766"/>
            <ac:picMk id="33" creationId="{2F838510-22B0-4FBB-C199-A585524A88F1}"/>
          </ac:picMkLst>
        </pc:picChg>
      </pc:sldChg>
      <pc:sldChg chg="addSp delSp modSp mod modNotesTx">
        <pc:chgData name="Uladzimir Litvinau" userId="7c780bef-f8d3-4d23-a35d-3c7004030c64" providerId="ADAL" clId="{A6288290-BC43-4144-8A9A-F5B40807FE2A}" dt="2024-08-16T14:58:03.891" v="708" actId="1076"/>
        <pc:sldMkLst>
          <pc:docMk/>
          <pc:sldMk cId="60625334" sldId="2147473767"/>
        </pc:sldMkLst>
        <pc:spChg chg="mod">
          <ac:chgData name="Uladzimir Litvinau" userId="7c780bef-f8d3-4d23-a35d-3c7004030c64" providerId="ADAL" clId="{A6288290-BC43-4144-8A9A-F5B40807FE2A}" dt="2024-08-11T10:03:52.809" v="352" actId="113"/>
          <ac:spMkLst>
            <pc:docMk/>
            <pc:sldMk cId="60625334" sldId="2147473767"/>
            <ac:spMk id="7" creationId="{CA211C83-0ECC-7201-4143-28C0C45C24D4}"/>
          </ac:spMkLst>
        </pc:spChg>
        <pc:picChg chg="add mod">
          <ac:chgData name="Uladzimir Litvinau" userId="7c780bef-f8d3-4d23-a35d-3c7004030c64" providerId="ADAL" clId="{A6288290-BC43-4144-8A9A-F5B40807FE2A}" dt="2024-08-16T14:58:03.891" v="708" actId="1076"/>
          <ac:picMkLst>
            <pc:docMk/>
            <pc:sldMk cId="60625334" sldId="2147473767"/>
            <ac:picMk id="3" creationId="{21E6D042-3DC1-71F8-8974-A353C9DDEF8A}"/>
          </ac:picMkLst>
        </pc:picChg>
        <pc:picChg chg="del">
          <ac:chgData name="Uladzimir Litvinau" userId="7c780bef-f8d3-4d23-a35d-3c7004030c64" providerId="ADAL" clId="{A6288290-BC43-4144-8A9A-F5B40807FE2A}" dt="2024-08-16T14:57:56.358" v="705" actId="478"/>
          <ac:picMkLst>
            <pc:docMk/>
            <pc:sldMk cId="60625334" sldId="2147473767"/>
            <ac:picMk id="2050" creationId="{D9E1441F-183C-174F-112F-9BEEF6EDD8F1}"/>
          </ac:picMkLst>
        </pc:picChg>
      </pc:sldChg>
      <pc:sldChg chg="modSp mod modAnim">
        <pc:chgData name="Uladzimir Litvinau" userId="7c780bef-f8d3-4d23-a35d-3c7004030c64" providerId="ADAL" clId="{A6288290-BC43-4144-8A9A-F5B40807FE2A}" dt="2024-08-18T07:32:13.830" v="725"/>
        <pc:sldMkLst>
          <pc:docMk/>
          <pc:sldMk cId="3691387356" sldId="2147473768"/>
        </pc:sldMkLst>
        <pc:spChg chg="mod">
          <ac:chgData name="Uladzimir Litvinau" userId="7c780bef-f8d3-4d23-a35d-3c7004030c64" providerId="ADAL" clId="{A6288290-BC43-4144-8A9A-F5B40807FE2A}" dt="2024-08-11T10:30:09.979" v="527" actId="113"/>
          <ac:spMkLst>
            <pc:docMk/>
            <pc:sldMk cId="3691387356" sldId="2147473768"/>
            <ac:spMk id="7" creationId="{CA211C83-0ECC-7201-4143-28C0C45C24D4}"/>
          </ac:spMkLst>
        </pc:spChg>
      </pc:sldChg>
      <pc:sldChg chg="modSp mod modNotesTx">
        <pc:chgData name="Uladzimir Litvinau" userId="7c780bef-f8d3-4d23-a35d-3c7004030c64" providerId="ADAL" clId="{A6288290-BC43-4144-8A9A-F5B40807FE2A}" dt="2024-08-16T13:53:44.206" v="646"/>
        <pc:sldMkLst>
          <pc:docMk/>
          <pc:sldMk cId="260463268" sldId="2147473770"/>
        </pc:sldMkLst>
        <pc:spChg chg="mod">
          <ac:chgData name="Uladzimir Litvinau" userId="7c780bef-f8d3-4d23-a35d-3c7004030c64" providerId="ADAL" clId="{A6288290-BC43-4144-8A9A-F5B40807FE2A}" dt="2024-08-16T10:54:05.795" v="537"/>
          <ac:spMkLst>
            <pc:docMk/>
            <pc:sldMk cId="260463268" sldId="2147473770"/>
            <ac:spMk id="2" creationId="{EE3E7B12-94E5-1E8A-9A20-C930CC8426EB}"/>
          </ac:spMkLst>
        </pc:spChg>
        <pc:spChg chg="mod">
          <ac:chgData name="Uladzimir Litvinau" userId="7c780bef-f8d3-4d23-a35d-3c7004030c64" providerId="ADAL" clId="{A6288290-BC43-4144-8A9A-F5B40807FE2A}" dt="2024-08-16T10:53:38.283" v="533" actId="14100"/>
          <ac:spMkLst>
            <pc:docMk/>
            <pc:sldMk cId="260463268" sldId="2147473770"/>
            <ac:spMk id="10" creationId="{1F88C411-8C59-AFA3-5C10-11E75FDF9817}"/>
          </ac:spMkLst>
        </pc:spChg>
      </pc:sldChg>
      <pc:sldChg chg="modSp mod modNotesTx">
        <pc:chgData name="Uladzimir Litvinau" userId="7c780bef-f8d3-4d23-a35d-3c7004030c64" providerId="ADAL" clId="{A6288290-BC43-4144-8A9A-F5B40807FE2A}" dt="2024-08-16T13:54:04.655" v="650" actId="5793"/>
        <pc:sldMkLst>
          <pc:docMk/>
          <pc:sldMk cId="1416403245" sldId="2147473771"/>
        </pc:sldMkLst>
        <pc:spChg chg="mod">
          <ac:chgData name="Uladzimir Litvinau" userId="7c780bef-f8d3-4d23-a35d-3c7004030c64" providerId="ADAL" clId="{A6288290-BC43-4144-8A9A-F5B40807FE2A}" dt="2024-08-16T10:54:29.822" v="541"/>
          <ac:spMkLst>
            <pc:docMk/>
            <pc:sldMk cId="1416403245" sldId="2147473771"/>
            <ac:spMk id="2" creationId="{EE3E7B12-94E5-1E8A-9A20-C930CC8426EB}"/>
          </ac:spMkLst>
        </pc:spChg>
        <pc:spChg chg="mod">
          <ac:chgData name="Uladzimir Litvinau" userId="7c780bef-f8d3-4d23-a35d-3c7004030c64" providerId="ADAL" clId="{A6288290-BC43-4144-8A9A-F5B40807FE2A}" dt="2024-08-16T10:54:16.916" v="539" actId="14100"/>
          <ac:spMkLst>
            <pc:docMk/>
            <pc:sldMk cId="1416403245" sldId="2147473771"/>
            <ac:spMk id="10" creationId="{1F88C411-8C59-AFA3-5C10-11E75FDF9817}"/>
          </ac:spMkLst>
        </pc:spChg>
      </pc:sldChg>
      <pc:sldChg chg="modSp mod modNotesTx">
        <pc:chgData name="Uladzimir Litvinau" userId="7c780bef-f8d3-4d23-a35d-3c7004030c64" providerId="ADAL" clId="{A6288290-BC43-4144-8A9A-F5B40807FE2A}" dt="2024-08-16T13:54:21.566" v="656"/>
        <pc:sldMkLst>
          <pc:docMk/>
          <pc:sldMk cId="155552058" sldId="2147473772"/>
        </pc:sldMkLst>
        <pc:spChg chg="mod">
          <ac:chgData name="Uladzimir Litvinau" userId="7c780bef-f8d3-4d23-a35d-3c7004030c64" providerId="ADAL" clId="{A6288290-BC43-4144-8A9A-F5B40807FE2A}" dt="2024-08-16T10:55:04.072" v="547"/>
          <ac:spMkLst>
            <pc:docMk/>
            <pc:sldMk cId="155552058" sldId="2147473772"/>
            <ac:spMk id="2" creationId="{EE3E7B12-94E5-1E8A-9A20-C930CC8426EB}"/>
          </ac:spMkLst>
        </pc:spChg>
        <pc:spChg chg="mod">
          <ac:chgData name="Uladzimir Litvinau" userId="7c780bef-f8d3-4d23-a35d-3c7004030c64" providerId="ADAL" clId="{A6288290-BC43-4144-8A9A-F5B40807FE2A}" dt="2024-08-16T10:54:43.826" v="545" actId="14100"/>
          <ac:spMkLst>
            <pc:docMk/>
            <pc:sldMk cId="155552058" sldId="2147473772"/>
            <ac:spMk id="10" creationId="{1F88C411-8C59-AFA3-5C10-11E75FDF9817}"/>
          </ac:spMkLst>
        </pc:spChg>
        <pc:spChg chg="mod">
          <ac:chgData name="Uladzimir Litvinau" userId="7c780bef-f8d3-4d23-a35d-3c7004030c64" providerId="ADAL" clId="{A6288290-BC43-4144-8A9A-F5B40807FE2A}" dt="2024-08-16T11:06:17.152" v="611" actId="208"/>
          <ac:spMkLst>
            <pc:docMk/>
            <pc:sldMk cId="155552058" sldId="2147473772"/>
            <ac:spMk id="36" creationId="{EF22CD6A-7350-B784-9FA5-1629B4C3CE31}"/>
          </ac:spMkLst>
        </pc:spChg>
        <pc:spChg chg="mod">
          <ac:chgData name="Uladzimir Litvinau" userId="7c780bef-f8d3-4d23-a35d-3c7004030c64" providerId="ADAL" clId="{A6288290-BC43-4144-8A9A-F5B40807FE2A}" dt="2024-08-16T11:06:07.517" v="609" actId="208"/>
          <ac:spMkLst>
            <pc:docMk/>
            <pc:sldMk cId="155552058" sldId="2147473772"/>
            <ac:spMk id="48" creationId="{A41BCC08-3034-1F8B-3F21-EECBD65EB641}"/>
          </ac:spMkLst>
        </pc:spChg>
        <pc:picChg chg="mod">
          <ac:chgData name="Uladzimir Litvinau" userId="7c780bef-f8d3-4d23-a35d-3c7004030c64" providerId="ADAL" clId="{A6288290-BC43-4144-8A9A-F5B40807FE2A}" dt="2024-08-16T11:06:17.152" v="611" actId="208"/>
          <ac:picMkLst>
            <pc:docMk/>
            <pc:sldMk cId="155552058" sldId="2147473772"/>
            <ac:picMk id="9" creationId="{38E0BDAB-5373-19C6-6F91-35D85857A5DD}"/>
          </ac:picMkLst>
        </pc:picChg>
        <pc:picChg chg="mod">
          <ac:chgData name="Uladzimir Litvinau" userId="7c780bef-f8d3-4d23-a35d-3c7004030c64" providerId="ADAL" clId="{A6288290-BC43-4144-8A9A-F5B40807FE2A}" dt="2024-08-16T11:06:07.517" v="609" actId="208"/>
          <ac:picMkLst>
            <pc:docMk/>
            <pc:sldMk cId="155552058" sldId="2147473772"/>
            <ac:picMk id="47" creationId="{7F723980-9F86-DB0F-2C39-652042288F24}"/>
          </ac:picMkLst>
        </pc:picChg>
      </pc:sldChg>
      <pc:sldChg chg="modSp mod modNotesTx">
        <pc:chgData name="Uladzimir Litvinau" userId="7c780bef-f8d3-4d23-a35d-3c7004030c64" providerId="ADAL" clId="{A6288290-BC43-4144-8A9A-F5B40807FE2A}" dt="2024-08-16T13:54:31.896" v="660"/>
        <pc:sldMkLst>
          <pc:docMk/>
          <pc:sldMk cId="3332678650" sldId="2147473773"/>
        </pc:sldMkLst>
        <pc:spChg chg="mod">
          <ac:chgData name="Uladzimir Litvinau" userId="7c780bef-f8d3-4d23-a35d-3c7004030c64" providerId="ADAL" clId="{A6288290-BC43-4144-8A9A-F5B40807FE2A}" dt="2024-08-16T10:55:35.553" v="551"/>
          <ac:spMkLst>
            <pc:docMk/>
            <pc:sldMk cId="3332678650" sldId="2147473773"/>
            <ac:spMk id="2" creationId="{EE3E7B12-94E5-1E8A-9A20-C930CC8426EB}"/>
          </ac:spMkLst>
        </pc:spChg>
        <pc:spChg chg="mod">
          <ac:chgData name="Uladzimir Litvinau" userId="7c780bef-f8d3-4d23-a35d-3c7004030c64" providerId="ADAL" clId="{A6288290-BC43-4144-8A9A-F5B40807FE2A}" dt="2024-08-16T10:55:19.921" v="549" actId="14100"/>
          <ac:spMkLst>
            <pc:docMk/>
            <pc:sldMk cId="3332678650" sldId="2147473773"/>
            <ac:spMk id="10" creationId="{1F88C411-8C59-AFA3-5C10-11E75FDF9817}"/>
          </ac:spMkLst>
        </pc:spChg>
        <pc:spChg chg="mod">
          <ac:chgData name="Uladzimir Litvinau" userId="7c780bef-f8d3-4d23-a35d-3c7004030c64" providerId="ADAL" clId="{A6288290-BC43-4144-8A9A-F5B40807FE2A}" dt="2024-08-16T11:06:37.554" v="614" actId="208"/>
          <ac:spMkLst>
            <pc:docMk/>
            <pc:sldMk cId="3332678650" sldId="2147473773"/>
            <ac:spMk id="39" creationId="{123AC138-EB9B-5AF0-1D25-C569E570C2DA}"/>
          </ac:spMkLst>
        </pc:spChg>
        <pc:picChg chg="mod">
          <ac:chgData name="Uladzimir Litvinau" userId="7c780bef-f8d3-4d23-a35d-3c7004030c64" providerId="ADAL" clId="{A6288290-BC43-4144-8A9A-F5B40807FE2A}" dt="2024-08-16T11:06:37.554" v="614" actId="208"/>
          <ac:picMkLst>
            <pc:docMk/>
            <pc:sldMk cId="3332678650" sldId="2147473773"/>
            <ac:picMk id="38" creationId="{18881A4B-8FB3-CD52-49B2-C568CC61DE34}"/>
          </ac:picMkLst>
        </pc:picChg>
      </pc:sldChg>
      <pc:sldChg chg="modSp mod modNotesTx">
        <pc:chgData name="Uladzimir Litvinau" userId="7c780bef-f8d3-4d23-a35d-3c7004030c64" providerId="ADAL" clId="{A6288290-BC43-4144-8A9A-F5B40807FE2A}" dt="2024-08-16T13:54:44.419" v="664"/>
        <pc:sldMkLst>
          <pc:docMk/>
          <pc:sldMk cId="1619210280" sldId="2147473774"/>
        </pc:sldMkLst>
        <pc:spChg chg="mod">
          <ac:chgData name="Uladzimir Litvinau" userId="7c780bef-f8d3-4d23-a35d-3c7004030c64" providerId="ADAL" clId="{A6288290-BC43-4144-8A9A-F5B40807FE2A}" dt="2024-08-16T10:56:13.490" v="556"/>
          <ac:spMkLst>
            <pc:docMk/>
            <pc:sldMk cId="1619210280" sldId="2147473774"/>
            <ac:spMk id="2" creationId="{EE3E7B12-94E5-1E8A-9A20-C930CC8426EB}"/>
          </ac:spMkLst>
        </pc:spChg>
        <pc:spChg chg="mod">
          <ac:chgData name="Uladzimir Litvinau" userId="7c780bef-f8d3-4d23-a35d-3c7004030c64" providerId="ADAL" clId="{A6288290-BC43-4144-8A9A-F5B40807FE2A}" dt="2024-08-16T10:55:54.420" v="553" actId="14100"/>
          <ac:spMkLst>
            <pc:docMk/>
            <pc:sldMk cId="1619210280" sldId="2147473774"/>
            <ac:spMk id="10" creationId="{1F88C411-8C59-AFA3-5C10-11E75FDF9817}"/>
          </ac:spMkLst>
        </pc:spChg>
        <pc:spChg chg="mod">
          <ac:chgData name="Uladzimir Litvinau" userId="7c780bef-f8d3-4d23-a35d-3c7004030c64" providerId="ADAL" clId="{A6288290-BC43-4144-8A9A-F5B40807FE2A}" dt="2024-08-16T11:06:50.170" v="616" actId="208"/>
          <ac:spMkLst>
            <pc:docMk/>
            <pc:sldMk cId="1619210280" sldId="2147473774"/>
            <ac:spMk id="36" creationId="{EF22CD6A-7350-B784-9FA5-1629B4C3CE31}"/>
          </ac:spMkLst>
        </pc:spChg>
        <pc:spChg chg="mod">
          <ac:chgData name="Uladzimir Litvinau" userId="7c780bef-f8d3-4d23-a35d-3c7004030c64" providerId="ADAL" clId="{A6288290-BC43-4144-8A9A-F5B40807FE2A}" dt="2024-08-16T11:06:50.170" v="616" actId="208"/>
          <ac:spMkLst>
            <pc:docMk/>
            <pc:sldMk cId="1619210280" sldId="2147473774"/>
            <ac:spMk id="42" creationId="{C888D0DC-3138-63C0-086D-2383C730CE89}"/>
          </ac:spMkLst>
        </pc:spChg>
        <pc:picChg chg="mod">
          <ac:chgData name="Uladzimir Litvinau" userId="7c780bef-f8d3-4d23-a35d-3c7004030c64" providerId="ADAL" clId="{A6288290-BC43-4144-8A9A-F5B40807FE2A}" dt="2024-08-16T11:06:50.170" v="616" actId="208"/>
          <ac:picMkLst>
            <pc:docMk/>
            <pc:sldMk cId="1619210280" sldId="2147473774"/>
            <ac:picMk id="9" creationId="{38E0BDAB-5373-19C6-6F91-35D85857A5DD}"/>
          </ac:picMkLst>
        </pc:picChg>
        <pc:picChg chg="mod">
          <ac:chgData name="Uladzimir Litvinau" userId="7c780bef-f8d3-4d23-a35d-3c7004030c64" providerId="ADAL" clId="{A6288290-BC43-4144-8A9A-F5B40807FE2A}" dt="2024-08-16T11:06:50.170" v="616" actId="208"/>
          <ac:picMkLst>
            <pc:docMk/>
            <pc:sldMk cId="1619210280" sldId="2147473774"/>
            <ac:picMk id="41" creationId="{5D679CD3-BC09-9870-C144-64E4120FF3EE}"/>
          </ac:picMkLst>
        </pc:picChg>
      </pc:sldChg>
      <pc:sldChg chg="modSp mod modNotesTx">
        <pc:chgData name="Uladzimir Litvinau" userId="7c780bef-f8d3-4d23-a35d-3c7004030c64" providerId="ADAL" clId="{A6288290-BC43-4144-8A9A-F5B40807FE2A}" dt="2024-08-16T13:54:58.042" v="670"/>
        <pc:sldMkLst>
          <pc:docMk/>
          <pc:sldMk cId="2379865670" sldId="2147473775"/>
        </pc:sldMkLst>
        <pc:spChg chg="mod">
          <ac:chgData name="Uladzimir Litvinau" userId="7c780bef-f8d3-4d23-a35d-3c7004030c64" providerId="ADAL" clId="{A6288290-BC43-4144-8A9A-F5B40807FE2A}" dt="2024-08-16T10:56:39.747" v="559" actId="20577"/>
          <ac:spMkLst>
            <pc:docMk/>
            <pc:sldMk cId="2379865670" sldId="2147473775"/>
            <ac:spMk id="2" creationId="{EE3E7B12-94E5-1E8A-9A20-C930CC8426EB}"/>
          </ac:spMkLst>
        </pc:spChg>
        <pc:spChg chg="mod">
          <ac:chgData name="Uladzimir Litvinau" userId="7c780bef-f8d3-4d23-a35d-3c7004030c64" providerId="ADAL" clId="{A6288290-BC43-4144-8A9A-F5B40807FE2A}" dt="2024-08-16T10:56:48.849" v="561" actId="14100"/>
          <ac:spMkLst>
            <pc:docMk/>
            <pc:sldMk cId="2379865670" sldId="2147473775"/>
            <ac:spMk id="10" creationId="{1F88C411-8C59-AFA3-5C10-11E75FDF9817}"/>
          </ac:spMkLst>
        </pc:spChg>
        <pc:spChg chg="mod">
          <ac:chgData name="Uladzimir Litvinau" userId="7c780bef-f8d3-4d23-a35d-3c7004030c64" providerId="ADAL" clId="{A6288290-BC43-4144-8A9A-F5B40807FE2A}" dt="2024-08-16T11:07:00.956" v="618" actId="208"/>
          <ac:spMkLst>
            <pc:docMk/>
            <pc:sldMk cId="2379865670" sldId="2147473775"/>
            <ac:spMk id="48" creationId="{A41BCC08-3034-1F8B-3F21-EECBD65EB641}"/>
          </ac:spMkLst>
        </pc:spChg>
        <pc:picChg chg="mod">
          <ac:chgData name="Uladzimir Litvinau" userId="7c780bef-f8d3-4d23-a35d-3c7004030c64" providerId="ADAL" clId="{A6288290-BC43-4144-8A9A-F5B40807FE2A}" dt="2024-08-16T11:07:00.956" v="618" actId="208"/>
          <ac:picMkLst>
            <pc:docMk/>
            <pc:sldMk cId="2379865670" sldId="2147473775"/>
            <ac:picMk id="47" creationId="{7F723980-9F86-DB0F-2C39-652042288F24}"/>
          </ac:picMkLst>
        </pc:picChg>
      </pc:sldChg>
      <pc:sldChg chg="modSp mod modNotesTx">
        <pc:chgData name="Uladzimir Litvinau" userId="7c780bef-f8d3-4d23-a35d-3c7004030c64" providerId="ADAL" clId="{A6288290-BC43-4144-8A9A-F5B40807FE2A}" dt="2024-08-16T13:55:06.742" v="672"/>
        <pc:sldMkLst>
          <pc:docMk/>
          <pc:sldMk cId="1941243125" sldId="2147473776"/>
        </pc:sldMkLst>
        <pc:spChg chg="mod">
          <ac:chgData name="Uladzimir Litvinau" userId="7c780bef-f8d3-4d23-a35d-3c7004030c64" providerId="ADAL" clId="{A6288290-BC43-4144-8A9A-F5B40807FE2A}" dt="2024-08-16T10:57:20.733" v="565"/>
          <ac:spMkLst>
            <pc:docMk/>
            <pc:sldMk cId="1941243125" sldId="2147473776"/>
            <ac:spMk id="2" creationId="{EE3E7B12-94E5-1E8A-9A20-C930CC8426EB}"/>
          </ac:spMkLst>
        </pc:spChg>
        <pc:spChg chg="mod">
          <ac:chgData name="Uladzimir Litvinau" userId="7c780bef-f8d3-4d23-a35d-3c7004030c64" providerId="ADAL" clId="{A6288290-BC43-4144-8A9A-F5B40807FE2A}" dt="2024-08-16T10:57:04.763" v="563" actId="14100"/>
          <ac:spMkLst>
            <pc:docMk/>
            <pc:sldMk cId="1941243125" sldId="2147473776"/>
            <ac:spMk id="10" creationId="{1F88C411-8C59-AFA3-5C10-11E75FDF9817}"/>
          </ac:spMkLst>
        </pc:spChg>
        <pc:spChg chg="mod">
          <ac:chgData name="Uladzimir Litvinau" userId="7c780bef-f8d3-4d23-a35d-3c7004030c64" providerId="ADAL" clId="{A6288290-BC43-4144-8A9A-F5B40807FE2A}" dt="2024-08-16T11:07:10.368" v="620" actId="208"/>
          <ac:spMkLst>
            <pc:docMk/>
            <pc:sldMk cId="1941243125" sldId="2147473776"/>
            <ac:spMk id="42" creationId="{C888D0DC-3138-63C0-086D-2383C730CE89}"/>
          </ac:spMkLst>
        </pc:spChg>
        <pc:spChg chg="mod">
          <ac:chgData name="Uladzimir Litvinau" userId="7c780bef-f8d3-4d23-a35d-3c7004030c64" providerId="ADAL" clId="{A6288290-BC43-4144-8A9A-F5B40807FE2A}" dt="2024-08-16T11:07:10.368" v="620" actId="208"/>
          <ac:spMkLst>
            <pc:docMk/>
            <pc:sldMk cId="1941243125" sldId="2147473776"/>
            <ac:spMk id="45" creationId="{B85FC62E-3972-030F-18E0-640C16D623C7}"/>
          </ac:spMkLst>
        </pc:spChg>
        <pc:picChg chg="mod">
          <ac:chgData name="Uladzimir Litvinau" userId="7c780bef-f8d3-4d23-a35d-3c7004030c64" providerId="ADAL" clId="{A6288290-BC43-4144-8A9A-F5B40807FE2A}" dt="2024-08-16T11:07:10.368" v="620" actId="208"/>
          <ac:picMkLst>
            <pc:docMk/>
            <pc:sldMk cId="1941243125" sldId="2147473776"/>
            <ac:picMk id="41" creationId="{5D679CD3-BC09-9870-C144-64E4120FF3EE}"/>
          </ac:picMkLst>
        </pc:picChg>
        <pc:picChg chg="mod">
          <ac:chgData name="Uladzimir Litvinau" userId="7c780bef-f8d3-4d23-a35d-3c7004030c64" providerId="ADAL" clId="{A6288290-BC43-4144-8A9A-F5B40807FE2A}" dt="2024-08-16T11:07:10.368" v="620" actId="208"/>
          <ac:picMkLst>
            <pc:docMk/>
            <pc:sldMk cId="1941243125" sldId="2147473776"/>
            <ac:picMk id="44" creationId="{74801FF4-2909-3002-3F91-24C62642132B}"/>
          </ac:picMkLst>
        </pc:picChg>
      </pc:sldChg>
      <pc:sldChg chg="modSp mod modNotesTx">
        <pc:chgData name="Uladzimir Litvinau" userId="7c780bef-f8d3-4d23-a35d-3c7004030c64" providerId="ADAL" clId="{A6288290-BC43-4144-8A9A-F5B40807FE2A}" dt="2024-08-16T13:55:14.987" v="675" actId="20577"/>
        <pc:sldMkLst>
          <pc:docMk/>
          <pc:sldMk cId="3028625648" sldId="2147473777"/>
        </pc:sldMkLst>
        <pc:spChg chg="mod">
          <ac:chgData name="Uladzimir Litvinau" userId="7c780bef-f8d3-4d23-a35d-3c7004030c64" providerId="ADAL" clId="{A6288290-BC43-4144-8A9A-F5B40807FE2A}" dt="2024-08-16T10:57:51.766" v="569"/>
          <ac:spMkLst>
            <pc:docMk/>
            <pc:sldMk cId="3028625648" sldId="2147473777"/>
            <ac:spMk id="2" creationId="{EE3E7B12-94E5-1E8A-9A20-C930CC8426EB}"/>
          </ac:spMkLst>
        </pc:spChg>
        <pc:spChg chg="mod">
          <ac:chgData name="Uladzimir Litvinau" userId="7c780bef-f8d3-4d23-a35d-3c7004030c64" providerId="ADAL" clId="{A6288290-BC43-4144-8A9A-F5B40807FE2A}" dt="2024-08-16T10:57:35.503" v="567" actId="14100"/>
          <ac:spMkLst>
            <pc:docMk/>
            <pc:sldMk cId="3028625648" sldId="2147473777"/>
            <ac:spMk id="10" creationId="{1F88C411-8C59-AFA3-5C10-11E75FDF9817}"/>
          </ac:spMkLst>
        </pc:spChg>
        <pc:spChg chg="mod">
          <ac:chgData name="Uladzimir Litvinau" userId="7c780bef-f8d3-4d23-a35d-3c7004030c64" providerId="ADAL" clId="{A6288290-BC43-4144-8A9A-F5B40807FE2A}" dt="2024-08-16T11:07:19.655" v="622" actId="208"/>
          <ac:spMkLst>
            <pc:docMk/>
            <pc:sldMk cId="3028625648" sldId="2147473777"/>
            <ac:spMk id="42" creationId="{C888D0DC-3138-63C0-086D-2383C730CE89}"/>
          </ac:spMkLst>
        </pc:spChg>
        <pc:picChg chg="mod">
          <ac:chgData name="Uladzimir Litvinau" userId="7c780bef-f8d3-4d23-a35d-3c7004030c64" providerId="ADAL" clId="{A6288290-BC43-4144-8A9A-F5B40807FE2A}" dt="2024-08-16T11:07:19.655" v="622" actId="208"/>
          <ac:picMkLst>
            <pc:docMk/>
            <pc:sldMk cId="3028625648" sldId="2147473777"/>
            <ac:picMk id="41" creationId="{5D679CD3-BC09-9870-C144-64E4120FF3EE}"/>
          </ac:picMkLst>
        </pc:picChg>
      </pc:sldChg>
      <pc:sldChg chg="modSp mod modNotesTx">
        <pc:chgData name="Uladzimir Litvinau" userId="7c780bef-f8d3-4d23-a35d-3c7004030c64" providerId="ADAL" clId="{A6288290-BC43-4144-8A9A-F5B40807FE2A}" dt="2024-08-16T13:55:27.451" v="677" actId="5793"/>
        <pc:sldMkLst>
          <pc:docMk/>
          <pc:sldMk cId="2890595070" sldId="2147473778"/>
        </pc:sldMkLst>
        <pc:spChg chg="mod">
          <ac:chgData name="Uladzimir Litvinau" userId="7c780bef-f8d3-4d23-a35d-3c7004030c64" providerId="ADAL" clId="{A6288290-BC43-4144-8A9A-F5B40807FE2A}" dt="2024-08-16T10:58:28.849" v="574"/>
          <ac:spMkLst>
            <pc:docMk/>
            <pc:sldMk cId="2890595070" sldId="2147473778"/>
            <ac:spMk id="2" creationId="{EE3E7B12-94E5-1E8A-9A20-C930CC8426EB}"/>
          </ac:spMkLst>
        </pc:spChg>
        <pc:spChg chg="mod">
          <ac:chgData name="Uladzimir Litvinau" userId="7c780bef-f8d3-4d23-a35d-3c7004030c64" providerId="ADAL" clId="{A6288290-BC43-4144-8A9A-F5B40807FE2A}" dt="2024-08-16T10:58:14.782" v="571" actId="14100"/>
          <ac:spMkLst>
            <pc:docMk/>
            <pc:sldMk cId="2890595070" sldId="2147473778"/>
            <ac:spMk id="10" creationId="{1F88C411-8C59-AFA3-5C10-11E75FDF9817}"/>
          </ac:spMkLst>
        </pc:spChg>
        <pc:spChg chg="mod">
          <ac:chgData name="Uladzimir Litvinau" userId="7c780bef-f8d3-4d23-a35d-3c7004030c64" providerId="ADAL" clId="{A6288290-BC43-4144-8A9A-F5B40807FE2A}" dt="2024-08-16T11:07:27.668" v="624" actId="208"/>
          <ac:spMkLst>
            <pc:docMk/>
            <pc:sldMk cId="2890595070" sldId="2147473778"/>
            <ac:spMk id="42" creationId="{C888D0DC-3138-63C0-086D-2383C730CE89}"/>
          </ac:spMkLst>
        </pc:spChg>
        <pc:picChg chg="mod">
          <ac:chgData name="Uladzimir Litvinau" userId="7c780bef-f8d3-4d23-a35d-3c7004030c64" providerId="ADAL" clId="{A6288290-BC43-4144-8A9A-F5B40807FE2A}" dt="2024-08-16T11:07:27.668" v="624" actId="208"/>
          <ac:picMkLst>
            <pc:docMk/>
            <pc:sldMk cId="2890595070" sldId="2147473778"/>
            <ac:picMk id="41" creationId="{5D679CD3-BC09-9870-C144-64E4120FF3EE}"/>
          </ac:picMkLst>
        </pc:picChg>
      </pc:sldChg>
      <pc:sldChg chg="modSp mod modNotesTx">
        <pc:chgData name="Uladzimir Litvinau" userId="7c780bef-f8d3-4d23-a35d-3c7004030c64" providerId="ADAL" clId="{A6288290-BC43-4144-8A9A-F5B40807FE2A}" dt="2024-08-16T13:55:41.133" v="679"/>
        <pc:sldMkLst>
          <pc:docMk/>
          <pc:sldMk cId="3169304169" sldId="2147473779"/>
        </pc:sldMkLst>
        <pc:spChg chg="mod">
          <ac:chgData name="Uladzimir Litvinau" userId="7c780bef-f8d3-4d23-a35d-3c7004030c64" providerId="ADAL" clId="{A6288290-BC43-4144-8A9A-F5B40807FE2A}" dt="2024-08-16T10:58:55.963" v="578"/>
          <ac:spMkLst>
            <pc:docMk/>
            <pc:sldMk cId="3169304169" sldId="2147473779"/>
            <ac:spMk id="2" creationId="{EE3E7B12-94E5-1E8A-9A20-C930CC8426EB}"/>
          </ac:spMkLst>
        </pc:spChg>
        <pc:spChg chg="mod">
          <ac:chgData name="Uladzimir Litvinau" userId="7c780bef-f8d3-4d23-a35d-3c7004030c64" providerId="ADAL" clId="{A6288290-BC43-4144-8A9A-F5B40807FE2A}" dt="2024-08-16T10:58:40.203" v="576" actId="14100"/>
          <ac:spMkLst>
            <pc:docMk/>
            <pc:sldMk cId="3169304169" sldId="2147473779"/>
            <ac:spMk id="10" creationId="{1F88C411-8C59-AFA3-5C10-11E75FDF9817}"/>
          </ac:spMkLst>
        </pc:spChg>
      </pc:sldChg>
      <pc:sldChg chg="modSp mod modNotesTx">
        <pc:chgData name="Uladzimir Litvinau" userId="7c780bef-f8d3-4d23-a35d-3c7004030c64" providerId="ADAL" clId="{A6288290-BC43-4144-8A9A-F5B40807FE2A}" dt="2024-08-16T13:55:52.517" v="683"/>
        <pc:sldMkLst>
          <pc:docMk/>
          <pc:sldMk cId="4245322407" sldId="2147473780"/>
        </pc:sldMkLst>
        <pc:spChg chg="mod">
          <ac:chgData name="Uladzimir Litvinau" userId="7c780bef-f8d3-4d23-a35d-3c7004030c64" providerId="ADAL" clId="{A6288290-BC43-4144-8A9A-F5B40807FE2A}" dt="2024-08-16T11:00:18.014" v="581"/>
          <ac:spMkLst>
            <pc:docMk/>
            <pc:sldMk cId="4245322407" sldId="2147473780"/>
            <ac:spMk id="2" creationId="{EE3E7B12-94E5-1E8A-9A20-C930CC8426EB}"/>
          </ac:spMkLst>
        </pc:spChg>
        <pc:spChg chg="mod">
          <ac:chgData name="Uladzimir Litvinau" userId="7c780bef-f8d3-4d23-a35d-3c7004030c64" providerId="ADAL" clId="{A6288290-BC43-4144-8A9A-F5B40807FE2A}" dt="2024-08-16T10:59:18.339" v="580" actId="14100"/>
          <ac:spMkLst>
            <pc:docMk/>
            <pc:sldMk cId="4245322407" sldId="2147473780"/>
            <ac:spMk id="10" creationId="{1F88C411-8C59-AFA3-5C10-11E75FDF9817}"/>
          </ac:spMkLst>
        </pc:spChg>
        <pc:spChg chg="mod">
          <ac:chgData name="Uladzimir Litvinau" userId="7c780bef-f8d3-4d23-a35d-3c7004030c64" providerId="ADAL" clId="{A6288290-BC43-4144-8A9A-F5B40807FE2A}" dt="2024-08-16T11:07:55.233" v="626" actId="208"/>
          <ac:spMkLst>
            <pc:docMk/>
            <pc:sldMk cId="4245322407" sldId="2147473780"/>
            <ac:spMk id="39" creationId="{123AC138-EB9B-5AF0-1D25-C569E570C2DA}"/>
          </ac:spMkLst>
        </pc:spChg>
        <pc:picChg chg="mod">
          <ac:chgData name="Uladzimir Litvinau" userId="7c780bef-f8d3-4d23-a35d-3c7004030c64" providerId="ADAL" clId="{A6288290-BC43-4144-8A9A-F5B40807FE2A}" dt="2024-08-16T11:07:55.233" v="626" actId="208"/>
          <ac:picMkLst>
            <pc:docMk/>
            <pc:sldMk cId="4245322407" sldId="2147473780"/>
            <ac:picMk id="38" creationId="{18881A4B-8FB3-CD52-49B2-C568CC61DE34}"/>
          </ac:picMkLst>
        </pc:picChg>
      </pc:sldChg>
      <pc:sldChg chg="modSp mod modNotesTx">
        <pc:chgData name="Uladzimir Litvinau" userId="7c780bef-f8d3-4d23-a35d-3c7004030c64" providerId="ADAL" clId="{A6288290-BC43-4144-8A9A-F5B40807FE2A}" dt="2024-08-16T13:56:07.570" v="687"/>
        <pc:sldMkLst>
          <pc:docMk/>
          <pc:sldMk cId="2343442935" sldId="2147473781"/>
        </pc:sldMkLst>
        <pc:spChg chg="mod">
          <ac:chgData name="Uladzimir Litvinau" userId="7c780bef-f8d3-4d23-a35d-3c7004030c64" providerId="ADAL" clId="{A6288290-BC43-4144-8A9A-F5B40807FE2A}" dt="2024-08-16T11:08:08.023" v="628" actId="208"/>
          <ac:spMkLst>
            <pc:docMk/>
            <pc:sldMk cId="2343442935" sldId="2147473781"/>
            <ac:spMk id="39" creationId="{123AC138-EB9B-5AF0-1D25-C569E570C2DA}"/>
          </ac:spMkLst>
        </pc:spChg>
        <pc:picChg chg="mod">
          <ac:chgData name="Uladzimir Litvinau" userId="7c780bef-f8d3-4d23-a35d-3c7004030c64" providerId="ADAL" clId="{A6288290-BC43-4144-8A9A-F5B40807FE2A}" dt="2024-08-16T11:08:08.023" v="628" actId="208"/>
          <ac:picMkLst>
            <pc:docMk/>
            <pc:sldMk cId="2343442935" sldId="2147473781"/>
            <ac:picMk id="38" creationId="{18881A4B-8FB3-CD52-49B2-C568CC61DE34}"/>
          </ac:picMkLst>
        </pc:picChg>
      </pc:sldChg>
      <pc:sldChg chg="modSp mod modNotesTx">
        <pc:chgData name="Uladzimir Litvinau" userId="7c780bef-f8d3-4d23-a35d-3c7004030c64" providerId="ADAL" clId="{A6288290-BC43-4144-8A9A-F5B40807FE2A}" dt="2024-08-16T13:56:16.365" v="689" actId="5793"/>
        <pc:sldMkLst>
          <pc:docMk/>
          <pc:sldMk cId="3805640432" sldId="2147473782"/>
        </pc:sldMkLst>
        <pc:spChg chg="mod">
          <ac:chgData name="Uladzimir Litvinau" userId="7c780bef-f8d3-4d23-a35d-3c7004030c64" providerId="ADAL" clId="{A6288290-BC43-4144-8A9A-F5B40807FE2A}" dt="2024-08-16T11:01:22.286" v="585"/>
          <ac:spMkLst>
            <pc:docMk/>
            <pc:sldMk cId="3805640432" sldId="2147473782"/>
            <ac:spMk id="2" creationId="{EE3E7B12-94E5-1E8A-9A20-C930CC8426EB}"/>
          </ac:spMkLst>
        </pc:spChg>
        <pc:spChg chg="mod">
          <ac:chgData name="Uladzimir Litvinau" userId="7c780bef-f8d3-4d23-a35d-3c7004030c64" providerId="ADAL" clId="{A6288290-BC43-4144-8A9A-F5B40807FE2A}" dt="2024-08-16T11:01:10.297" v="583" actId="14100"/>
          <ac:spMkLst>
            <pc:docMk/>
            <pc:sldMk cId="3805640432" sldId="2147473782"/>
            <ac:spMk id="10" creationId="{1F88C411-8C59-AFA3-5C10-11E75FDF9817}"/>
          </ac:spMkLst>
        </pc:spChg>
        <pc:spChg chg="mod">
          <ac:chgData name="Uladzimir Litvinau" userId="7c780bef-f8d3-4d23-a35d-3c7004030c64" providerId="ADAL" clId="{A6288290-BC43-4144-8A9A-F5B40807FE2A}" dt="2024-08-16T11:08:25.708" v="631" actId="208"/>
          <ac:spMkLst>
            <pc:docMk/>
            <pc:sldMk cId="3805640432" sldId="2147473782"/>
            <ac:spMk id="42" creationId="{C888D0DC-3138-63C0-086D-2383C730CE89}"/>
          </ac:spMkLst>
        </pc:spChg>
        <pc:spChg chg="mod">
          <ac:chgData name="Uladzimir Litvinau" userId="7c780bef-f8d3-4d23-a35d-3c7004030c64" providerId="ADAL" clId="{A6288290-BC43-4144-8A9A-F5B40807FE2A}" dt="2024-08-16T11:08:25.708" v="631" actId="208"/>
          <ac:spMkLst>
            <pc:docMk/>
            <pc:sldMk cId="3805640432" sldId="2147473782"/>
            <ac:spMk id="45" creationId="{B85FC62E-3972-030F-18E0-640C16D623C7}"/>
          </ac:spMkLst>
        </pc:spChg>
        <pc:picChg chg="mod">
          <ac:chgData name="Uladzimir Litvinau" userId="7c780bef-f8d3-4d23-a35d-3c7004030c64" providerId="ADAL" clId="{A6288290-BC43-4144-8A9A-F5B40807FE2A}" dt="2024-08-16T11:08:25.708" v="631" actId="208"/>
          <ac:picMkLst>
            <pc:docMk/>
            <pc:sldMk cId="3805640432" sldId="2147473782"/>
            <ac:picMk id="41" creationId="{5D679CD3-BC09-9870-C144-64E4120FF3EE}"/>
          </ac:picMkLst>
        </pc:picChg>
        <pc:picChg chg="mod">
          <ac:chgData name="Uladzimir Litvinau" userId="7c780bef-f8d3-4d23-a35d-3c7004030c64" providerId="ADAL" clId="{A6288290-BC43-4144-8A9A-F5B40807FE2A}" dt="2024-08-16T11:08:25.708" v="631" actId="208"/>
          <ac:picMkLst>
            <pc:docMk/>
            <pc:sldMk cId="3805640432" sldId="2147473782"/>
            <ac:picMk id="44" creationId="{74801FF4-2909-3002-3F91-24C62642132B}"/>
          </ac:picMkLst>
        </pc:picChg>
      </pc:sldChg>
      <pc:sldChg chg="modSp mod modNotesTx">
        <pc:chgData name="Uladzimir Litvinau" userId="7c780bef-f8d3-4d23-a35d-3c7004030c64" providerId="ADAL" clId="{A6288290-BC43-4144-8A9A-F5B40807FE2A}" dt="2024-08-16T13:56:22.997" v="691"/>
        <pc:sldMkLst>
          <pc:docMk/>
          <pc:sldMk cId="3173873053" sldId="2147473783"/>
        </pc:sldMkLst>
        <pc:spChg chg="mod">
          <ac:chgData name="Uladzimir Litvinau" userId="7c780bef-f8d3-4d23-a35d-3c7004030c64" providerId="ADAL" clId="{A6288290-BC43-4144-8A9A-F5B40807FE2A}" dt="2024-08-16T11:01:42.191" v="588"/>
          <ac:spMkLst>
            <pc:docMk/>
            <pc:sldMk cId="3173873053" sldId="2147473783"/>
            <ac:spMk id="2" creationId="{EE3E7B12-94E5-1E8A-9A20-C930CC8426EB}"/>
          </ac:spMkLst>
        </pc:spChg>
        <pc:spChg chg="mod">
          <ac:chgData name="Uladzimir Litvinau" userId="7c780bef-f8d3-4d23-a35d-3c7004030c64" providerId="ADAL" clId="{A6288290-BC43-4144-8A9A-F5B40807FE2A}" dt="2024-08-16T11:01:30.349" v="586"/>
          <ac:spMkLst>
            <pc:docMk/>
            <pc:sldMk cId="3173873053" sldId="2147473783"/>
            <ac:spMk id="10" creationId="{1F88C411-8C59-AFA3-5C10-11E75FDF9817}"/>
          </ac:spMkLst>
        </pc:spChg>
      </pc:sldChg>
      <pc:sldChg chg="modSp mod modNotesTx">
        <pc:chgData name="Uladzimir Litvinau" userId="7c780bef-f8d3-4d23-a35d-3c7004030c64" providerId="ADAL" clId="{A6288290-BC43-4144-8A9A-F5B40807FE2A}" dt="2024-08-16T13:56:30.520" v="693"/>
        <pc:sldMkLst>
          <pc:docMk/>
          <pc:sldMk cId="317305034" sldId="2147473784"/>
        </pc:sldMkLst>
        <pc:spChg chg="mod">
          <ac:chgData name="Uladzimir Litvinau" userId="7c780bef-f8d3-4d23-a35d-3c7004030c64" providerId="ADAL" clId="{A6288290-BC43-4144-8A9A-F5B40807FE2A}" dt="2024-08-16T11:02:43.131" v="605" actId="20577"/>
          <ac:spMkLst>
            <pc:docMk/>
            <pc:sldMk cId="317305034" sldId="2147473784"/>
            <ac:spMk id="2" creationId="{EE3E7B12-94E5-1E8A-9A20-C930CC8426EB}"/>
          </ac:spMkLst>
        </pc:spChg>
      </pc:sldChg>
      <pc:sldChg chg="modSp mod modNotesTx">
        <pc:chgData name="Uladzimir Litvinau" userId="7c780bef-f8d3-4d23-a35d-3c7004030c64" providerId="ADAL" clId="{A6288290-BC43-4144-8A9A-F5B40807FE2A}" dt="2024-08-11T09:53:33.546" v="213" actId="20577"/>
        <pc:sldMkLst>
          <pc:docMk/>
          <pc:sldMk cId="3260582597" sldId="2147473788"/>
        </pc:sldMkLst>
        <pc:spChg chg="mod">
          <ac:chgData name="Uladzimir Litvinau" userId="7c780bef-f8d3-4d23-a35d-3c7004030c64" providerId="ADAL" clId="{A6288290-BC43-4144-8A9A-F5B40807FE2A}" dt="2024-08-11T09:50:38.298" v="5" actId="20577"/>
          <ac:spMkLst>
            <pc:docMk/>
            <pc:sldMk cId="3260582597" sldId="2147473788"/>
            <ac:spMk id="19" creationId="{1C004F51-E7DB-4857-AA9C-D4AEE3C336E1}"/>
          </ac:spMkLst>
        </pc:spChg>
      </pc:sldChg>
      <pc:sldChg chg="modSp add mod modNotesTx">
        <pc:chgData name="Uladzimir Litvinau" userId="7c780bef-f8d3-4d23-a35d-3c7004030c64" providerId="ADAL" clId="{A6288290-BC43-4144-8A9A-F5B40807FE2A}" dt="2024-08-18T07:36:43.717" v="817" actId="20577"/>
        <pc:sldMkLst>
          <pc:docMk/>
          <pc:sldMk cId="1822059108" sldId="2147473789"/>
        </pc:sldMkLst>
        <pc:spChg chg="mod">
          <ac:chgData name="Uladzimir Litvinau" userId="7c780bef-f8d3-4d23-a35d-3c7004030c64" providerId="ADAL" clId="{A6288290-BC43-4144-8A9A-F5B40807FE2A}" dt="2024-08-11T10:05:04.475" v="377" actId="14100"/>
          <ac:spMkLst>
            <pc:docMk/>
            <pc:sldMk cId="1822059108" sldId="2147473789"/>
            <ac:spMk id="2" creationId="{EE3E7B12-94E5-1E8A-9A20-C930CC8426EB}"/>
          </ac:spMkLst>
        </pc:spChg>
        <pc:spChg chg="mod">
          <ac:chgData name="Uladzimir Litvinau" userId="7c780bef-f8d3-4d23-a35d-3c7004030c64" providerId="ADAL" clId="{A6288290-BC43-4144-8A9A-F5B40807FE2A}" dt="2024-08-16T14:57:35.600" v="702" actId="14100"/>
          <ac:spMkLst>
            <pc:docMk/>
            <pc:sldMk cId="1822059108" sldId="2147473789"/>
            <ac:spMk id="7" creationId="{CA211C83-0ECC-7201-4143-28C0C45C24D4}"/>
          </ac:spMkLst>
        </pc:spChg>
        <pc:picChg chg="mod">
          <ac:chgData name="Uladzimir Litvinau" userId="7c780bef-f8d3-4d23-a35d-3c7004030c64" providerId="ADAL" clId="{A6288290-BC43-4144-8A9A-F5B40807FE2A}" dt="2024-08-16T14:57:52.272" v="704" actId="14100"/>
          <ac:picMkLst>
            <pc:docMk/>
            <pc:sldMk cId="1822059108" sldId="2147473789"/>
            <ac:picMk id="2050" creationId="{D9E1441F-183C-174F-112F-9BEEF6EDD8F1}"/>
          </ac:picMkLst>
        </pc:picChg>
      </pc:sldChg>
    </pc:docChg>
  </pc:docChgLst>
  <pc:docChgLst>
    <pc:chgData name="Uladzimir Litvinau" userId="7c780bef-f8d3-4d23-a35d-3c7004030c64" providerId="ADAL" clId="{61C78025-9E46-466F-873E-2DF94ED9C4E0}"/>
    <pc:docChg chg="undo redo custSel addSld delSld modSld sldOrd delSection modSection">
      <pc:chgData name="Uladzimir Litvinau" userId="7c780bef-f8d3-4d23-a35d-3c7004030c64" providerId="ADAL" clId="{61C78025-9E46-466F-873E-2DF94ED9C4E0}" dt="2023-06-14T11:25:43.121" v="10942" actId="20577"/>
      <pc:docMkLst>
        <pc:docMk/>
      </pc:docMkLst>
      <pc:sldChg chg="del">
        <pc:chgData name="Uladzimir Litvinau" userId="7c780bef-f8d3-4d23-a35d-3c7004030c64" providerId="ADAL" clId="{61C78025-9E46-466F-873E-2DF94ED9C4E0}" dt="2023-06-12T11:57:21.361" v="4885" actId="47"/>
        <pc:sldMkLst>
          <pc:docMk/>
          <pc:sldMk cId="3719075298" sldId="257"/>
        </pc:sldMkLst>
      </pc:sldChg>
      <pc:sldChg chg="del">
        <pc:chgData name="Uladzimir Litvinau" userId="7c780bef-f8d3-4d23-a35d-3c7004030c64" providerId="ADAL" clId="{61C78025-9E46-466F-873E-2DF94ED9C4E0}" dt="2023-06-09T08:42:12.149" v="347" actId="47"/>
        <pc:sldMkLst>
          <pc:docMk/>
          <pc:sldMk cId="1444507433" sldId="269"/>
        </pc:sldMkLst>
      </pc:sldChg>
      <pc:sldChg chg="del">
        <pc:chgData name="Uladzimir Litvinau" userId="7c780bef-f8d3-4d23-a35d-3c7004030c64" providerId="ADAL" clId="{61C78025-9E46-466F-873E-2DF94ED9C4E0}" dt="2023-06-12T11:57:21.361" v="4885" actId="47"/>
        <pc:sldMkLst>
          <pc:docMk/>
          <pc:sldMk cId="3185239385" sldId="273"/>
        </pc:sldMkLst>
      </pc:sldChg>
      <pc:sldChg chg="addSp delSp modSp mod modTransition modNotesTx">
        <pc:chgData name="Uladzimir Litvinau" userId="7c780bef-f8d3-4d23-a35d-3c7004030c64" providerId="ADAL" clId="{61C78025-9E46-466F-873E-2DF94ED9C4E0}" dt="2023-06-14T10:49:02.514" v="10408" actId="20577"/>
        <pc:sldMkLst>
          <pc:docMk/>
          <pc:sldMk cId="718389635" sldId="276"/>
        </pc:sldMkLst>
        <pc:spChg chg="mod">
          <ac:chgData name="Uladzimir Litvinau" userId="7c780bef-f8d3-4d23-a35d-3c7004030c64" providerId="ADAL" clId="{61C78025-9E46-466F-873E-2DF94ED9C4E0}" dt="2023-06-12T08:28:19.335" v="1889" actId="20577"/>
          <ac:spMkLst>
            <pc:docMk/>
            <pc:sldMk cId="718389635" sldId="276"/>
            <ac:spMk id="2" creationId="{576E64E2-F737-93FF-43E1-1E69ECA48EB6}"/>
          </ac:spMkLst>
        </pc:spChg>
        <pc:spChg chg="add del mod">
          <ac:chgData name="Uladzimir Litvinau" userId="7c780bef-f8d3-4d23-a35d-3c7004030c64" providerId="ADAL" clId="{61C78025-9E46-466F-873E-2DF94ED9C4E0}" dt="2023-06-09T08:41:13.251" v="341" actId="478"/>
          <ac:spMkLst>
            <pc:docMk/>
            <pc:sldMk cId="718389635" sldId="276"/>
            <ac:spMk id="4" creationId="{448D792D-1CA7-3EF6-E3FF-E39EC8EB1499}"/>
          </ac:spMkLst>
        </pc:spChg>
        <pc:spChg chg="mod">
          <ac:chgData name="Uladzimir Litvinau" userId="7c780bef-f8d3-4d23-a35d-3c7004030c64" providerId="ADAL" clId="{61C78025-9E46-466F-873E-2DF94ED9C4E0}" dt="2023-06-13T08:26:00.673" v="7256" actId="20577"/>
          <ac:spMkLst>
            <pc:docMk/>
            <pc:sldMk cId="718389635" sldId="276"/>
            <ac:spMk id="7" creationId="{29E0C092-AE0B-0448-668B-0D2D276D31C0}"/>
          </ac:spMkLst>
        </pc:spChg>
        <pc:picChg chg="add mod">
          <ac:chgData name="Uladzimir Litvinau" userId="7c780bef-f8d3-4d23-a35d-3c7004030c64" providerId="ADAL" clId="{61C78025-9E46-466F-873E-2DF94ED9C4E0}" dt="2023-06-09T08:41:28.265" v="346" actId="1076"/>
          <ac:picMkLst>
            <pc:docMk/>
            <pc:sldMk cId="718389635" sldId="276"/>
            <ac:picMk id="5" creationId="{BFCF8843-56F7-7277-43DB-926E22D73A71}"/>
          </ac:picMkLst>
        </pc:picChg>
        <pc:picChg chg="del">
          <ac:chgData name="Uladzimir Litvinau" userId="7c780bef-f8d3-4d23-a35d-3c7004030c64" providerId="ADAL" clId="{61C78025-9E46-466F-873E-2DF94ED9C4E0}" dt="2023-06-09T08:41:08.843" v="340" actId="478"/>
          <ac:picMkLst>
            <pc:docMk/>
            <pc:sldMk cId="718389635" sldId="276"/>
            <ac:picMk id="8" creationId="{CC7A6A7E-D8B4-B01A-5A3B-C0D7D833DC2A}"/>
          </ac:picMkLst>
        </pc:picChg>
      </pc:sldChg>
      <pc:sldChg chg="del">
        <pc:chgData name="Uladzimir Litvinau" userId="7c780bef-f8d3-4d23-a35d-3c7004030c64" providerId="ADAL" clId="{61C78025-9E46-466F-873E-2DF94ED9C4E0}" dt="2023-06-12T11:57:21.361" v="4885" actId="47"/>
        <pc:sldMkLst>
          <pc:docMk/>
          <pc:sldMk cId="2619157411" sldId="281"/>
        </pc:sldMkLst>
      </pc:sldChg>
      <pc:sldChg chg="del">
        <pc:chgData name="Uladzimir Litvinau" userId="7c780bef-f8d3-4d23-a35d-3c7004030c64" providerId="ADAL" clId="{61C78025-9E46-466F-873E-2DF94ED9C4E0}" dt="2023-06-12T11:57:21.361" v="4885" actId="47"/>
        <pc:sldMkLst>
          <pc:docMk/>
          <pc:sldMk cId="2331324941" sldId="286"/>
        </pc:sldMkLst>
      </pc:sldChg>
      <pc:sldChg chg="del">
        <pc:chgData name="Uladzimir Litvinau" userId="7c780bef-f8d3-4d23-a35d-3c7004030c64" providerId="ADAL" clId="{61C78025-9E46-466F-873E-2DF94ED9C4E0}" dt="2023-06-12T11:57:21.361" v="4885" actId="47"/>
        <pc:sldMkLst>
          <pc:docMk/>
          <pc:sldMk cId="1278205421" sldId="291"/>
        </pc:sldMkLst>
      </pc:sldChg>
      <pc:sldChg chg="del">
        <pc:chgData name="Uladzimir Litvinau" userId="7c780bef-f8d3-4d23-a35d-3c7004030c64" providerId="ADAL" clId="{61C78025-9E46-466F-873E-2DF94ED9C4E0}" dt="2023-06-12T11:57:21.361" v="4885" actId="47"/>
        <pc:sldMkLst>
          <pc:docMk/>
          <pc:sldMk cId="563357882" sldId="295"/>
        </pc:sldMkLst>
      </pc:sldChg>
      <pc:sldChg chg="del">
        <pc:chgData name="Uladzimir Litvinau" userId="7c780bef-f8d3-4d23-a35d-3c7004030c64" providerId="ADAL" clId="{61C78025-9E46-466F-873E-2DF94ED9C4E0}" dt="2023-06-12T11:57:21.361" v="4885" actId="47"/>
        <pc:sldMkLst>
          <pc:docMk/>
          <pc:sldMk cId="64683278" sldId="296"/>
        </pc:sldMkLst>
      </pc:sldChg>
      <pc:sldChg chg="del">
        <pc:chgData name="Uladzimir Litvinau" userId="7c780bef-f8d3-4d23-a35d-3c7004030c64" providerId="ADAL" clId="{61C78025-9E46-466F-873E-2DF94ED9C4E0}" dt="2023-06-12T11:57:21.361" v="4885" actId="47"/>
        <pc:sldMkLst>
          <pc:docMk/>
          <pc:sldMk cId="2359710663" sldId="297"/>
        </pc:sldMkLst>
      </pc:sldChg>
      <pc:sldChg chg="del">
        <pc:chgData name="Uladzimir Litvinau" userId="7c780bef-f8d3-4d23-a35d-3c7004030c64" providerId="ADAL" clId="{61C78025-9E46-466F-873E-2DF94ED9C4E0}" dt="2023-06-12T11:57:21.361" v="4885" actId="47"/>
        <pc:sldMkLst>
          <pc:docMk/>
          <pc:sldMk cId="3744729739" sldId="304"/>
        </pc:sldMkLst>
      </pc:sldChg>
      <pc:sldChg chg="del">
        <pc:chgData name="Uladzimir Litvinau" userId="7c780bef-f8d3-4d23-a35d-3c7004030c64" providerId="ADAL" clId="{61C78025-9E46-466F-873E-2DF94ED9C4E0}" dt="2023-06-12T11:57:21.361" v="4885" actId="47"/>
        <pc:sldMkLst>
          <pc:docMk/>
          <pc:sldMk cId="3241825304" sldId="363"/>
        </pc:sldMkLst>
      </pc:sldChg>
      <pc:sldChg chg="del">
        <pc:chgData name="Uladzimir Litvinau" userId="7c780bef-f8d3-4d23-a35d-3c7004030c64" providerId="ADAL" clId="{61C78025-9E46-466F-873E-2DF94ED9C4E0}" dt="2023-06-12T11:57:21.361" v="4885" actId="47"/>
        <pc:sldMkLst>
          <pc:docMk/>
          <pc:sldMk cId="4033816786" sldId="370"/>
        </pc:sldMkLst>
      </pc:sldChg>
      <pc:sldChg chg="del">
        <pc:chgData name="Uladzimir Litvinau" userId="7c780bef-f8d3-4d23-a35d-3c7004030c64" providerId="ADAL" clId="{61C78025-9E46-466F-873E-2DF94ED9C4E0}" dt="2023-06-12T11:57:21.361" v="4885" actId="47"/>
        <pc:sldMkLst>
          <pc:docMk/>
          <pc:sldMk cId="3288770434" sldId="372"/>
        </pc:sldMkLst>
      </pc:sldChg>
      <pc:sldChg chg="del">
        <pc:chgData name="Uladzimir Litvinau" userId="7c780bef-f8d3-4d23-a35d-3c7004030c64" providerId="ADAL" clId="{61C78025-9E46-466F-873E-2DF94ED9C4E0}" dt="2023-06-12T11:57:21.361" v="4885" actId="47"/>
        <pc:sldMkLst>
          <pc:docMk/>
          <pc:sldMk cId="4013732599" sldId="379"/>
        </pc:sldMkLst>
      </pc:sldChg>
      <pc:sldChg chg="del">
        <pc:chgData name="Uladzimir Litvinau" userId="7c780bef-f8d3-4d23-a35d-3c7004030c64" providerId="ADAL" clId="{61C78025-9E46-466F-873E-2DF94ED9C4E0}" dt="2023-06-12T11:57:21.361" v="4885" actId="47"/>
        <pc:sldMkLst>
          <pc:docMk/>
          <pc:sldMk cId="365374111" sldId="389"/>
        </pc:sldMkLst>
      </pc:sldChg>
      <pc:sldChg chg="del">
        <pc:chgData name="Uladzimir Litvinau" userId="7c780bef-f8d3-4d23-a35d-3c7004030c64" providerId="ADAL" clId="{61C78025-9E46-466F-873E-2DF94ED9C4E0}" dt="2023-06-12T11:57:21.361" v="4885" actId="47"/>
        <pc:sldMkLst>
          <pc:docMk/>
          <pc:sldMk cId="3608641014" sldId="390"/>
        </pc:sldMkLst>
      </pc:sldChg>
      <pc:sldChg chg="del">
        <pc:chgData name="Uladzimir Litvinau" userId="7c780bef-f8d3-4d23-a35d-3c7004030c64" providerId="ADAL" clId="{61C78025-9E46-466F-873E-2DF94ED9C4E0}" dt="2023-06-12T11:57:21.361" v="4885" actId="47"/>
        <pc:sldMkLst>
          <pc:docMk/>
          <pc:sldMk cId="2254888889" sldId="406"/>
        </pc:sldMkLst>
      </pc:sldChg>
      <pc:sldChg chg="del">
        <pc:chgData name="Uladzimir Litvinau" userId="7c780bef-f8d3-4d23-a35d-3c7004030c64" providerId="ADAL" clId="{61C78025-9E46-466F-873E-2DF94ED9C4E0}" dt="2023-06-12T11:57:21.361" v="4885" actId="47"/>
        <pc:sldMkLst>
          <pc:docMk/>
          <pc:sldMk cId="1191981111" sldId="421"/>
        </pc:sldMkLst>
      </pc:sldChg>
      <pc:sldChg chg="add del">
        <pc:chgData name="Uladzimir Litvinau" userId="7c780bef-f8d3-4d23-a35d-3c7004030c64" providerId="ADAL" clId="{61C78025-9E46-466F-873E-2DF94ED9C4E0}" dt="2023-06-12T08:47:03.082" v="2105" actId="47"/>
        <pc:sldMkLst>
          <pc:docMk/>
          <pc:sldMk cId="500667172" sldId="446"/>
        </pc:sldMkLst>
      </pc:sldChg>
      <pc:sldChg chg="add del">
        <pc:chgData name="Uladzimir Litvinau" userId="7c780bef-f8d3-4d23-a35d-3c7004030c64" providerId="ADAL" clId="{61C78025-9E46-466F-873E-2DF94ED9C4E0}" dt="2023-06-12T08:09:06.112" v="1666" actId="47"/>
        <pc:sldMkLst>
          <pc:docMk/>
          <pc:sldMk cId="2226558468" sldId="471"/>
        </pc:sldMkLst>
      </pc:sldChg>
      <pc:sldChg chg="modSp add del mod">
        <pc:chgData name="Uladzimir Litvinau" userId="7c780bef-f8d3-4d23-a35d-3c7004030c64" providerId="ADAL" clId="{61C78025-9E46-466F-873E-2DF94ED9C4E0}" dt="2023-06-12T09:32:50.548" v="2770" actId="47"/>
        <pc:sldMkLst>
          <pc:docMk/>
          <pc:sldMk cId="2603736450" sldId="472"/>
        </pc:sldMkLst>
        <pc:picChg chg="mod">
          <ac:chgData name="Uladzimir Litvinau" userId="7c780bef-f8d3-4d23-a35d-3c7004030c64" providerId="ADAL" clId="{61C78025-9E46-466F-873E-2DF94ED9C4E0}" dt="2023-06-12T08:48:59.447" v="2171" actId="1076"/>
          <ac:picMkLst>
            <pc:docMk/>
            <pc:sldMk cId="2603736450" sldId="472"/>
            <ac:picMk id="4" creationId="{00000000-0000-0000-0000-000000000000}"/>
          </ac:picMkLst>
        </pc:picChg>
      </pc:sldChg>
      <pc:sldChg chg="add del">
        <pc:chgData name="Uladzimir Litvinau" userId="7c780bef-f8d3-4d23-a35d-3c7004030c64" providerId="ADAL" clId="{61C78025-9E46-466F-873E-2DF94ED9C4E0}" dt="2023-06-12T08:09:06.112" v="1666" actId="47"/>
        <pc:sldMkLst>
          <pc:docMk/>
          <pc:sldMk cId="3419441944" sldId="473"/>
        </pc:sldMkLst>
      </pc:sldChg>
      <pc:sldChg chg="add del">
        <pc:chgData name="Uladzimir Litvinau" userId="7c780bef-f8d3-4d23-a35d-3c7004030c64" providerId="ADAL" clId="{61C78025-9E46-466F-873E-2DF94ED9C4E0}" dt="2023-06-12T09:12:44.703" v="2250" actId="47"/>
        <pc:sldMkLst>
          <pc:docMk/>
          <pc:sldMk cId="3162979829" sldId="474"/>
        </pc:sldMkLst>
      </pc:sldChg>
      <pc:sldChg chg="add del">
        <pc:chgData name="Uladzimir Litvinau" userId="7c780bef-f8d3-4d23-a35d-3c7004030c64" providerId="ADAL" clId="{61C78025-9E46-466F-873E-2DF94ED9C4E0}" dt="2023-06-12T08:20:07.722" v="1749" actId="47"/>
        <pc:sldMkLst>
          <pc:docMk/>
          <pc:sldMk cId="3231102762" sldId="475"/>
        </pc:sldMkLst>
      </pc:sldChg>
      <pc:sldChg chg="add del">
        <pc:chgData name="Uladzimir Litvinau" userId="7c780bef-f8d3-4d23-a35d-3c7004030c64" providerId="ADAL" clId="{61C78025-9E46-466F-873E-2DF94ED9C4E0}" dt="2023-06-12T08:25:28.413" v="1870" actId="47"/>
        <pc:sldMkLst>
          <pc:docMk/>
          <pc:sldMk cId="981463692" sldId="476"/>
        </pc:sldMkLst>
      </pc:sldChg>
      <pc:sldChg chg="add del">
        <pc:chgData name="Uladzimir Litvinau" userId="7c780bef-f8d3-4d23-a35d-3c7004030c64" providerId="ADAL" clId="{61C78025-9E46-466F-873E-2DF94ED9C4E0}" dt="2023-06-12T08:25:28.413" v="1870" actId="47"/>
        <pc:sldMkLst>
          <pc:docMk/>
          <pc:sldMk cId="1981651117" sldId="477"/>
        </pc:sldMkLst>
      </pc:sldChg>
      <pc:sldChg chg="add del">
        <pc:chgData name="Uladzimir Litvinau" userId="7c780bef-f8d3-4d23-a35d-3c7004030c64" providerId="ADAL" clId="{61C78025-9E46-466F-873E-2DF94ED9C4E0}" dt="2023-06-12T08:33:38.095" v="2003" actId="47"/>
        <pc:sldMkLst>
          <pc:docMk/>
          <pc:sldMk cId="1642878065" sldId="478"/>
        </pc:sldMkLst>
      </pc:sldChg>
      <pc:sldChg chg="add del">
        <pc:chgData name="Uladzimir Litvinau" userId="7c780bef-f8d3-4d23-a35d-3c7004030c64" providerId="ADAL" clId="{61C78025-9E46-466F-873E-2DF94ED9C4E0}" dt="2023-06-12T09:25:08.676" v="2534" actId="47"/>
        <pc:sldMkLst>
          <pc:docMk/>
          <pc:sldMk cId="2789850118" sldId="479"/>
        </pc:sldMkLst>
      </pc:sldChg>
      <pc:sldChg chg="modSp add del mod">
        <pc:chgData name="Uladzimir Litvinau" userId="7c780bef-f8d3-4d23-a35d-3c7004030c64" providerId="ADAL" clId="{61C78025-9E46-466F-873E-2DF94ED9C4E0}" dt="2023-06-12T09:41:18.972" v="3079" actId="47"/>
        <pc:sldMkLst>
          <pc:docMk/>
          <pc:sldMk cId="2634122563" sldId="480"/>
        </pc:sldMkLst>
        <pc:picChg chg="mod">
          <ac:chgData name="Uladzimir Litvinau" userId="7c780bef-f8d3-4d23-a35d-3c7004030c64" providerId="ADAL" clId="{61C78025-9E46-466F-873E-2DF94ED9C4E0}" dt="2023-06-12T09:33:01.476" v="2777" actId="1076"/>
          <ac:picMkLst>
            <pc:docMk/>
            <pc:sldMk cId="2634122563" sldId="480"/>
            <ac:picMk id="4" creationId="{00000000-0000-0000-0000-000000000000}"/>
          </ac:picMkLst>
        </pc:picChg>
      </pc:sldChg>
      <pc:sldChg chg="add del">
        <pc:chgData name="Uladzimir Litvinau" userId="7c780bef-f8d3-4d23-a35d-3c7004030c64" providerId="ADAL" clId="{61C78025-9E46-466F-873E-2DF94ED9C4E0}" dt="2023-06-12T09:52:36.130" v="4329" actId="47"/>
        <pc:sldMkLst>
          <pc:docMk/>
          <pc:sldMk cId="3569445413" sldId="481"/>
        </pc:sldMkLst>
      </pc:sldChg>
      <pc:sldChg chg="add del">
        <pc:chgData name="Uladzimir Litvinau" userId="7c780bef-f8d3-4d23-a35d-3c7004030c64" providerId="ADAL" clId="{61C78025-9E46-466F-873E-2DF94ED9C4E0}" dt="2023-06-12T11:35:51.079" v="4415" actId="47"/>
        <pc:sldMkLst>
          <pc:docMk/>
          <pc:sldMk cId="4110748331" sldId="482"/>
        </pc:sldMkLst>
      </pc:sldChg>
      <pc:sldChg chg="add del">
        <pc:chgData name="Uladzimir Litvinau" userId="7c780bef-f8d3-4d23-a35d-3c7004030c64" providerId="ADAL" clId="{61C78025-9E46-466F-873E-2DF94ED9C4E0}" dt="2023-06-12T11:41:40.744" v="4493" actId="47"/>
        <pc:sldMkLst>
          <pc:docMk/>
          <pc:sldMk cId="1065833726" sldId="483"/>
        </pc:sldMkLst>
      </pc:sldChg>
      <pc:sldChg chg="add del">
        <pc:chgData name="Uladzimir Litvinau" userId="7c780bef-f8d3-4d23-a35d-3c7004030c64" providerId="ADAL" clId="{61C78025-9E46-466F-873E-2DF94ED9C4E0}" dt="2023-06-12T11:43:55.123" v="4519" actId="47"/>
        <pc:sldMkLst>
          <pc:docMk/>
          <pc:sldMk cId="1260251333" sldId="484"/>
        </pc:sldMkLst>
      </pc:sldChg>
      <pc:sldChg chg="add del">
        <pc:chgData name="Uladzimir Litvinau" userId="7c780bef-f8d3-4d23-a35d-3c7004030c64" providerId="ADAL" clId="{61C78025-9E46-466F-873E-2DF94ED9C4E0}" dt="2023-06-12T11:51:19.985" v="4658" actId="47"/>
        <pc:sldMkLst>
          <pc:docMk/>
          <pc:sldMk cId="3426485860" sldId="485"/>
        </pc:sldMkLst>
      </pc:sldChg>
      <pc:sldChg chg="add del">
        <pc:chgData name="Uladzimir Litvinau" userId="7c780bef-f8d3-4d23-a35d-3c7004030c64" providerId="ADAL" clId="{61C78025-9E46-466F-873E-2DF94ED9C4E0}" dt="2023-06-12T11:51:19.985" v="4658" actId="47"/>
        <pc:sldMkLst>
          <pc:docMk/>
          <pc:sldMk cId="2010601190" sldId="486"/>
        </pc:sldMkLst>
      </pc:sldChg>
      <pc:sldChg chg="add del">
        <pc:chgData name="Uladzimir Litvinau" userId="7c780bef-f8d3-4d23-a35d-3c7004030c64" providerId="ADAL" clId="{61C78025-9E46-466F-873E-2DF94ED9C4E0}" dt="2023-06-12T11:53:13.235" v="4802" actId="47"/>
        <pc:sldMkLst>
          <pc:docMk/>
          <pc:sldMk cId="3184471000" sldId="487"/>
        </pc:sldMkLst>
      </pc:sldChg>
      <pc:sldChg chg="add del">
        <pc:chgData name="Uladzimir Litvinau" userId="7c780bef-f8d3-4d23-a35d-3c7004030c64" providerId="ADAL" clId="{61C78025-9E46-466F-873E-2DF94ED9C4E0}" dt="2023-06-12T11:54:04.862" v="4825" actId="47"/>
        <pc:sldMkLst>
          <pc:docMk/>
          <pc:sldMk cId="3705658430" sldId="488"/>
        </pc:sldMkLst>
      </pc:sldChg>
      <pc:sldChg chg="add del">
        <pc:chgData name="Uladzimir Litvinau" userId="7c780bef-f8d3-4d23-a35d-3c7004030c64" providerId="ADAL" clId="{61C78025-9E46-466F-873E-2DF94ED9C4E0}" dt="2023-06-12T11:55:56.519" v="4864" actId="47"/>
        <pc:sldMkLst>
          <pc:docMk/>
          <pc:sldMk cId="3804863657" sldId="489"/>
        </pc:sldMkLst>
      </pc:sldChg>
      <pc:sldChg chg="modSp add del mod">
        <pc:chgData name="Uladzimir Litvinau" userId="7c780bef-f8d3-4d23-a35d-3c7004030c64" providerId="ADAL" clId="{61C78025-9E46-466F-873E-2DF94ED9C4E0}" dt="2023-06-12T11:57:05.587" v="4884" actId="47"/>
        <pc:sldMkLst>
          <pc:docMk/>
          <pc:sldMk cId="821950017" sldId="490"/>
        </pc:sldMkLst>
        <pc:spChg chg="mod">
          <ac:chgData name="Uladzimir Litvinau" userId="7c780bef-f8d3-4d23-a35d-3c7004030c64" providerId="ADAL" clId="{61C78025-9E46-466F-873E-2DF94ED9C4E0}" dt="2023-06-12T11:56:12.972" v="4871" actId="20577"/>
          <ac:spMkLst>
            <pc:docMk/>
            <pc:sldMk cId="821950017" sldId="490"/>
            <ac:spMk id="57" creationId="{00000000-0000-0000-0000-000000000000}"/>
          </ac:spMkLst>
        </pc:spChg>
      </pc:sldChg>
      <pc:sldChg chg="add del">
        <pc:chgData name="Uladzimir Litvinau" userId="7c780bef-f8d3-4d23-a35d-3c7004030c64" providerId="ADAL" clId="{61C78025-9E46-466F-873E-2DF94ED9C4E0}" dt="2023-06-12T09:52:36.130" v="4329" actId="47"/>
        <pc:sldMkLst>
          <pc:docMk/>
          <pc:sldMk cId="3025938064" sldId="491"/>
        </pc:sldMkLst>
      </pc:sldChg>
      <pc:sldChg chg="add del">
        <pc:chgData name="Uladzimir Litvinau" userId="7c780bef-f8d3-4d23-a35d-3c7004030c64" providerId="ADAL" clId="{61C78025-9E46-466F-873E-2DF94ED9C4E0}" dt="2023-06-12T09:52:36.130" v="4329" actId="47"/>
        <pc:sldMkLst>
          <pc:docMk/>
          <pc:sldMk cId="49584149" sldId="492"/>
        </pc:sldMkLst>
      </pc:sldChg>
      <pc:sldChg chg="add del">
        <pc:chgData name="Uladzimir Litvinau" userId="7c780bef-f8d3-4d23-a35d-3c7004030c64" providerId="ADAL" clId="{61C78025-9E46-466F-873E-2DF94ED9C4E0}" dt="2023-06-12T11:41:40.744" v="4493" actId="47"/>
        <pc:sldMkLst>
          <pc:docMk/>
          <pc:sldMk cId="3340662019" sldId="493"/>
        </pc:sldMkLst>
      </pc:sldChg>
      <pc:sldChg chg="add del">
        <pc:chgData name="Uladzimir Litvinau" userId="7c780bef-f8d3-4d23-a35d-3c7004030c64" providerId="ADAL" clId="{61C78025-9E46-466F-873E-2DF94ED9C4E0}" dt="2023-06-12T11:43:55.123" v="4519" actId="47"/>
        <pc:sldMkLst>
          <pc:docMk/>
          <pc:sldMk cId="2477650886" sldId="494"/>
        </pc:sldMkLst>
      </pc:sldChg>
      <pc:sldChg chg="add del">
        <pc:chgData name="Uladzimir Litvinau" userId="7c780bef-f8d3-4d23-a35d-3c7004030c64" providerId="ADAL" clId="{61C78025-9E46-466F-873E-2DF94ED9C4E0}" dt="2023-06-09T10:48:42.159" v="1238" actId="47"/>
        <pc:sldMkLst>
          <pc:docMk/>
          <pc:sldMk cId="256363088" sldId="496"/>
        </pc:sldMkLst>
      </pc:sldChg>
      <pc:sldChg chg="add del">
        <pc:chgData name="Uladzimir Litvinau" userId="7c780bef-f8d3-4d23-a35d-3c7004030c64" providerId="ADAL" clId="{61C78025-9E46-466F-873E-2DF94ED9C4E0}" dt="2023-06-12T08:42:11.499" v="2054" actId="47"/>
        <pc:sldMkLst>
          <pc:docMk/>
          <pc:sldMk cId="2427690053" sldId="497"/>
        </pc:sldMkLst>
      </pc:sldChg>
      <pc:sldChg chg="add del">
        <pc:chgData name="Uladzimir Litvinau" userId="7c780bef-f8d3-4d23-a35d-3c7004030c64" providerId="ADAL" clId="{61C78025-9E46-466F-873E-2DF94ED9C4E0}" dt="2023-06-09T11:25:48.260" v="1342" actId="47"/>
        <pc:sldMkLst>
          <pc:docMk/>
          <pc:sldMk cId="2325868594" sldId="498"/>
        </pc:sldMkLst>
      </pc:sldChg>
      <pc:sldChg chg="del">
        <pc:chgData name="Uladzimir Litvinau" userId="7c780bef-f8d3-4d23-a35d-3c7004030c64" providerId="ADAL" clId="{61C78025-9E46-466F-873E-2DF94ED9C4E0}" dt="2023-06-12T11:57:21.361" v="4885" actId="47"/>
        <pc:sldMkLst>
          <pc:docMk/>
          <pc:sldMk cId="385640968" sldId="4561"/>
        </pc:sldMkLst>
      </pc:sldChg>
      <pc:sldChg chg="del">
        <pc:chgData name="Uladzimir Litvinau" userId="7c780bef-f8d3-4d23-a35d-3c7004030c64" providerId="ADAL" clId="{61C78025-9E46-466F-873E-2DF94ED9C4E0}" dt="2023-06-12T11:57:21.361" v="4885" actId="47"/>
        <pc:sldMkLst>
          <pc:docMk/>
          <pc:sldMk cId="550391916" sldId="5871"/>
        </pc:sldMkLst>
      </pc:sldChg>
      <pc:sldChg chg="del">
        <pc:chgData name="Uladzimir Litvinau" userId="7c780bef-f8d3-4d23-a35d-3c7004030c64" providerId="ADAL" clId="{61C78025-9E46-466F-873E-2DF94ED9C4E0}" dt="2023-06-12T11:57:21.361" v="4885" actId="47"/>
        <pc:sldMkLst>
          <pc:docMk/>
          <pc:sldMk cId="2869294920" sldId="5875"/>
        </pc:sldMkLst>
      </pc:sldChg>
      <pc:sldChg chg="del">
        <pc:chgData name="Uladzimir Litvinau" userId="7c780bef-f8d3-4d23-a35d-3c7004030c64" providerId="ADAL" clId="{61C78025-9E46-466F-873E-2DF94ED9C4E0}" dt="2023-06-12T11:57:21.361" v="4885" actId="47"/>
        <pc:sldMkLst>
          <pc:docMk/>
          <pc:sldMk cId="897669963" sldId="5887"/>
        </pc:sldMkLst>
      </pc:sldChg>
      <pc:sldChg chg="del">
        <pc:chgData name="Uladzimir Litvinau" userId="7c780bef-f8d3-4d23-a35d-3c7004030c64" providerId="ADAL" clId="{61C78025-9E46-466F-873E-2DF94ED9C4E0}" dt="2023-06-12T11:57:21.361" v="4885" actId="47"/>
        <pc:sldMkLst>
          <pc:docMk/>
          <pc:sldMk cId="3518214572" sldId="5890"/>
        </pc:sldMkLst>
      </pc:sldChg>
      <pc:sldChg chg="del">
        <pc:chgData name="Uladzimir Litvinau" userId="7c780bef-f8d3-4d23-a35d-3c7004030c64" providerId="ADAL" clId="{61C78025-9E46-466F-873E-2DF94ED9C4E0}" dt="2023-06-12T11:57:21.361" v="4885" actId="47"/>
        <pc:sldMkLst>
          <pc:docMk/>
          <pc:sldMk cId="2651842988" sldId="5904"/>
        </pc:sldMkLst>
      </pc:sldChg>
      <pc:sldChg chg="del">
        <pc:chgData name="Uladzimir Litvinau" userId="7c780bef-f8d3-4d23-a35d-3c7004030c64" providerId="ADAL" clId="{61C78025-9E46-466F-873E-2DF94ED9C4E0}" dt="2023-06-12T11:57:21.361" v="4885" actId="47"/>
        <pc:sldMkLst>
          <pc:docMk/>
          <pc:sldMk cId="1166819550" sldId="2142532308"/>
        </pc:sldMkLst>
      </pc:sldChg>
      <pc:sldChg chg="del">
        <pc:chgData name="Uladzimir Litvinau" userId="7c780bef-f8d3-4d23-a35d-3c7004030c64" providerId="ADAL" clId="{61C78025-9E46-466F-873E-2DF94ED9C4E0}" dt="2023-06-12T11:57:21.361" v="4885" actId="47"/>
        <pc:sldMkLst>
          <pc:docMk/>
          <pc:sldMk cId="4059503565" sldId="2142532370"/>
        </pc:sldMkLst>
      </pc:sldChg>
      <pc:sldChg chg="del">
        <pc:chgData name="Uladzimir Litvinau" userId="7c780bef-f8d3-4d23-a35d-3c7004030c64" providerId="ADAL" clId="{61C78025-9E46-466F-873E-2DF94ED9C4E0}" dt="2023-06-12T11:57:21.361" v="4885" actId="47"/>
        <pc:sldMkLst>
          <pc:docMk/>
          <pc:sldMk cId="3802360753" sldId="2142532372"/>
        </pc:sldMkLst>
      </pc:sldChg>
      <pc:sldChg chg="del">
        <pc:chgData name="Uladzimir Litvinau" userId="7c780bef-f8d3-4d23-a35d-3c7004030c64" providerId="ADAL" clId="{61C78025-9E46-466F-873E-2DF94ED9C4E0}" dt="2023-06-12T11:57:21.361" v="4885" actId="47"/>
        <pc:sldMkLst>
          <pc:docMk/>
          <pc:sldMk cId="1814348070" sldId="2142532396"/>
        </pc:sldMkLst>
      </pc:sldChg>
      <pc:sldChg chg="del">
        <pc:chgData name="Uladzimir Litvinau" userId="7c780bef-f8d3-4d23-a35d-3c7004030c64" providerId="ADAL" clId="{61C78025-9E46-466F-873E-2DF94ED9C4E0}" dt="2023-06-12T11:57:21.361" v="4885" actId="47"/>
        <pc:sldMkLst>
          <pc:docMk/>
          <pc:sldMk cId="2300789801" sldId="2142532397"/>
        </pc:sldMkLst>
      </pc:sldChg>
      <pc:sldChg chg="del">
        <pc:chgData name="Uladzimir Litvinau" userId="7c780bef-f8d3-4d23-a35d-3c7004030c64" providerId="ADAL" clId="{61C78025-9E46-466F-873E-2DF94ED9C4E0}" dt="2023-06-12T11:57:21.361" v="4885" actId="47"/>
        <pc:sldMkLst>
          <pc:docMk/>
          <pc:sldMk cId="2068336498" sldId="2142532406"/>
        </pc:sldMkLst>
      </pc:sldChg>
      <pc:sldChg chg="del">
        <pc:chgData name="Uladzimir Litvinau" userId="7c780bef-f8d3-4d23-a35d-3c7004030c64" providerId="ADAL" clId="{61C78025-9E46-466F-873E-2DF94ED9C4E0}" dt="2023-06-12T11:57:21.361" v="4885" actId="47"/>
        <pc:sldMkLst>
          <pc:docMk/>
          <pc:sldMk cId="4188493657" sldId="2142532427"/>
        </pc:sldMkLst>
      </pc:sldChg>
      <pc:sldChg chg="del">
        <pc:chgData name="Uladzimir Litvinau" userId="7c780bef-f8d3-4d23-a35d-3c7004030c64" providerId="ADAL" clId="{61C78025-9E46-466F-873E-2DF94ED9C4E0}" dt="2023-06-12T11:57:21.361" v="4885" actId="47"/>
        <pc:sldMkLst>
          <pc:docMk/>
          <pc:sldMk cId="2588115476" sldId="2142532433"/>
        </pc:sldMkLst>
      </pc:sldChg>
      <pc:sldChg chg="del">
        <pc:chgData name="Uladzimir Litvinau" userId="7c780bef-f8d3-4d23-a35d-3c7004030c64" providerId="ADAL" clId="{61C78025-9E46-466F-873E-2DF94ED9C4E0}" dt="2023-06-12T11:57:21.361" v="4885" actId="47"/>
        <pc:sldMkLst>
          <pc:docMk/>
          <pc:sldMk cId="1187633320" sldId="2142532435"/>
        </pc:sldMkLst>
      </pc:sldChg>
      <pc:sldChg chg="del">
        <pc:chgData name="Uladzimir Litvinau" userId="7c780bef-f8d3-4d23-a35d-3c7004030c64" providerId="ADAL" clId="{61C78025-9E46-466F-873E-2DF94ED9C4E0}" dt="2023-06-12T11:57:21.361" v="4885" actId="47"/>
        <pc:sldMkLst>
          <pc:docMk/>
          <pc:sldMk cId="1784555377" sldId="2142532446"/>
        </pc:sldMkLst>
      </pc:sldChg>
      <pc:sldChg chg="del">
        <pc:chgData name="Uladzimir Litvinau" userId="7c780bef-f8d3-4d23-a35d-3c7004030c64" providerId="ADAL" clId="{61C78025-9E46-466F-873E-2DF94ED9C4E0}" dt="2023-06-12T11:57:21.361" v="4885" actId="47"/>
        <pc:sldMkLst>
          <pc:docMk/>
          <pc:sldMk cId="989795563" sldId="2142532458"/>
        </pc:sldMkLst>
      </pc:sldChg>
      <pc:sldChg chg="del">
        <pc:chgData name="Uladzimir Litvinau" userId="7c780bef-f8d3-4d23-a35d-3c7004030c64" providerId="ADAL" clId="{61C78025-9E46-466F-873E-2DF94ED9C4E0}" dt="2023-06-12T11:57:21.361" v="4885" actId="47"/>
        <pc:sldMkLst>
          <pc:docMk/>
          <pc:sldMk cId="729620052" sldId="2142532459"/>
        </pc:sldMkLst>
      </pc:sldChg>
      <pc:sldChg chg="del">
        <pc:chgData name="Uladzimir Litvinau" userId="7c780bef-f8d3-4d23-a35d-3c7004030c64" providerId="ADAL" clId="{61C78025-9E46-466F-873E-2DF94ED9C4E0}" dt="2023-06-12T11:57:21.361" v="4885" actId="47"/>
        <pc:sldMkLst>
          <pc:docMk/>
          <pc:sldMk cId="1575258662" sldId="2142532463"/>
        </pc:sldMkLst>
      </pc:sldChg>
      <pc:sldChg chg="del">
        <pc:chgData name="Uladzimir Litvinau" userId="7c780bef-f8d3-4d23-a35d-3c7004030c64" providerId="ADAL" clId="{61C78025-9E46-466F-873E-2DF94ED9C4E0}" dt="2023-06-12T11:57:21.361" v="4885" actId="47"/>
        <pc:sldMkLst>
          <pc:docMk/>
          <pc:sldMk cId="2081502886" sldId="2142532464"/>
        </pc:sldMkLst>
      </pc:sldChg>
      <pc:sldChg chg="del">
        <pc:chgData name="Uladzimir Litvinau" userId="7c780bef-f8d3-4d23-a35d-3c7004030c64" providerId="ADAL" clId="{61C78025-9E46-466F-873E-2DF94ED9C4E0}" dt="2023-06-12T11:57:21.361" v="4885" actId="47"/>
        <pc:sldMkLst>
          <pc:docMk/>
          <pc:sldMk cId="1114353403" sldId="2142532477"/>
        </pc:sldMkLst>
      </pc:sldChg>
      <pc:sldChg chg="del">
        <pc:chgData name="Uladzimir Litvinau" userId="7c780bef-f8d3-4d23-a35d-3c7004030c64" providerId="ADAL" clId="{61C78025-9E46-466F-873E-2DF94ED9C4E0}" dt="2023-06-12T11:57:21.361" v="4885" actId="47"/>
        <pc:sldMkLst>
          <pc:docMk/>
          <pc:sldMk cId="677644321" sldId="2142532478"/>
        </pc:sldMkLst>
      </pc:sldChg>
      <pc:sldChg chg="del">
        <pc:chgData name="Uladzimir Litvinau" userId="7c780bef-f8d3-4d23-a35d-3c7004030c64" providerId="ADAL" clId="{61C78025-9E46-466F-873E-2DF94ED9C4E0}" dt="2023-06-12T11:57:21.361" v="4885" actId="47"/>
        <pc:sldMkLst>
          <pc:docMk/>
          <pc:sldMk cId="2615370712" sldId="2142532611"/>
        </pc:sldMkLst>
      </pc:sldChg>
      <pc:sldChg chg="del">
        <pc:chgData name="Uladzimir Litvinau" userId="7c780bef-f8d3-4d23-a35d-3c7004030c64" providerId="ADAL" clId="{61C78025-9E46-466F-873E-2DF94ED9C4E0}" dt="2023-06-12T11:57:21.361" v="4885" actId="47"/>
        <pc:sldMkLst>
          <pc:docMk/>
          <pc:sldMk cId="1253293800" sldId="2142532684"/>
        </pc:sldMkLst>
      </pc:sldChg>
      <pc:sldChg chg="del">
        <pc:chgData name="Uladzimir Litvinau" userId="7c780bef-f8d3-4d23-a35d-3c7004030c64" providerId="ADAL" clId="{61C78025-9E46-466F-873E-2DF94ED9C4E0}" dt="2023-06-12T11:57:21.361" v="4885" actId="47"/>
        <pc:sldMkLst>
          <pc:docMk/>
          <pc:sldMk cId="274593457" sldId="2142532697"/>
        </pc:sldMkLst>
      </pc:sldChg>
      <pc:sldChg chg="del">
        <pc:chgData name="Uladzimir Litvinau" userId="7c780bef-f8d3-4d23-a35d-3c7004030c64" providerId="ADAL" clId="{61C78025-9E46-466F-873E-2DF94ED9C4E0}" dt="2023-06-12T11:57:21.361" v="4885" actId="47"/>
        <pc:sldMkLst>
          <pc:docMk/>
          <pc:sldMk cId="1556113690" sldId="2142532718"/>
        </pc:sldMkLst>
      </pc:sldChg>
      <pc:sldChg chg="del">
        <pc:chgData name="Uladzimir Litvinau" userId="7c780bef-f8d3-4d23-a35d-3c7004030c64" providerId="ADAL" clId="{61C78025-9E46-466F-873E-2DF94ED9C4E0}" dt="2023-06-12T11:57:21.361" v="4885" actId="47"/>
        <pc:sldMkLst>
          <pc:docMk/>
          <pc:sldMk cId="2976688359" sldId="2142532722"/>
        </pc:sldMkLst>
      </pc:sldChg>
      <pc:sldChg chg="del">
        <pc:chgData name="Uladzimir Litvinau" userId="7c780bef-f8d3-4d23-a35d-3c7004030c64" providerId="ADAL" clId="{61C78025-9E46-466F-873E-2DF94ED9C4E0}" dt="2023-06-12T11:57:21.361" v="4885" actId="47"/>
        <pc:sldMkLst>
          <pc:docMk/>
          <pc:sldMk cId="1757092872" sldId="2142532734"/>
        </pc:sldMkLst>
      </pc:sldChg>
      <pc:sldChg chg="del">
        <pc:chgData name="Uladzimir Litvinau" userId="7c780bef-f8d3-4d23-a35d-3c7004030c64" providerId="ADAL" clId="{61C78025-9E46-466F-873E-2DF94ED9C4E0}" dt="2023-06-12T11:57:21.361" v="4885" actId="47"/>
        <pc:sldMkLst>
          <pc:docMk/>
          <pc:sldMk cId="3254715139" sldId="2142532735"/>
        </pc:sldMkLst>
      </pc:sldChg>
      <pc:sldChg chg="del">
        <pc:chgData name="Uladzimir Litvinau" userId="7c780bef-f8d3-4d23-a35d-3c7004030c64" providerId="ADAL" clId="{61C78025-9E46-466F-873E-2DF94ED9C4E0}" dt="2023-06-12T11:57:21.361" v="4885" actId="47"/>
        <pc:sldMkLst>
          <pc:docMk/>
          <pc:sldMk cId="1958443088" sldId="2142532736"/>
        </pc:sldMkLst>
      </pc:sldChg>
      <pc:sldChg chg="del">
        <pc:chgData name="Uladzimir Litvinau" userId="7c780bef-f8d3-4d23-a35d-3c7004030c64" providerId="ADAL" clId="{61C78025-9E46-466F-873E-2DF94ED9C4E0}" dt="2023-06-12T11:57:21.361" v="4885" actId="47"/>
        <pc:sldMkLst>
          <pc:docMk/>
          <pc:sldMk cId="2320319686" sldId="2142532818"/>
        </pc:sldMkLst>
      </pc:sldChg>
      <pc:sldChg chg="del">
        <pc:chgData name="Uladzimir Litvinau" userId="7c780bef-f8d3-4d23-a35d-3c7004030c64" providerId="ADAL" clId="{61C78025-9E46-466F-873E-2DF94ED9C4E0}" dt="2023-06-12T11:57:21.361" v="4885" actId="47"/>
        <pc:sldMkLst>
          <pc:docMk/>
          <pc:sldMk cId="1121579253" sldId="2142532820"/>
        </pc:sldMkLst>
      </pc:sldChg>
      <pc:sldChg chg="del">
        <pc:chgData name="Uladzimir Litvinau" userId="7c780bef-f8d3-4d23-a35d-3c7004030c64" providerId="ADAL" clId="{61C78025-9E46-466F-873E-2DF94ED9C4E0}" dt="2023-06-12T11:57:21.361" v="4885" actId="47"/>
        <pc:sldMkLst>
          <pc:docMk/>
          <pc:sldMk cId="3340191649" sldId="2142532838"/>
        </pc:sldMkLst>
      </pc:sldChg>
      <pc:sldChg chg="del">
        <pc:chgData name="Uladzimir Litvinau" userId="7c780bef-f8d3-4d23-a35d-3c7004030c64" providerId="ADAL" clId="{61C78025-9E46-466F-873E-2DF94ED9C4E0}" dt="2023-06-12T11:57:21.361" v="4885" actId="47"/>
        <pc:sldMkLst>
          <pc:docMk/>
          <pc:sldMk cId="2093368044" sldId="2142532840"/>
        </pc:sldMkLst>
      </pc:sldChg>
      <pc:sldChg chg="del">
        <pc:chgData name="Uladzimir Litvinau" userId="7c780bef-f8d3-4d23-a35d-3c7004030c64" providerId="ADAL" clId="{61C78025-9E46-466F-873E-2DF94ED9C4E0}" dt="2023-06-12T11:57:21.361" v="4885" actId="47"/>
        <pc:sldMkLst>
          <pc:docMk/>
          <pc:sldMk cId="3544680095" sldId="2142532842"/>
        </pc:sldMkLst>
      </pc:sldChg>
      <pc:sldChg chg="del">
        <pc:chgData name="Uladzimir Litvinau" userId="7c780bef-f8d3-4d23-a35d-3c7004030c64" providerId="ADAL" clId="{61C78025-9E46-466F-873E-2DF94ED9C4E0}" dt="2023-06-12T11:57:21.361" v="4885" actId="47"/>
        <pc:sldMkLst>
          <pc:docMk/>
          <pc:sldMk cId="4279195188" sldId="2142532861"/>
        </pc:sldMkLst>
      </pc:sldChg>
      <pc:sldChg chg="del">
        <pc:chgData name="Uladzimir Litvinau" userId="7c780bef-f8d3-4d23-a35d-3c7004030c64" providerId="ADAL" clId="{61C78025-9E46-466F-873E-2DF94ED9C4E0}" dt="2023-06-12T11:57:21.361" v="4885" actId="47"/>
        <pc:sldMkLst>
          <pc:docMk/>
          <pc:sldMk cId="3143519188" sldId="2142532874"/>
        </pc:sldMkLst>
      </pc:sldChg>
      <pc:sldChg chg="del">
        <pc:chgData name="Uladzimir Litvinau" userId="7c780bef-f8d3-4d23-a35d-3c7004030c64" providerId="ADAL" clId="{61C78025-9E46-466F-873E-2DF94ED9C4E0}" dt="2023-06-12T11:57:21.361" v="4885" actId="47"/>
        <pc:sldMkLst>
          <pc:docMk/>
          <pc:sldMk cId="285273512" sldId="2142532875"/>
        </pc:sldMkLst>
      </pc:sldChg>
      <pc:sldChg chg="del">
        <pc:chgData name="Uladzimir Litvinau" userId="7c780bef-f8d3-4d23-a35d-3c7004030c64" providerId="ADAL" clId="{61C78025-9E46-466F-873E-2DF94ED9C4E0}" dt="2023-06-12T11:57:21.361" v="4885" actId="47"/>
        <pc:sldMkLst>
          <pc:docMk/>
          <pc:sldMk cId="1352960421" sldId="2142532876"/>
        </pc:sldMkLst>
      </pc:sldChg>
      <pc:sldChg chg="del">
        <pc:chgData name="Uladzimir Litvinau" userId="7c780bef-f8d3-4d23-a35d-3c7004030c64" providerId="ADAL" clId="{61C78025-9E46-466F-873E-2DF94ED9C4E0}" dt="2023-06-12T11:57:21.361" v="4885" actId="47"/>
        <pc:sldMkLst>
          <pc:docMk/>
          <pc:sldMk cId="3433296487" sldId="2142532880"/>
        </pc:sldMkLst>
      </pc:sldChg>
      <pc:sldChg chg="del">
        <pc:chgData name="Uladzimir Litvinau" userId="7c780bef-f8d3-4d23-a35d-3c7004030c64" providerId="ADAL" clId="{61C78025-9E46-466F-873E-2DF94ED9C4E0}" dt="2023-06-12T11:57:21.361" v="4885" actId="47"/>
        <pc:sldMkLst>
          <pc:docMk/>
          <pc:sldMk cId="3768933881" sldId="2142532881"/>
        </pc:sldMkLst>
      </pc:sldChg>
      <pc:sldChg chg="del">
        <pc:chgData name="Uladzimir Litvinau" userId="7c780bef-f8d3-4d23-a35d-3c7004030c64" providerId="ADAL" clId="{61C78025-9E46-466F-873E-2DF94ED9C4E0}" dt="2023-06-12T11:57:21.361" v="4885" actId="47"/>
        <pc:sldMkLst>
          <pc:docMk/>
          <pc:sldMk cId="2330574810" sldId="2142532882"/>
        </pc:sldMkLst>
      </pc:sldChg>
      <pc:sldChg chg="del">
        <pc:chgData name="Uladzimir Litvinau" userId="7c780bef-f8d3-4d23-a35d-3c7004030c64" providerId="ADAL" clId="{61C78025-9E46-466F-873E-2DF94ED9C4E0}" dt="2023-06-12T11:57:21.361" v="4885" actId="47"/>
        <pc:sldMkLst>
          <pc:docMk/>
          <pc:sldMk cId="446942708" sldId="2142532895"/>
        </pc:sldMkLst>
      </pc:sldChg>
      <pc:sldChg chg="del">
        <pc:chgData name="Uladzimir Litvinau" userId="7c780bef-f8d3-4d23-a35d-3c7004030c64" providerId="ADAL" clId="{61C78025-9E46-466F-873E-2DF94ED9C4E0}" dt="2023-06-12T11:57:21.361" v="4885" actId="47"/>
        <pc:sldMkLst>
          <pc:docMk/>
          <pc:sldMk cId="2854873467" sldId="2142532897"/>
        </pc:sldMkLst>
      </pc:sldChg>
      <pc:sldChg chg="del">
        <pc:chgData name="Uladzimir Litvinau" userId="7c780bef-f8d3-4d23-a35d-3c7004030c64" providerId="ADAL" clId="{61C78025-9E46-466F-873E-2DF94ED9C4E0}" dt="2023-06-12T11:57:21.361" v="4885" actId="47"/>
        <pc:sldMkLst>
          <pc:docMk/>
          <pc:sldMk cId="1304470070" sldId="2142532900"/>
        </pc:sldMkLst>
      </pc:sldChg>
      <pc:sldChg chg="modSp mod modTransition modNotesTx">
        <pc:chgData name="Uladzimir Litvinau" userId="7c780bef-f8d3-4d23-a35d-3c7004030c64" providerId="ADAL" clId="{61C78025-9E46-466F-873E-2DF94ED9C4E0}" dt="2023-06-14T09:15:00.115" v="9870" actId="20577"/>
        <pc:sldMkLst>
          <pc:docMk/>
          <pc:sldMk cId="2849265882" sldId="2142532923"/>
        </pc:sldMkLst>
        <pc:spChg chg="mod">
          <ac:chgData name="Uladzimir Litvinau" userId="7c780bef-f8d3-4d23-a35d-3c7004030c64" providerId="ADAL" clId="{61C78025-9E46-466F-873E-2DF94ED9C4E0}" dt="2023-06-09T08:43:42.480" v="455"/>
          <ac:spMkLst>
            <pc:docMk/>
            <pc:sldMk cId="2849265882" sldId="2142532923"/>
            <ac:spMk id="10" creationId="{803B0572-C200-D047-9F03-9FCC8A02AD6C}"/>
          </ac:spMkLst>
        </pc:spChg>
        <pc:spChg chg="mod">
          <ac:chgData name="Uladzimir Litvinau" userId="7c780bef-f8d3-4d23-a35d-3c7004030c64" providerId="ADAL" clId="{61C78025-9E46-466F-873E-2DF94ED9C4E0}" dt="2023-06-09T08:44:12.748" v="495" actId="20577"/>
          <ac:spMkLst>
            <pc:docMk/>
            <pc:sldMk cId="2849265882" sldId="2142532923"/>
            <ac:spMk id="11" creationId="{DBC7E78E-C0CE-B54F-B17A-D98CBB394CE5}"/>
          </ac:spMkLst>
        </pc:spChg>
        <pc:spChg chg="mod">
          <ac:chgData name="Uladzimir Litvinau" userId="7c780bef-f8d3-4d23-a35d-3c7004030c64" providerId="ADAL" clId="{61C78025-9E46-466F-873E-2DF94ED9C4E0}" dt="2023-06-09T08:43:45.171" v="456"/>
          <ac:spMkLst>
            <pc:docMk/>
            <pc:sldMk cId="2849265882" sldId="2142532923"/>
            <ac:spMk id="16" creationId="{B9D1A3E8-85EF-D64A-BA33-4685D5FE34CF}"/>
          </ac:spMkLst>
        </pc:spChg>
        <pc:spChg chg="mod">
          <ac:chgData name="Uladzimir Litvinau" userId="7c780bef-f8d3-4d23-a35d-3c7004030c64" providerId="ADAL" clId="{61C78025-9E46-466F-873E-2DF94ED9C4E0}" dt="2023-06-12T08:28:14.896" v="1882" actId="20577"/>
          <ac:spMkLst>
            <pc:docMk/>
            <pc:sldMk cId="2849265882" sldId="2142532923"/>
            <ac:spMk id="24" creationId="{E0C1409F-0F5F-BD4D-89C6-6B1A0E6C3905}"/>
          </ac:spMkLst>
        </pc:spChg>
        <pc:spChg chg="mod">
          <ac:chgData name="Uladzimir Litvinau" userId="7c780bef-f8d3-4d23-a35d-3c7004030c64" providerId="ADAL" clId="{61C78025-9E46-466F-873E-2DF94ED9C4E0}" dt="2023-06-09T08:42:26.502" v="367" actId="20577"/>
          <ac:spMkLst>
            <pc:docMk/>
            <pc:sldMk cId="2849265882" sldId="2142532923"/>
            <ac:spMk id="25" creationId="{22F77CC5-F27F-054B-BAA4-51C43128B441}"/>
          </ac:spMkLst>
        </pc:spChg>
        <pc:spChg chg="mod">
          <ac:chgData name="Uladzimir Litvinau" userId="7c780bef-f8d3-4d23-a35d-3c7004030c64" providerId="ADAL" clId="{61C78025-9E46-466F-873E-2DF94ED9C4E0}" dt="2023-06-09T08:43:49.507" v="469" actId="20577"/>
          <ac:spMkLst>
            <pc:docMk/>
            <pc:sldMk cId="2849265882" sldId="2142532923"/>
            <ac:spMk id="26" creationId="{D354F01E-2D09-264B-ADB4-65056A52DAEC}"/>
          </ac:spMkLst>
        </pc:spChg>
        <pc:spChg chg="mod">
          <ac:chgData name="Uladzimir Litvinau" userId="7c780bef-f8d3-4d23-a35d-3c7004030c64" providerId="ADAL" clId="{61C78025-9E46-466F-873E-2DF94ED9C4E0}" dt="2023-06-12T07:59:06.031" v="1381" actId="6549"/>
          <ac:spMkLst>
            <pc:docMk/>
            <pc:sldMk cId="2849265882" sldId="2142532923"/>
            <ac:spMk id="71" creationId="{407F047D-5E25-B04C-82BA-F942C1AA01CB}"/>
          </ac:spMkLst>
        </pc:spChg>
        <pc:spChg chg="mod">
          <ac:chgData name="Uladzimir Litvinau" userId="7c780bef-f8d3-4d23-a35d-3c7004030c64" providerId="ADAL" clId="{61C78025-9E46-466F-873E-2DF94ED9C4E0}" dt="2023-06-09T08:45:16.824" v="534" actId="20577"/>
          <ac:spMkLst>
            <pc:docMk/>
            <pc:sldMk cId="2849265882" sldId="2142532923"/>
            <ac:spMk id="75" creationId="{40500105-3BED-4A40-BD42-1ECF1E6BAE47}"/>
          </ac:spMkLst>
        </pc:spChg>
        <pc:spChg chg="mod">
          <ac:chgData name="Uladzimir Litvinau" userId="7c780bef-f8d3-4d23-a35d-3c7004030c64" providerId="ADAL" clId="{61C78025-9E46-466F-873E-2DF94ED9C4E0}" dt="2023-06-09T08:45:30.065" v="545" actId="20577"/>
          <ac:spMkLst>
            <pc:docMk/>
            <pc:sldMk cId="2849265882" sldId="2142532923"/>
            <ac:spMk id="76" creationId="{237CB115-4F19-6A41-9C2F-B6EF7960E3D7}"/>
          </ac:spMkLst>
        </pc:spChg>
      </pc:sldChg>
      <pc:sldChg chg="del">
        <pc:chgData name="Uladzimir Litvinau" userId="7c780bef-f8d3-4d23-a35d-3c7004030c64" providerId="ADAL" clId="{61C78025-9E46-466F-873E-2DF94ED9C4E0}" dt="2023-06-12T11:57:21.361" v="4885" actId="47"/>
        <pc:sldMkLst>
          <pc:docMk/>
          <pc:sldMk cId="1505339638" sldId="2142532926"/>
        </pc:sldMkLst>
      </pc:sldChg>
      <pc:sldChg chg="del">
        <pc:chgData name="Uladzimir Litvinau" userId="7c780bef-f8d3-4d23-a35d-3c7004030c64" providerId="ADAL" clId="{61C78025-9E46-466F-873E-2DF94ED9C4E0}" dt="2023-06-12T11:57:21.361" v="4885" actId="47"/>
        <pc:sldMkLst>
          <pc:docMk/>
          <pc:sldMk cId="3658011207" sldId="2142532937"/>
        </pc:sldMkLst>
      </pc:sldChg>
      <pc:sldChg chg="del">
        <pc:chgData name="Uladzimir Litvinau" userId="7c780bef-f8d3-4d23-a35d-3c7004030c64" providerId="ADAL" clId="{61C78025-9E46-466F-873E-2DF94ED9C4E0}" dt="2023-06-12T11:57:21.361" v="4885" actId="47"/>
        <pc:sldMkLst>
          <pc:docMk/>
          <pc:sldMk cId="2047202103" sldId="2142532938"/>
        </pc:sldMkLst>
      </pc:sldChg>
      <pc:sldChg chg="del">
        <pc:chgData name="Uladzimir Litvinau" userId="7c780bef-f8d3-4d23-a35d-3c7004030c64" providerId="ADAL" clId="{61C78025-9E46-466F-873E-2DF94ED9C4E0}" dt="2023-06-12T11:57:21.361" v="4885" actId="47"/>
        <pc:sldMkLst>
          <pc:docMk/>
          <pc:sldMk cId="1946482663" sldId="2146847382"/>
        </pc:sldMkLst>
      </pc:sldChg>
      <pc:sldChg chg="del">
        <pc:chgData name="Uladzimir Litvinau" userId="7c780bef-f8d3-4d23-a35d-3c7004030c64" providerId="ADAL" clId="{61C78025-9E46-466F-873E-2DF94ED9C4E0}" dt="2023-06-12T11:57:21.361" v="4885" actId="47"/>
        <pc:sldMkLst>
          <pc:docMk/>
          <pc:sldMk cId="3213205474" sldId="2146847383"/>
        </pc:sldMkLst>
      </pc:sldChg>
      <pc:sldChg chg="del">
        <pc:chgData name="Uladzimir Litvinau" userId="7c780bef-f8d3-4d23-a35d-3c7004030c64" providerId="ADAL" clId="{61C78025-9E46-466F-873E-2DF94ED9C4E0}" dt="2023-06-12T11:57:21.361" v="4885" actId="47"/>
        <pc:sldMkLst>
          <pc:docMk/>
          <pc:sldMk cId="2166123973" sldId="2146847384"/>
        </pc:sldMkLst>
      </pc:sldChg>
      <pc:sldChg chg="del">
        <pc:chgData name="Uladzimir Litvinau" userId="7c780bef-f8d3-4d23-a35d-3c7004030c64" providerId="ADAL" clId="{61C78025-9E46-466F-873E-2DF94ED9C4E0}" dt="2023-06-12T11:57:21.361" v="4885" actId="47"/>
        <pc:sldMkLst>
          <pc:docMk/>
          <pc:sldMk cId="226225996" sldId="2146847385"/>
        </pc:sldMkLst>
      </pc:sldChg>
      <pc:sldChg chg="modSp mod modTransition modNotesTx">
        <pc:chgData name="Uladzimir Litvinau" userId="7c780bef-f8d3-4d23-a35d-3c7004030c64" providerId="ADAL" clId="{61C78025-9E46-466F-873E-2DF94ED9C4E0}" dt="2023-06-14T10:15:39.375" v="10346" actId="33524"/>
        <pc:sldMkLst>
          <pc:docMk/>
          <pc:sldMk cId="2978622595" sldId="2146847410"/>
        </pc:sldMkLst>
        <pc:spChg chg="mod">
          <ac:chgData name="Uladzimir Litvinau" userId="7c780bef-f8d3-4d23-a35d-3c7004030c64" providerId="ADAL" clId="{61C78025-9E46-466F-873E-2DF94ED9C4E0}" dt="2023-06-09T08:34:49.316" v="13"/>
          <ac:spMkLst>
            <pc:docMk/>
            <pc:sldMk cId="2978622595" sldId="2146847410"/>
            <ac:spMk id="3" creationId="{530DF3C4-2D15-B84D-82FA-408FCFE1671C}"/>
          </ac:spMkLst>
        </pc:spChg>
        <pc:spChg chg="mod">
          <ac:chgData name="Uladzimir Litvinau" userId="7c780bef-f8d3-4d23-a35d-3c7004030c64" providerId="ADAL" clId="{61C78025-9E46-466F-873E-2DF94ED9C4E0}" dt="2023-06-09T08:34:59.296" v="16"/>
          <ac:spMkLst>
            <pc:docMk/>
            <pc:sldMk cId="2978622595" sldId="2146847410"/>
            <ac:spMk id="4" creationId="{07E7FEEA-E176-6241-A568-786480C833AF}"/>
          </ac:spMkLst>
        </pc:spChg>
        <pc:spChg chg="mod">
          <ac:chgData name="Uladzimir Litvinau" userId="7c780bef-f8d3-4d23-a35d-3c7004030c64" providerId="ADAL" clId="{61C78025-9E46-466F-873E-2DF94ED9C4E0}" dt="2023-06-09T08:35:07.085" v="23" actId="20577"/>
          <ac:spMkLst>
            <pc:docMk/>
            <pc:sldMk cId="2978622595" sldId="2146847410"/>
            <ac:spMk id="19" creationId="{1C004F51-E7DB-4857-AA9C-D4AEE3C336E1}"/>
          </ac:spMkLst>
        </pc:spChg>
      </pc:sldChg>
      <pc:sldChg chg="del">
        <pc:chgData name="Uladzimir Litvinau" userId="7c780bef-f8d3-4d23-a35d-3c7004030c64" providerId="ADAL" clId="{61C78025-9E46-466F-873E-2DF94ED9C4E0}" dt="2023-06-09T08:35:16.891" v="24" actId="47"/>
        <pc:sldMkLst>
          <pc:docMk/>
          <pc:sldMk cId="2046623539" sldId="2146847411"/>
        </pc:sldMkLst>
      </pc:sldChg>
      <pc:sldChg chg="del">
        <pc:chgData name="Uladzimir Litvinau" userId="7c780bef-f8d3-4d23-a35d-3c7004030c64" providerId="ADAL" clId="{61C78025-9E46-466F-873E-2DF94ED9C4E0}" dt="2023-06-12T11:57:21.361" v="4885" actId="47"/>
        <pc:sldMkLst>
          <pc:docMk/>
          <pc:sldMk cId="2677540747" sldId="2146847415"/>
        </pc:sldMkLst>
      </pc:sldChg>
      <pc:sldChg chg="del">
        <pc:chgData name="Uladzimir Litvinau" userId="7c780bef-f8d3-4d23-a35d-3c7004030c64" providerId="ADAL" clId="{61C78025-9E46-466F-873E-2DF94ED9C4E0}" dt="2023-06-12T11:57:21.361" v="4885" actId="47"/>
        <pc:sldMkLst>
          <pc:docMk/>
          <pc:sldMk cId="4237020776" sldId="2146847491"/>
        </pc:sldMkLst>
      </pc:sldChg>
      <pc:sldChg chg="del">
        <pc:chgData name="Uladzimir Litvinau" userId="7c780bef-f8d3-4d23-a35d-3c7004030c64" providerId="ADAL" clId="{61C78025-9E46-466F-873E-2DF94ED9C4E0}" dt="2023-06-12T11:57:21.361" v="4885" actId="47"/>
        <pc:sldMkLst>
          <pc:docMk/>
          <pc:sldMk cId="2455511885" sldId="2147469659"/>
        </pc:sldMkLst>
      </pc:sldChg>
      <pc:sldChg chg="del">
        <pc:chgData name="Uladzimir Litvinau" userId="7c780bef-f8d3-4d23-a35d-3c7004030c64" providerId="ADAL" clId="{61C78025-9E46-466F-873E-2DF94ED9C4E0}" dt="2023-06-12T11:57:21.361" v="4885" actId="47"/>
        <pc:sldMkLst>
          <pc:docMk/>
          <pc:sldMk cId="1585061157" sldId="2147472214"/>
        </pc:sldMkLst>
      </pc:sldChg>
      <pc:sldChg chg="addSp delSp modSp del mod ord modTransition modNotesTx">
        <pc:chgData name="Uladzimir Litvinau" userId="7c780bef-f8d3-4d23-a35d-3c7004030c64" providerId="ADAL" clId="{61C78025-9E46-466F-873E-2DF94ED9C4E0}" dt="2023-06-13T08:44:57.650" v="7257" actId="47"/>
        <pc:sldMkLst>
          <pc:docMk/>
          <pc:sldMk cId="1866365731" sldId="2147472220"/>
        </pc:sldMkLst>
        <pc:spChg chg="mod topLvl">
          <ac:chgData name="Uladzimir Litvinau" userId="7c780bef-f8d3-4d23-a35d-3c7004030c64" providerId="ADAL" clId="{61C78025-9E46-466F-873E-2DF94ED9C4E0}" dt="2023-06-09T08:55:24.941" v="871" actId="207"/>
          <ac:spMkLst>
            <pc:docMk/>
            <pc:sldMk cId="1866365731" sldId="2147472220"/>
            <ac:spMk id="3" creationId="{88856DD6-35E2-0782-944A-4FC816526A16}"/>
          </ac:spMkLst>
        </pc:spChg>
        <pc:spChg chg="del mod">
          <ac:chgData name="Uladzimir Litvinau" userId="7c780bef-f8d3-4d23-a35d-3c7004030c64" providerId="ADAL" clId="{61C78025-9E46-466F-873E-2DF94ED9C4E0}" dt="2023-06-09T08:54:59.865" v="869" actId="478"/>
          <ac:spMkLst>
            <pc:docMk/>
            <pc:sldMk cId="1866365731" sldId="2147472220"/>
            <ac:spMk id="31" creationId="{B8EE3E07-BA30-4C81-D512-61DA2709DEBB}"/>
          </ac:spMkLst>
        </pc:spChg>
        <pc:spChg chg="del">
          <ac:chgData name="Uladzimir Litvinau" userId="7c780bef-f8d3-4d23-a35d-3c7004030c64" providerId="ADAL" clId="{61C78025-9E46-466F-873E-2DF94ED9C4E0}" dt="2023-06-09T08:55:00.887" v="870" actId="478"/>
          <ac:spMkLst>
            <pc:docMk/>
            <pc:sldMk cId="1866365731" sldId="2147472220"/>
            <ac:spMk id="32" creationId="{93A3D9D5-2D05-972F-916F-0EFE17FEE5F6}"/>
          </ac:spMkLst>
        </pc:spChg>
        <pc:grpChg chg="add del">
          <ac:chgData name="Uladzimir Litvinau" userId="7c780bef-f8d3-4d23-a35d-3c7004030c64" providerId="ADAL" clId="{61C78025-9E46-466F-873E-2DF94ED9C4E0}" dt="2023-06-09T08:54:47.938" v="866" actId="478"/>
          <ac:grpSpMkLst>
            <pc:docMk/>
            <pc:sldMk cId="1866365731" sldId="2147472220"/>
            <ac:grpSpMk id="2" creationId="{D30F5A59-0C85-EC9F-F9BE-EC938C6A9EAB}"/>
          </ac:grpSpMkLst>
        </pc:grpChg>
        <pc:grpChg chg="del">
          <ac:chgData name="Uladzimir Litvinau" userId="7c780bef-f8d3-4d23-a35d-3c7004030c64" providerId="ADAL" clId="{61C78025-9E46-466F-873E-2DF94ED9C4E0}" dt="2023-06-09T08:54:35.911" v="860" actId="478"/>
          <ac:grpSpMkLst>
            <pc:docMk/>
            <pc:sldMk cId="1866365731" sldId="2147472220"/>
            <ac:grpSpMk id="6" creationId="{1A97CFE6-6B20-7DF7-8C4F-CFD064ED9570}"/>
          </ac:grpSpMkLst>
        </pc:grpChg>
        <pc:grpChg chg="del">
          <ac:chgData name="Uladzimir Litvinau" userId="7c780bef-f8d3-4d23-a35d-3c7004030c64" providerId="ADAL" clId="{61C78025-9E46-466F-873E-2DF94ED9C4E0}" dt="2023-06-09T08:54:46.357" v="865" actId="478"/>
          <ac:grpSpMkLst>
            <pc:docMk/>
            <pc:sldMk cId="1866365731" sldId="2147472220"/>
            <ac:grpSpMk id="10" creationId="{A7D7990B-F483-45D4-0B25-29850862AFB7}"/>
          </ac:grpSpMkLst>
        </pc:grpChg>
        <pc:picChg chg="add mod">
          <ac:chgData name="Uladzimir Litvinau" userId="7c780bef-f8d3-4d23-a35d-3c7004030c64" providerId="ADAL" clId="{61C78025-9E46-466F-873E-2DF94ED9C4E0}" dt="2023-06-13T08:21:59.379" v="6985" actId="1076"/>
          <ac:picMkLst>
            <pc:docMk/>
            <pc:sldMk cId="1866365731" sldId="2147472220"/>
            <ac:picMk id="5" creationId="{48177158-6A71-D477-F165-248AD98E5663}"/>
          </ac:picMkLst>
        </pc:picChg>
        <pc:picChg chg="add del mod">
          <ac:chgData name="Uladzimir Litvinau" userId="7c780bef-f8d3-4d23-a35d-3c7004030c64" providerId="ADAL" clId="{61C78025-9E46-466F-873E-2DF94ED9C4E0}" dt="2023-06-13T07:56:03.599" v="6982" actId="478"/>
          <ac:picMkLst>
            <pc:docMk/>
            <pc:sldMk cId="1866365731" sldId="2147472220"/>
            <ac:picMk id="8" creationId="{AFC08D02-348F-739D-FBC2-D17B72532779}"/>
          </ac:picMkLst>
        </pc:picChg>
        <pc:cxnChg chg="del">
          <ac:chgData name="Uladzimir Litvinau" userId="7c780bef-f8d3-4d23-a35d-3c7004030c64" providerId="ADAL" clId="{61C78025-9E46-466F-873E-2DF94ED9C4E0}" dt="2023-06-09T08:54:46.357" v="865" actId="478"/>
          <ac:cxnSpMkLst>
            <pc:docMk/>
            <pc:sldMk cId="1866365731" sldId="2147472220"/>
            <ac:cxnSpMk id="12" creationId="{B61241F5-1FB1-2E08-8CA1-E57728B05DE8}"/>
          </ac:cxnSpMkLst>
        </pc:cxnChg>
        <pc:cxnChg chg="del topLvl">
          <ac:chgData name="Uladzimir Litvinau" userId="7c780bef-f8d3-4d23-a35d-3c7004030c64" providerId="ADAL" clId="{61C78025-9E46-466F-873E-2DF94ED9C4E0}" dt="2023-06-09T08:54:47.938" v="866" actId="478"/>
          <ac:cxnSpMkLst>
            <pc:docMk/>
            <pc:sldMk cId="1866365731" sldId="2147472220"/>
            <ac:cxnSpMk id="13" creationId="{F117B123-8953-B976-4768-46AF0DD139A1}"/>
          </ac:cxnSpMkLst>
        </pc:cxnChg>
        <pc:cxnChg chg="del">
          <ac:chgData name="Uladzimir Litvinau" userId="7c780bef-f8d3-4d23-a35d-3c7004030c64" providerId="ADAL" clId="{61C78025-9E46-466F-873E-2DF94ED9C4E0}" dt="2023-06-09T08:54:39.279" v="862" actId="478"/>
          <ac:cxnSpMkLst>
            <pc:docMk/>
            <pc:sldMk cId="1866365731" sldId="2147472220"/>
            <ac:cxnSpMk id="14" creationId="{B1D0DBB2-36F2-FE08-83B5-DD2BE926987E}"/>
          </ac:cxnSpMkLst>
        </pc:cxnChg>
        <pc:cxnChg chg="del">
          <ac:chgData name="Uladzimir Litvinau" userId="7c780bef-f8d3-4d23-a35d-3c7004030c64" providerId="ADAL" clId="{61C78025-9E46-466F-873E-2DF94ED9C4E0}" dt="2023-06-09T08:54:37.568" v="861" actId="478"/>
          <ac:cxnSpMkLst>
            <pc:docMk/>
            <pc:sldMk cId="1866365731" sldId="2147472220"/>
            <ac:cxnSpMk id="15" creationId="{33E0A019-FC67-F75B-5AB6-21B311B7BFAC}"/>
          </ac:cxnSpMkLst>
        </pc:cxnChg>
        <pc:cxnChg chg="del">
          <ac:chgData name="Uladzimir Litvinau" userId="7c780bef-f8d3-4d23-a35d-3c7004030c64" providerId="ADAL" clId="{61C78025-9E46-466F-873E-2DF94ED9C4E0}" dt="2023-06-09T08:54:35.911" v="860" actId="478"/>
          <ac:cxnSpMkLst>
            <pc:docMk/>
            <pc:sldMk cId="1866365731" sldId="2147472220"/>
            <ac:cxnSpMk id="16" creationId="{A3A3BF03-1883-C140-013E-EDCD3B74A93C}"/>
          </ac:cxnSpMkLst>
        </pc:cxnChg>
        <pc:cxnChg chg="del">
          <ac:chgData name="Uladzimir Litvinau" userId="7c780bef-f8d3-4d23-a35d-3c7004030c64" providerId="ADAL" clId="{61C78025-9E46-466F-873E-2DF94ED9C4E0}" dt="2023-06-09T08:54:33.578" v="859" actId="478"/>
          <ac:cxnSpMkLst>
            <pc:docMk/>
            <pc:sldMk cId="1866365731" sldId="2147472220"/>
            <ac:cxnSpMk id="17" creationId="{F91C6DBE-A6F7-225F-2965-C9020FB747DD}"/>
          </ac:cxnSpMkLst>
        </pc:cxnChg>
      </pc:sldChg>
      <pc:sldChg chg="del">
        <pc:chgData name="Uladzimir Litvinau" userId="7c780bef-f8d3-4d23-a35d-3c7004030c64" providerId="ADAL" clId="{61C78025-9E46-466F-873E-2DF94ED9C4E0}" dt="2023-06-12T11:57:21.361" v="4885" actId="47"/>
        <pc:sldMkLst>
          <pc:docMk/>
          <pc:sldMk cId="2827779315" sldId="2147472224"/>
        </pc:sldMkLst>
      </pc:sldChg>
      <pc:sldChg chg="del">
        <pc:chgData name="Uladzimir Litvinau" userId="7c780bef-f8d3-4d23-a35d-3c7004030c64" providerId="ADAL" clId="{61C78025-9E46-466F-873E-2DF94ED9C4E0}" dt="2023-06-12T11:57:21.361" v="4885" actId="47"/>
        <pc:sldMkLst>
          <pc:docMk/>
          <pc:sldMk cId="1824517912" sldId="2147472225"/>
        </pc:sldMkLst>
      </pc:sldChg>
      <pc:sldChg chg="del">
        <pc:chgData name="Uladzimir Litvinau" userId="7c780bef-f8d3-4d23-a35d-3c7004030c64" providerId="ADAL" clId="{61C78025-9E46-466F-873E-2DF94ED9C4E0}" dt="2023-06-12T11:57:21.361" v="4885" actId="47"/>
        <pc:sldMkLst>
          <pc:docMk/>
          <pc:sldMk cId="2951144356" sldId="2147472226"/>
        </pc:sldMkLst>
      </pc:sldChg>
      <pc:sldChg chg="del">
        <pc:chgData name="Uladzimir Litvinau" userId="7c780bef-f8d3-4d23-a35d-3c7004030c64" providerId="ADAL" clId="{61C78025-9E46-466F-873E-2DF94ED9C4E0}" dt="2023-06-12T11:57:21.361" v="4885" actId="47"/>
        <pc:sldMkLst>
          <pc:docMk/>
          <pc:sldMk cId="4152783431" sldId="2147472227"/>
        </pc:sldMkLst>
      </pc:sldChg>
      <pc:sldChg chg="del">
        <pc:chgData name="Uladzimir Litvinau" userId="7c780bef-f8d3-4d23-a35d-3c7004030c64" providerId="ADAL" clId="{61C78025-9E46-466F-873E-2DF94ED9C4E0}" dt="2023-06-12T11:57:21.361" v="4885" actId="47"/>
        <pc:sldMkLst>
          <pc:docMk/>
          <pc:sldMk cId="327111182" sldId="2147473745"/>
        </pc:sldMkLst>
      </pc:sldChg>
      <pc:sldChg chg="del">
        <pc:chgData name="Uladzimir Litvinau" userId="7c780bef-f8d3-4d23-a35d-3c7004030c64" providerId="ADAL" clId="{61C78025-9E46-466F-873E-2DF94ED9C4E0}" dt="2023-06-12T11:57:21.361" v="4885" actId="47"/>
        <pc:sldMkLst>
          <pc:docMk/>
          <pc:sldMk cId="2717162737" sldId="2147473746"/>
        </pc:sldMkLst>
      </pc:sldChg>
      <pc:sldChg chg="del">
        <pc:chgData name="Uladzimir Litvinau" userId="7c780bef-f8d3-4d23-a35d-3c7004030c64" providerId="ADAL" clId="{61C78025-9E46-466F-873E-2DF94ED9C4E0}" dt="2023-06-12T11:57:21.361" v="4885" actId="47"/>
        <pc:sldMkLst>
          <pc:docMk/>
          <pc:sldMk cId="3407340574" sldId="2147473747"/>
        </pc:sldMkLst>
      </pc:sldChg>
      <pc:sldChg chg="del">
        <pc:chgData name="Uladzimir Litvinau" userId="7c780bef-f8d3-4d23-a35d-3c7004030c64" providerId="ADAL" clId="{61C78025-9E46-466F-873E-2DF94ED9C4E0}" dt="2023-06-12T11:57:21.361" v="4885" actId="47"/>
        <pc:sldMkLst>
          <pc:docMk/>
          <pc:sldMk cId="3412122601" sldId="2147473748"/>
        </pc:sldMkLst>
      </pc:sldChg>
      <pc:sldChg chg="del">
        <pc:chgData name="Uladzimir Litvinau" userId="7c780bef-f8d3-4d23-a35d-3c7004030c64" providerId="ADAL" clId="{61C78025-9E46-466F-873E-2DF94ED9C4E0}" dt="2023-06-12T11:57:21.361" v="4885" actId="47"/>
        <pc:sldMkLst>
          <pc:docMk/>
          <pc:sldMk cId="635054543" sldId="2147473749"/>
        </pc:sldMkLst>
      </pc:sldChg>
      <pc:sldChg chg="del">
        <pc:chgData name="Uladzimir Litvinau" userId="7c780bef-f8d3-4d23-a35d-3c7004030c64" providerId="ADAL" clId="{61C78025-9E46-466F-873E-2DF94ED9C4E0}" dt="2023-06-12T11:57:21.361" v="4885" actId="47"/>
        <pc:sldMkLst>
          <pc:docMk/>
          <pc:sldMk cId="1798359644" sldId="2147473750"/>
        </pc:sldMkLst>
      </pc:sldChg>
      <pc:sldChg chg="del">
        <pc:chgData name="Uladzimir Litvinau" userId="7c780bef-f8d3-4d23-a35d-3c7004030c64" providerId="ADAL" clId="{61C78025-9E46-466F-873E-2DF94ED9C4E0}" dt="2023-06-12T11:57:21.361" v="4885" actId="47"/>
        <pc:sldMkLst>
          <pc:docMk/>
          <pc:sldMk cId="275706201" sldId="2147473751"/>
        </pc:sldMkLst>
      </pc:sldChg>
      <pc:sldChg chg="add del">
        <pc:chgData name="Uladzimir Litvinau" userId="7c780bef-f8d3-4d23-a35d-3c7004030c64" providerId="ADAL" clId="{61C78025-9E46-466F-873E-2DF94ED9C4E0}" dt="2023-06-12T11:57:21.361" v="4885" actId="47"/>
        <pc:sldMkLst>
          <pc:docMk/>
          <pc:sldMk cId="3501765701" sldId="2147473752"/>
        </pc:sldMkLst>
      </pc:sldChg>
      <pc:sldChg chg="modSp add mod modTransition modNotesTx">
        <pc:chgData name="Uladzimir Litvinau" userId="7c780bef-f8d3-4d23-a35d-3c7004030c64" providerId="ADAL" clId="{61C78025-9E46-466F-873E-2DF94ED9C4E0}" dt="2023-06-14T11:04:54.705" v="10824" actId="20577"/>
        <pc:sldMkLst>
          <pc:docMk/>
          <pc:sldMk cId="96084815" sldId="2147473753"/>
        </pc:sldMkLst>
        <pc:spChg chg="mod">
          <ac:chgData name="Uladzimir Litvinau" userId="7c780bef-f8d3-4d23-a35d-3c7004030c64" providerId="ADAL" clId="{61C78025-9E46-466F-873E-2DF94ED9C4E0}" dt="2023-06-12T08:28:37.159" v="1890" actId="207"/>
          <ac:spMkLst>
            <pc:docMk/>
            <pc:sldMk cId="96084815" sldId="2147473753"/>
            <ac:spMk id="2" creationId="{EE3E7B12-94E5-1E8A-9A20-C930CC8426EB}"/>
          </ac:spMkLst>
        </pc:spChg>
        <pc:spChg chg="mod">
          <ac:chgData name="Uladzimir Litvinau" userId="7c780bef-f8d3-4d23-a35d-3c7004030c64" providerId="ADAL" clId="{61C78025-9E46-466F-873E-2DF94ED9C4E0}" dt="2023-06-09T08:49:20.090" v="637" actId="20577"/>
          <ac:spMkLst>
            <pc:docMk/>
            <pc:sldMk cId="96084815" sldId="2147473753"/>
            <ac:spMk id="8" creationId="{A33CA039-DE3C-5D85-0DB8-D98A38BFDC35}"/>
          </ac:spMkLst>
        </pc:spChg>
        <pc:spChg chg="mod">
          <ac:chgData name="Uladzimir Litvinau" userId="7c780bef-f8d3-4d23-a35d-3c7004030c64" providerId="ADAL" clId="{61C78025-9E46-466F-873E-2DF94ED9C4E0}" dt="2023-06-14T09:16:06.855" v="9943" actId="113"/>
          <ac:spMkLst>
            <pc:docMk/>
            <pc:sldMk cId="96084815" sldId="2147473753"/>
            <ac:spMk id="9" creationId="{43E65A60-BFF6-5D2C-96CA-C0DCDBCDC9B7}"/>
          </ac:spMkLst>
        </pc:spChg>
        <pc:spChg chg="mod">
          <ac:chgData name="Uladzimir Litvinau" userId="7c780bef-f8d3-4d23-a35d-3c7004030c64" providerId="ADAL" clId="{61C78025-9E46-466F-873E-2DF94ED9C4E0}" dt="2023-06-09T08:47:09.898" v="559" actId="20577"/>
          <ac:spMkLst>
            <pc:docMk/>
            <pc:sldMk cId="96084815" sldId="2147473753"/>
            <ac:spMk id="10" creationId="{1F88C411-8C59-AFA3-5C10-11E75FDF9817}"/>
          </ac:spMkLst>
        </pc:spChg>
      </pc:sldChg>
      <pc:sldChg chg="add del">
        <pc:chgData name="Uladzimir Litvinau" userId="7c780bef-f8d3-4d23-a35d-3c7004030c64" providerId="ADAL" clId="{61C78025-9E46-466F-873E-2DF94ED9C4E0}" dt="2023-06-12T11:57:21.361" v="4885" actId="47"/>
        <pc:sldMkLst>
          <pc:docMk/>
          <pc:sldMk cId="2697437394" sldId="2147473754"/>
        </pc:sldMkLst>
      </pc:sldChg>
      <pc:sldChg chg="addSp delSp modSp add mod ord modTransition modNotesTx">
        <pc:chgData name="Uladzimir Litvinau" userId="7c780bef-f8d3-4d23-a35d-3c7004030c64" providerId="ADAL" clId="{61C78025-9E46-466F-873E-2DF94ED9C4E0}" dt="2023-06-14T09:12:43.921" v="9834" actId="20577"/>
        <pc:sldMkLst>
          <pc:docMk/>
          <pc:sldMk cId="747380446" sldId="2147473755"/>
        </pc:sldMkLst>
        <pc:spChg chg="mod">
          <ac:chgData name="Uladzimir Litvinau" userId="7c780bef-f8d3-4d23-a35d-3c7004030c64" providerId="ADAL" clId="{61C78025-9E46-466F-873E-2DF94ED9C4E0}" dt="2023-06-09T10:40:52.996" v="1121" actId="20577"/>
          <ac:spMkLst>
            <pc:docMk/>
            <pc:sldMk cId="747380446" sldId="2147473755"/>
            <ac:spMk id="2" creationId="{EE3E7B12-94E5-1E8A-9A20-C930CC8426EB}"/>
          </ac:spMkLst>
        </pc:spChg>
        <pc:spChg chg="add mod">
          <ac:chgData name="Uladzimir Litvinau" userId="7c780bef-f8d3-4d23-a35d-3c7004030c64" providerId="ADAL" clId="{61C78025-9E46-466F-873E-2DF94ED9C4E0}" dt="2023-06-12T08:16:22.836" v="1699" actId="1076"/>
          <ac:spMkLst>
            <pc:docMk/>
            <pc:sldMk cId="747380446" sldId="2147473755"/>
            <ac:spMk id="6" creationId="{7764826D-D2A7-04A9-F9A4-6AE617C6D7DB}"/>
          </ac:spMkLst>
        </pc:spChg>
        <pc:spChg chg="add del mod">
          <ac:chgData name="Uladzimir Litvinau" userId="7c780bef-f8d3-4d23-a35d-3c7004030c64" providerId="ADAL" clId="{61C78025-9E46-466F-873E-2DF94ED9C4E0}" dt="2023-06-13T08:45:06.677" v="7259" actId="478"/>
          <ac:spMkLst>
            <pc:docMk/>
            <pc:sldMk cId="747380446" sldId="2147473755"/>
            <ac:spMk id="7" creationId="{88E7FF3E-B1E9-154A-4C7B-CE649E049832}"/>
          </ac:spMkLst>
        </pc:spChg>
        <pc:spChg chg="mod">
          <ac:chgData name="Uladzimir Litvinau" userId="7c780bef-f8d3-4d23-a35d-3c7004030c64" providerId="ADAL" clId="{61C78025-9E46-466F-873E-2DF94ED9C4E0}" dt="2023-06-09T10:45:04.606" v="1236" actId="27636"/>
          <ac:spMkLst>
            <pc:docMk/>
            <pc:sldMk cId="747380446" sldId="2147473755"/>
            <ac:spMk id="8" creationId="{A33CA039-DE3C-5D85-0DB8-D98A38BFDC35}"/>
          </ac:spMkLst>
        </pc:spChg>
        <pc:spChg chg="del mod">
          <ac:chgData name="Uladzimir Litvinau" userId="7c780bef-f8d3-4d23-a35d-3c7004030c64" providerId="ADAL" clId="{61C78025-9E46-466F-873E-2DF94ED9C4E0}" dt="2023-06-13T08:45:04.096" v="7258" actId="478"/>
          <ac:spMkLst>
            <pc:docMk/>
            <pc:sldMk cId="747380446" sldId="2147473755"/>
            <ac:spMk id="9" creationId="{43E65A60-BFF6-5D2C-96CA-C0DCDBCDC9B7}"/>
          </ac:spMkLst>
        </pc:spChg>
        <pc:spChg chg="mod">
          <ac:chgData name="Uladzimir Litvinau" userId="7c780bef-f8d3-4d23-a35d-3c7004030c64" providerId="ADAL" clId="{61C78025-9E46-466F-873E-2DF94ED9C4E0}" dt="2023-06-09T10:38:41.444" v="1019" actId="20577"/>
          <ac:spMkLst>
            <pc:docMk/>
            <pc:sldMk cId="747380446" sldId="2147473755"/>
            <ac:spMk id="10" creationId="{1F88C411-8C59-AFA3-5C10-11E75FDF9817}"/>
          </ac:spMkLst>
        </pc:spChg>
        <pc:picChg chg="add del mod">
          <ac:chgData name="Uladzimir Litvinau" userId="7c780bef-f8d3-4d23-a35d-3c7004030c64" providerId="ADAL" clId="{61C78025-9E46-466F-873E-2DF94ED9C4E0}" dt="2023-06-12T08:15:15.582" v="1679" actId="478"/>
          <ac:picMkLst>
            <pc:docMk/>
            <pc:sldMk cId="747380446" sldId="2147473755"/>
            <ac:picMk id="3" creationId="{ECCCA119-3368-5394-CE59-1603FC5D2D3E}"/>
          </ac:picMkLst>
        </pc:picChg>
        <pc:picChg chg="add mod">
          <ac:chgData name="Uladzimir Litvinau" userId="7c780bef-f8d3-4d23-a35d-3c7004030c64" providerId="ADAL" clId="{61C78025-9E46-466F-873E-2DF94ED9C4E0}" dt="2023-06-12T08:16:32.965" v="1701" actId="1076"/>
          <ac:picMkLst>
            <pc:docMk/>
            <pc:sldMk cId="747380446" sldId="2147473755"/>
            <ac:picMk id="4" creationId="{E3728E40-CBB6-7E65-60F4-2888F16D2A7F}"/>
          </ac:picMkLst>
        </pc:picChg>
        <pc:picChg chg="add mod">
          <ac:chgData name="Uladzimir Litvinau" userId="7c780bef-f8d3-4d23-a35d-3c7004030c64" providerId="ADAL" clId="{61C78025-9E46-466F-873E-2DF94ED9C4E0}" dt="2023-06-12T08:15:42.958" v="1689" actId="1076"/>
          <ac:picMkLst>
            <pc:docMk/>
            <pc:sldMk cId="747380446" sldId="2147473755"/>
            <ac:picMk id="5" creationId="{17E1A62D-C5B3-ABCB-51AD-D53ED7C0CACC}"/>
          </ac:picMkLst>
        </pc:picChg>
      </pc:sldChg>
      <pc:sldChg chg="addSp delSp modSp add mod modTransition modNotesTx">
        <pc:chgData name="Uladzimir Litvinau" userId="7c780bef-f8d3-4d23-a35d-3c7004030c64" providerId="ADAL" clId="{61C78025-9E46-466F-873E-2DF94ED9C4E0}" dt="2023-06-13T07:03:52.386" v="5916" actId="20577"/>
        <pc:sldMkLst>
          <pc:docMk/>
          <pc:sldMk cId="3606294842" sldId="2147473756"/>
        </pc:sldMkLst>
        <pc:spChg chg="mod">
          <ac:chgData name="Uladzimir Litvinau" userId="7c780bef-f8d3-4d23-a35d-3c7004030c64" providerId="ADAL" clId="{61C78025-9E46-466F-873E-2DF94ED9C4E0}" dt="2023-06-09T10:49:10.004" v="1241"/>
          <ac:spMkLst>
            <pc:docMk/>
            <pc:sldMk cId="3606294842" sldId="2147473756"/>
            <ac:spMk id="2" creationId="{55359522-46B2-9C49-8E5A-315B3E4B881C}"/>
          </ac:spMkLst>
        </pc:spChg>
        <pc:spChg chg="mod">
          <ac:chgData name="Uladzimir Litvinau" userId="7c780bef-f8d3-4d23-a35d-3c7004030c64" providerId="ADAL" clId="{61C78025-9E46-466F-873E-2DF94ED9C4E0}" dt="2023-06-12T08:42:02.486" v="2053" actId="1076"/>
          <ac:spMkLst>
            <pc:docMk/>
            <pc:sldMk cId="3606294842" sldId="2147473756"/>
            <ac:spMk id="4" creationId="{6B0F5AF8-4574-AE42-A00B-41DEBD7C2560}"/>
          </ac:spMkLst>
        </pc:spChg>
        <pc:spChg chg="mod">
          <ac:chgData name="Uladzimir Litvinau" userId="7c780bef-f8d3-4d23-a35d-3c7004030c64" providerId="ADAL" clId="{61C78025-9E46-466F-873E-2DF94ED9C4E0}" dt="2023-06-12T07:58:46.414" v="1380" actId="20577"/>
          <ac:spMkLst>
            <pc:docMk/>
            <pc:sldMk cId="3606294842" sldId="2147473756"/>
            <ac:spMk id="6" creationId="{B3CC20FE-2EC0-8782-52C5-7FEAC09DF4C2}"/>
          </ac:spMkLst>
        </pc:spChg>
        <pc:spChg chg="mod">
          <ac:chgData name="Uladzimir Litvinau" userId="7c780bef-f8d3-4d23-a35d-3c7004030c64" providerId="ADAL" clId="{61C78025-9E46-466F-873E-2DF94ED9C4E0}" dt="2023-06-09T10:56:40.241" v="1268"/>
          <ac:spMkLst>
            <pc:docMk/>
            <pc:sldMk cId="3606294842" sldId="2147473756"/>
            <ac:spMk id="9" creationId="{529CE732-355F-405F-B8E1-C9ED38D10CDC}"/>
          </ac:spMkLst>
        </pc:spChg>
        <pc:spChg chg="del">
          <ac:chgData name="Uladzimir Litvinau" userId="7c780bef-f8d3-4d23-a35d-3c7004030c64" providerId="ADAL" clId="{61C78025-9E46-466F-873E-2DF94ED9C4E0}" dt="2023-06-09T10:50:39.412" v="1242" actId="478"/>
          <ac:spMkLst>
            <pc:docMk/>
            <pc:sldMk cId="3606294842" sldId="2147473756"/>
            <ac:spMk id="11" creationId="{AAB4ECB3-65D0-C342-BD37-55BA5CA11BE8}"/>
          </ac:spMkLst>
        </pc:spChg>
        <pc:spChg chg="del">
          <ac:chgData name="Uladzimir Litvinau" userId="7c780bef-f8d3-4d23-a35d-3c7004030c64" providerId="ADAL" clId="{61C78025-9E46-466F-873E-2DF94ED9C4E0}" dt="2023-06-09T10:50:39.412" v="1242" actId="478"/>
          <ac:spMkLst>
            <pc:docMk/>
            <pc:sldMk cId="3606294842" sldId="2147473756"/>
            <ac:spMk id="12" creationId="{CF25B34B-E6AB-F447-B103-8DA1EEAC1437}"/>
          </ac:spMkLst>
        </pc:spChg>
        <pc:spChg chg="del">
          <ac:chgData name="Uladzimir Litvinau" userId="7c780bef-f8d3-4d23-a35d-3c7004030c64" providerId="ADAL" clId="{61C78025-9E46-466F-873E-2DF94ED9C4E0}" dt="2023-06-09T10:50:39.412" v="1242" actId="478"/>
          <ac:spMkLst>
            <pc:docMk/>
            <pc:sldMk cId="3606294842" sldId="2147473756"/>
            <ac:spMk id="13" creationId="{C76E6344-66D0-A941-B1B2-E6A07478235D}"/>
          </ac:spMkLst>
        </pc:spChg>
        <pc:spChg chg="del">
          <ac:chgData name="Uladzimir Litvinau" userId="7c780bef-f8d3-4d23-a35d-3c7004030c64" providerId="ADAL" clId="{61C78025-9E46-466F-873E-2DF94ED9C4E0}" dt="2023-06-09T10:50:39.412" v="1242" actId="478"/>
          <ac:spMkLst>
            <pc:docMk/>
            <pc:sldMk cId="3606294842" sldId="2147473756"/>
            <ac:spMk id="14" creationId="{B7FD3239-840F-E34C-8423-F1FD8DEC121C}"/>
          </ac:spMkLst>
        </pc:spChg>
        <pc:picChg chg="add mod">
          <ac:chgData name="Uladzimir Litvinau" userId="7c780bef-f8d3-4d23-a35d-3c7004030c64" providerId="ADAL" clId="{61C78025-9E46-466F-873E-2DF94ED9C4E0}" dt="2023-06-09T10:51:26.219" v="1248" actId="1076"/>
          <ac:picMkLst>
            <pc:docMk/>
            <pc:sldMk cId="3606294842" sldId="2147473756"/>
            <ac:picMk id="3" creationId="{7594CE47-86BB-86F5-2A89-B5CEBF2F7CF4}"/>
          </ac:picMkLst>
        </pc:picChg>
        <pc:picChg chg="del">
          <ac:chgData name="Uladzimir Litvinau" userId="7c780bef-f8d3-4d23-a35d-3c7004030c64" providerId="ADAL" clId="{61C78025-9E46-466F-873E-2DF94ED9C4E0}" dt="2023-06-09T10:50:39.412" v="1242" actId="478"/>
          <ac:picMkLst>
            <pc:docMk/>
            <pc:sldMk cId="3606294842" sldId="2147473756"/>
            <ac:picMk id="10" creationId="{A1AE80E8-8E45-904F-9F6B-0F23A152F04D}"/>
          </ac:picMkLst>
        </pc:picChg>
        <pc:cxnChg chg="del mod">
          <ac:chgData name="Uladzimir Litvinau" userId="7c780bef-f8d3-4d23-a35d-3c7004030c64" providerId="ADAL" clId="{61C78025-9E46-466F-873E-2DF94ED9C4E0}" dt="2023-06-09T10:50:39.412" v="1242" actId="478"/>
          <ac:cxnSpMkLst>
            <pc:docMk/>
            <pc:sldMk cId="3606294842" sldId="2147473756"/>
            <ac:cxnSpMk id="16" creationId="{C57E8069-3571-4644-952B-C011C6ACDB5B}"/>
          </ac:cxnSpMkLst>
        </pc:cxnChg>
        <pc:cxnChg chg="del">
          <ac:chgData name="Uladzimir Litvinau" userId="7c780bef-f8d3-4d23-a35d-3c7004030c64" providerId="ADAL" clId="{61C78025-9E46-466F-873E-2DF94ED9C4E0}" dt="2023-06-09T10:50:39.412" v="1242" actId="478"/>
          <ac:cxnSpMkLst>
            <pc:docMk/>
            <pc:sldMk cId="3606294842" sldId="2147473756"/>
            <ac:cxnSpMk id="18" creationId="{66830312-22F2-AE4F-85F6-FF805C51F267}"/>
          </ac:cxnSpMkLst>
        </pc:cxnChg>
        <pc:cxnChg chg="del">
          <ac:chgData name="Uladzimir Litvinau" userId="7c780bef-f8d3-4d23-a35d-3c7004030c64" providerId="ADAL" clId="{61C78025-9E46-466F-873E-2DF94ED9C4E0}" dt="2023-06-09T10:50:39.412" v="1242" actId="478"/>
          <ac:cxnSpMkLst>
            <pc:docMk/>
            <pc:sldMk cId="3606294842" sldId="2147473756"/>
            <ac:cxnSpMk id="19" creationId="{CB06C2A0-A306-2245-85EC-7DB7487CE962}"/>
          </ac:cxnSpMkLst>
        </pc:cxnChg>
        <pc:cxnChg chg="del">
          <ac:chgData name="Uladzimir Litvinau" userId="7c780bef-f8d3-4d23-a35d-3c7004030c64" providerId="ADAL" clId="{61C78025-9E46-466F-873E-2DF94ED9C4E0}" dt="2023-06-09T10:50:39.412" v="1242" actId="478"/>
          <ac:cxnSpMkLst>
            <pc:docMk/>
            <pc:sldMk cId="3606294842" sldId="2147473756"/>
            <ac:cxnSpMk id="20" creationId="{823CD4D3-1F5E-0444-B0C1-D7AB4F3B4E76}"/>
          </ac:cxnSpMkLst>
        </pc:cxnChg>
      </pc:sldChg>
      <pc:sldChg chg="addSp delSp modSp add del mod ord modClrScheme chgLayout">
        <pc:chgData name="Uladzimir Litvinau" userId="7c780bef-f8d3-4d23-a35d-3c7004030c64" providerId="ADAL" clId="{61C78025-9E46-466F-873E-2DF94ED9C4E0}" dt="2023-06-09T11:45:09.349" v="1348" actId="47"/>
        <pc:sldMkLst>
          <pc:docMk/>
          <pc:sldMk cId="2763073868" sldId="2147473757"/>
        </pc:sldMkLst>
        <pc:spChg chg="mod ord">
          <ac:chgData name="Uladzimir Litvinau" userId="7c780bef-f8d3-4d23-a35d-3c7004030c64" providerId="ADAL" clId="{61C78025-9E46-466F-873E-2DF94ED9C4E0}" dt="2023-06-09T11:42:14.626" v="1347" actId="700"/>
          <ac:spMkLst>
            <pc:docMk/>
            <pc:sldMk cId="2763073868" sldId="2147473757"/>
            <ac:spMk id="2" creationId="{55359522-46B2-9C49-8E5A-315B3E4B881C}"/>
          </ac:spMkLst>
        </pc:spChg>
        <pc:spChg chg="add del mod ord">
          <ac:chgData name="Uladzimir Litvinau" userId="7c780bef-f8d3-4d23-a35d-3c7004030c64" providerId="ADAL" clId="{61C78025-9E46-466F-873E-2DF94ED9C4E0}" dt="2023-06-09T11:42:14.626" v="1347" actId="700"/>
          <ac:spMkLst>
            <pc:docMk/>
            <pc:sldMk cId="2763073868" sldId="2147473757"/>
            <ac:spMk id="5" creationId="{CC05C7A6-4821-B81F-A90E-E37048EA7420}"/>
          </ac:spMkLst>
        </pc:spChg>
        <pc:spChg chg="add del mod ord">
          <ac:chgData name="Uladzimir Litvinau" userId="7c780bef-f8d3-4d23-a35d-3c7004030c64" providerId="ADAL" clId="{61C78025-9E46-466F-873E-2DF94ED9C4E0}" dt="2023-06-09T11:42:14.626" v="1347" actId="700"/>
          <ac:spMkLst>
            <pc:docMk/>
            <pc:sldMk cId="2763073868" sldId="2147473757"/>
            <ac:spMk id="6" creationId="{B3CC20FE-2EC0-8782-52C5-7FEAC09DF4C2}"/>
          </ac:spMkLst>
        </pc:spChg>
        <pc:spChg chg="add del mod ord">
          <ac:chgData name="Uladzimir Litvinau" userId="7c780bef-f8d3-4d23-a35d-3c7004030c64" providerId="ADAL" clId="{61C78025-9E46-466F-873E-2DF94ED9C4E0}" dt="2023-06-09T11:42:14.626" v="1347" actId="700"/>
          <ac:spMkLst>
            <pc:docMk/>
            <pc:sldMk cId="2763073868" sldId="2147473757"/>
            <ac:spMk id="7" creationId="{A3746B11-A1DD-4716-6842-A44C1F278BA4}"/>
          </ac:spMkLst>
        </pc:spChg>
        <pc:spChg chg="add del mod ord">
          <ac:chgData name="Uladzimir Litvinau" userId="7c780bef-f8d3-4d23-a35d-3c7004030c64" providerId="ADAL" clId="{61C78025-9E46-466F-873E-2DF94ED9C4E0}" dt="2023-06-09T11:42:14.626" v="1347" actId="700"/>
          <ac:spMkLst>
            <pc:docMk/>
            <pc:sldMk cId="2763073868" sldId="2147473757"/>
            <ac:spMk id="8" creationId="{0C1F9592-EDBF-2687-B258-56FB8F575464}"/>
          </ac:spMkLst>
        </pc:spChg>
      </pc:sldChg>
      <pc:sldChg chg="addSp delSp modSp add mod ord modTransition modNotesTx">
        <pc:chgData name="Uladzimir Litvinau" userId="7c780bef-f8d3-4d23-a35d-3c7004030c64" providerId="ADAL" clId="{61C78025-9E46-466F-873E-2DF94ED9C4E0}" dt="2023-06-14T11:05:02.170" v="10825" actId="20577"/>
        <pc:sldMkLst>
          <pc:docMk/>
          <pc:sldMk cId="4293770624" sldId="2147473757"/>
        </pc:sldMkLst>
        <pc:spChg chg="mod">
          <ac:chgData name="Uladzimir Litvinau" userId="7c780bef-f8d3-4d23-a35d-3c7004030c64" providerId="ADAL" clId="{61C78025-9E46-466F-873E-2DF94ED9C4E0}" dt="2023-06-14T11:05:02.170" v="10825" actId="20577"/>
          <ac:spMkLst>
            <pc:docMk/>
            <pc:sldMk cId="4293770624" sldId="2147473757"/>
            <ac:spMk id="2" creationId="{EE3E7B12-94E5-1E8A-9A20-C930CC8426EB}"/>
          </ac:spMkLst>
        </pc:spChg>
        <pc:spChg chg="add del mod">
          <ac:chgData name="Uladzimir Litvinau" userId="7c780bef-f8d3-4d23-a35d-3c7004030c64" providerId="ADAL" clId="{61C78025-9E46-466F-873E-2DF94ED9C4E0}" dt="2023-06-13T08:47:43.466" v="7371" actId="478"/>
          <ac:spMkLst>
            <pc:docMk/>
            <pc:sldMk cId="4293770624" sldId="2147473757"/>
            <ac:spMk id="3" creationId="{042F45EF-0A73-1BA0-3D17-29D30AC72DB7}"/>
          </ac:spMkLst>
        </pc:spChg>
        <pc:spChg chg="add mod">
          <ac:chgData name="Uladzimir Litvinau" userId="7c780bef-f8d3-4d23-a35d-3c7004030c64" providerId="ADAL" clId="{61C78025-9E46-466F-873E-2DF94ED9C4E0}" dt="2023-06-13T08:48:49.208" v="7396" actId="1076"/>
          <ac:spMkLst>
            <pc:docMk/>
            <pc:sldMk cId="4293770624" sldId="2147473757"/>
            <ac:spMk id="5" creationId="{5A45A3AD-C449-06AE-FEF9-FC63D677312E}"/>
          </ac:spMkLst>
        </pc:spChg>
        <pc:spChg chg="add del mod">
          <ac:chgData name="Uladzimir Litvinau" userId="7c780bef-f8d3-4d23-a35d-3c7004030c64" providerId="ADAL" clId="{61C78025-9E46-466F-873E-2DF94ED9C4E0}" dt="2023-06-12T08:04:29.618" v="1589" actId="478"/>
          <ac:spMkLst>
            <pc:docMk/>
            <pc:sldMk cId="4293770624" sldId="2147473757"/>
            <ac:spMk id="5" creationId="{9EE711DD-BD43-5BC1-20BB-09857BDF33F7}"/>
          </ac:spMkLst>
        </pc:spChg>
        <pc:spChg chg="add mod">
          <ac:chgData name="Uladzimir Litvinau" userId="7c780bef-f8d3-4d23-a35d-3c7004030c64" providerId="ADAL" clId="{61C78025-9E46-466F-873E-2DF94ED9C4E0}" dt="2023-06-13T08:49:13.275" v="7411" actId="1076"/>
          <ac:spMkLst>
            <pc:docMk/>
            <pc:sldMk cId="4293770624" sldId="2147473757"/>
            <ac:spMk id="7" creationId="{9A782F51-3745-A52C-11FA-4F80E5F83E5B}"/>
          </ac:spMkLst>
        </pc:spChg>
        <pc:spChg chg="mod">
          <ac:chgData name="Uladzimir Litvinau" userId="7c780bef-f8d3-4d23-a35d-3c7004030c64" providerId="ADAL" clId="{61C78025-9E46-466F-873E-2DF94ED9C4E0}" dt="2023-06-13T08:47:11.186" v="7346" actId="20577"/>
          <ac:spMkLst>
            <pc:docMk/>
            <pc:sldMk cId="4293770624" sldId="2147473757"/>
            <ac:spMk id="8" creationId="{A33CA039-DE3C-5D85-0DB8-D98A38BFDC35}"/>
          </ac:spMkLst>
        </pc:spChg>
        <pc:spChg chg="del">
          <ac:chgData name="Uladzimir Litvinau" userId="7c780bef-f8d3-4d23-a35d-3c7004030c64" providerId="ADAL" clId="{61C78025-9E46-466F-873E-2DF94ED9C4E0}" dt="2023-06-12T08:04:23.743" v="1588" actId="478"/>
          <ac:spMkLst>
            <pc:docMk/>
            <pc:sldMk cId="4293770624" sldId="2147473757"/>
            <ac:spMk id="9" creationId="{43E65A60-BFF6-5D2C-96CA-C0DCDBCDC9B7}"/>
          </ac:spMkLst>
        </pc:spChg>
        <pc:spChg chg="mod">
          <ac:chgData name="Uladzimir Litvinau" userId="7c780bef-f8d3-4d23-a35d-3c7004030c64" providerId="ADAL" clId="{61C78025-9E46-466F-873E-2DF94ED9C4E0}" dt="2023-06-13T08:46:58.482" v="7314" actId="20577"/>
          <ac:spMkLst>
            <pc:docMk/>
            <pc:sldMk cId="4293770624" sldId="2147473757"/>
            <ac:spMk id="10" creationId="{1F88C411-8C59-AFA3-5C10-11E75FDF9817}"/>
          </ac:spMkLst>
        </pc:spChg>
        <pc:picChg chg="del">
          <ac:chgData name="Uladzimir Litvinau" userId="7c780bef-f8d3-4d23-a35d-3c7004030c64" providerId="ADAL" clId="{61C78025-9E46-466F-873E-2DF94ED9C4E0}" dt="2023-06-12T08:04:16.387" v="1584" actId="478"/>
          <ac:picMkLst>
            <pc:docMk/>
            <pc:sldMk cId="4293770624" sldId="2147473757"/>
            <ac:picMk id="3" creationId="{ECCCA119-3368-5394-CE59-1603FC5D2D3E}"/>
          </ac:picMkLst>
        </pc:picChg>
        <pc:picChg chg="add mod">
          <ac:chgData name="Uladzimir Litvinau" userId="7c780bef-f8d3-4d23-a35d-3c7004030c64" providerId="ADAL" clId="{61C78025-9E46-466F-873E-2DF94ED9C4E0}" dt="2023-06-13T08:49:09.211" v="7410" actId="1076"/>
          <ac:picMkLst>
            <pc:docMk/>
            <pc:sldMk cId="4293770624" sldId="2147473757"/>
            <ac:picMk id="4" creationId="{4BAED662-8EEC-9CFB-F459-6A88AAA12810}"/>
          </ac:picMkLst>
        </pc:picChg>
        <pc:picChg chg="add del mod">
          <ac:chgData name="Uladzimir Litvinau" userId="7c780bef-f8d3-4d23-a35d-3c7004030c64" providerId="ADAL" clId="{61C78025-9E46-466F-873E-2DF94ED9C4E0}" dt="2023-06-13T08:47:39.586" v="7368" actId="478"/>
          <ac:picMkLst>
            <pc:docMk/>
            <pc:sldMk cId="4293770624" sldId="2147473757"/>
            <ac:picMk id="6" creationId="{8B9BCDD0-BBCA-7E06-A2DC-09C50A694646}"/>
          </ac:picMkLst>
        </pc:picChg>
        <pc:picChg chg="add del mod">
          <ac:chgData name="Uladzimir Litvinau" userId="7c780bef-f8d3-4d23-a35d-3c7004030c64" providerId="ADAL" clId="{61C78025-9E46-466F-873E-2DF94ED9C4E0}" dt="2023-06-12T08:13:58.559" v="1670" actId="478"/>
          <ac:picMkLst>
            <pc:docMk/>
            <pc:sldMk cId="4293770624" sldId="2147473757"/>
            <ac:picMk id="1026" creationId="{C3753115-9524-875F-6818-0174B2A5C83E}"/>
          </ac:picMkLst>
        </pc:picChg>
        <pc:picChg chg="add mod">
          <ac:chgData name="Uladzimir Litvinau" userId="7c780bef-f8d3-4d23-a35d-3c7004030c64" providerId="ADAL" clId="{61C78025-9E46-466F-873E-2DF94ED9C4E0}" dt="2023-06-13T08:48:04.003" v="7378" actId="1076"/>
          <ac:picMkLst>
            <pc:docMk/>
            <pc:sldMk cId="4293770624" sldId="2147473757"/>
            <ac:picMk id="1028" creationId="{D788961D-E8E6-31C0-F009-5992EF45DB56}"/>
          </ac:picMkLst>
        </pc:picChg>
      </pc:sldChg>
      <pc:sldChg chg="addSp delSp modSp add mod modTransition modNotesTx">
        <pc:chgData name="Uladzimir Litvinau" userId="7c780bef-f8d3-4d23-a35d-3c7004030c64" providerId="ADAL" clId="{61C78025-9E46-466F-873E-2DF94ED9C4E0}" dt="2023-06-13T08:45:12.856" v="7261" actId="478"/>
        <pc:sldMkLst>
          <pc:docMk/>
          <pc:sldMk cId="2337380662" sldId="2147473758"/>
        </pc:sldMkLst>
        <pc:spChg chg="add del mod">
          <ac:chgData name="Uladzimir Litvinau" userId="7c780bef-f8d3-4d23-a35d-3c7004030c64" providerId="ADAL" clId="{61C78025-9E46-466F-873E-2DF94ED9C4E0}" dt="2023-06-13T08:45:12.856" v="7261" actId="478"/>
          <ac:spMkLst>
            <pc:docMk/>
            <pc:sldMk cId="2337380662" sldId="2147473758"/>
            <ac:spMk id="4" creationId="{84671894-546F-8C44-E25A-B6B54E71D93D}"/>
          </ac:spMkLst>
        </pc:spChg>
        <pc:spChg chg="del mod">
          <ac:chgData name="Uladzimir Litvinau" userId="7c780bef-f8d3-4d23-a35d-3c7004030c64" providerId="ADAL" clId="{61C78025-9E46-466F-873E-2DF94ED9C4E0}" dt="2023-06-13T08:45:10.950" v="7260" actId="478"/>
          <ac:spMkLst>
            <pc:docMk/>
            <pc:sldMk cId="2337380662" sldId="2147473758"/>
            <ac:spMk id="9" creationId="{43E65A60-BFF6-5D2C-96CA-C0DCDBCDC9B7}"/>
          </ac:spMkLst>
        </pc:spChg>
        <pc:spChg chg="mod">
          <ac:chgData name="Uladzimir Litvinau" userId="7c780bef-f8d3-4d23-a35d-3c7004030c64" providerId="ADAL" clId="{61C78025-9E46-466F-873E-2DF94ED9C4E0}" dt="2023-06-12T08:03:20.920" v="1583" actId="20577"/>
          <ac:spMkLst>
            <pc:docMk/>
            <pc:sldMk cId="2337380662" sldId="2147473758"/>
            <ac:spMk id="10" creationId="{1F88C411-8C59-AFA3-5C10-11E75FDF9817}"/>
          </ac:spMkLst>
        </pc:spChg>
        <pc:picChg chg="del">
          <ac:chgData name="Uladzimir Litvinau" userId="7c780bef-f8d3-4d23-a35d-3c7004030c64" providerId="ADAL" clId="{61C78025-9E46-466F-873E-2DF94ED9C4E0}" dt="2023-06-12T08:04:58.134" v="1593" actId="478"/>
          <ac:picMkLst>
            <pc:docMk/>
            <pc:sldMk cId="2337380662" sldId="2147473758"/>
            <ac:picMk id="3" creationId="{ECCCA119-3368-5394-CE59-1603FC5D2D3E}"/>
          </ac:picMkLst>
        </pc:picChg>
        <pc:picChg chg="add del mod">
          <ac:chgData name="Uladzimir Litvinau" userId="7c780bef-f8d3-4d23-a35d-3c7004030c64" providerId="ADAL" clId="{61C78025-9E46-466F-873E-2DF94ED9C4E0}" dt="2023-06-12T08:14:20.510" v="1677" actId="478"/>
          <ac:picMkLst>
            <pc:docMk/>
            <pc:sldMk cId="2337380662" sldId="2147473758"/>
            <ac:picMk id="4" creationId="{7CE0D57E-4EF6-4F36-98CE-F2342FCFB4CD}"/>
          </ac:picMkLst>
        </pc:picChg>
        <pc:picChg chg="add mod">
          <ac:chgData name="Uladzimir Litvinau" userId="7c780bef-f8d3-4d23-a35d-3c7004030c64" providerId="ADAL" clId="{61C78025-9E46-466F-873E-2DF94ED9C4E0}" dt="2023-06-12T08:14:20.850" v="1678"/>
          <ac:picMkLst>
            <pc:docMk/>
            <pc:sldMk cId="2337380662" sldId="2147473758"/>
            <ac:picMk id="5" creationId="{C9411D12-EFD0-94EA-0EB0-33B6FD1276EC}"/>
          </ac:picMkLst>
        </pc:picChg>
      </pc:sldChg>
      <pc:sldChg chg="addSp delSp modSp add mod ord modTransition modNotesTx">
        <pc:chgData name="Uladzimir Litvinau" userId="7c780bef-f8d3-4d23-a35d-3c7004030c64" providerId="ADAL" clId="{61C78025-9E46-466F-873E-2DF94ED9C4E0}" dt="2023-06-12T12:32:21.229" v="5031"/>
        <pc:sldMkLst>
          <pc:docMk/>
          <pc:sldMk cId="2378474052" sldId="2147473759"/>
        </pc:sldMkLst>
        <pc:spChg chg="mod">
          <ac:chgData name="Uladzimir Litvinau" userId="7c780bef-f8d3-4d23-a35d-3c7004030c64" providerId="ADAL" clId="{61C78025-9E46-466F-873E-2DF94ED9C4E0}" dt="2023-06-12T08:08:18.682" v="1660" actId="207"/>
          <ac:spMkLst>
            <pc:docMk/>
            <pc:sldMk cId="2378474052" sldId="2147473759"/>
            <ac:spMk id="2" creationId="{EE3E7B12-94E5-1E8A-9A20-C930CC8426EB}"/>
          </ac:spMkLst>
        </pc:spChg>
        <pc:spChg chg="add del mod">
          <ac:chgData name="Uladzimir Litvinau" userId="7c780bef-f8d3-4d23-a35d-3c7004030c64" providerId="ADAL" clId="{61C78025-9E46-466F-873E-2DF94ED9C4E0}" dt="2023-06-12T08:08:36.013" v="1662" actId="478"/>
          <ac:spMkLst>
            <pc:docMk/>
            <pc:sldMk cId="2378474052" sldId="2147473759"/>
            <ac:spMk id="5" creationId="{F48C21D6-99D0-5D91-BF24-94B024DF1FF4}"/>
          </ac:spMkLst>
        </pc:spChg>
        <pc:spChg chg="mod">
          <ac:chgData name="Uladzimir Litvinau" userId="7c780bef-f8d3-4d23-a35d-3c7004030c64" providerId="ADAL" clId="{61C78025-9E46-466F-873E-2DF94ED9C4E0}" dt="2023-06-12T08:06:15.365" v="1647" actId="20577"/>
          <ac:spMkLst>
            <pc:docMk/>
            <pc:sldMk cId="2378474052" sldId="2147473759"/>
            <ac:spMk id="8" creationId="{A33CA039-DE3C-5D85-0DB8-D98A38BFDC35}"/>
          </ac:spMkLst>
        </pc:spChg>
        <pc:spChg chg="del">
          <ac:chgData name="Uladzimir Litvinau" userId="7c780bef-f8d3-4d23-a35d-3c7004030c64" providerId="ADAL" clId="{61C78025-9E46-466F-873E-2DF94ED9C4E0}" dt="2023-06-12T08:08:30.073" v="1661" actId="478"/>
          <ac:spMkLst>
            <pc:docMk/>
            <pc:sldMk cId="2378474052" sldId="2147473759"/>
            <ac:spMk id="9" creationId="{43E65A60-BFF6-5D2C-96CA-C0DCDBCDC9B7}"/>
          </ac:spMkLst>
        </pc:spChg>
        <pc:spChg chg="mod">
          <ac:chgData name="Uladzimir Litvinau" userId="7c780bef-f8d3-4d23-a35d-3c7004030c64" providerId="ADAL" clId="{61C78025-9E46-466F-873E-2DF94ED9C4E0}" dt="2023-06-12T08:06:03.745" v="1633" actId="20577"/>
          <ac:spMkLst>
            <pc:docMk/>
            <pc:sldMk cId="2378474052" sldId="2147473759"/>
            <ac:spMk id="10" creationId="{1F88C411-8C59-AFA3-5C10-11E75FDF9817}"/>
          </ac:spMkLst>
        </pc:spChg>
        <pc:picChg chg="del">
          <ac:chgData name="Uladzimir Litvinau" userId="7c780bef-f8d3-4d23-a35d-3c7004030c64" providerId="ADAL" clId="{61C78025-9E46-466F-873E-2DF94ED9C4E0}" dt="2023-06-12T08:14:14.392" v="1675" actId="478"/>
          <ac:picMkLst>
            <pc:docMk/>
            <pc:sldMk cId="2378474052" sldId="2147473759"/>
            <ac:picMk id="4" creationId="{7CE0D57E-4EF6-4F36-98CE-F2342FCFB4CD}"/>
          </ac:picMkLst>
        </pc:picChg>
        <pc:picChg chg="add mod">
          <ac:chgData name="Uladzimir Litvinau" userId="7c780bef-f8d3-4d23-a35d-3c7004030c64" providerId="ADAL" clId="{61C78025-9E46-466F-873E-2DF94ED9C4E0}" dt="2023-06-12T08:14:14.811" v="1676"/>
          <ac:picMkLst>
            <pc:docMk/>
            <pc:sldMk cId="2378474052" sldId="2147473759"/>
            <ac:picMk id="6" creationId="{86BB01EE-E1E1-34C2-8D82-42F2A8714B22}"/>
          </ac:picMkLst>
        </pc:picChg>
      </pc:sldChg>
      <pc:sldChg chg="modSp add mod modTransition modNotesTx">
        <pc:chgData name="Uladzimir Litvinau" userId="7c780bef-f8d3-4d23-a35d-3c7004030c64" providerId="ADAL" clId="{61C78025-9E46-466F-873E-2DF94ED9C4E0}" dt="2023-06-12T12:05:21.534" v="5027"/>
        <pc:sldMkLst>
          <pc:docMk/>
          <pc:sldMk cId="3710291466" sldId="2147473760"/>
        </pc:sldMkLst>
        <pc:spChg chg="mod">
          <ac:chgData name="Uladzimir Litvinau" userId="7c780bef-f8d3-4d23-a35d-3c7004030c64" providerId="ADAL" clId="{61C78025-9E46-466F-873E-2DF94ED9C4E0}" dt="2023-06-12T08:22:20.193" v="1783" actId="20577"/>
          <ac:spMkLst>
            <pc:docMk/>
            <pc:sldMk cId="3710291466" sldId="2147473760"/>
            <ac:spMk id="2" creationId="{FB8B7E49-B1B9-71EB-FC7F-D3A73F732678}"/>
          </ac:spMkLst>
        </pc:spChg>
        <pc:spChg chg="mod">
          <ac:chgData name="Uladzimir Litvinau" userId="7c780bef-f8d3-4d23-a35d-3c7004030c64" providerId="ADAL" clId="{61C78025-9E46-466F-873E-2DF94ED9C4E0}" dt="2023-06-12T08:18:27.074" v="1725" actId="20577"/>
          <ac:spMkLst>
            <pc:docMk/>
            <pc:sldMk cId="3710291466" sldId="2147473760"/>
            <ac:spMk id="6" creationId="{19DE40A4-CE09-7791-B5FA-7A576E1AB8D1}"/>
          </ac:spMkLst>
        </pc:spChg>
        <pc:graphicFrameChg chg="mod modGraphic">
          <ac:chgData name="Uladzimir Litvinau" userId="7c780bef-f8d3-4d23-a35d-3c7004030c64" providerId="ADAL" clId="{61C78025-9E46-466F-873E-2DF94ED9C4E0}" dt="2023-06-12T08:25:36.570" v="1871" actId="207"/>
          <ac:graphicFrameMkLst>
            <pc:docMk/>
            <pc:sldMk cId="3710291466" sldId="2147473760"/>
            <ac:graphicFrameMk id="13" creationId="{113D7873-3B68-A9E8-E792-242A59445F41}"/>
          </ac:graphicFrameMkLst>
        </pc:graphicFrameChg>
        <pc:picChg chg="mod">
          <ac:chgData name="Uladzimir Litvinau" userId="7c780bef-f8d3-4d23-a35d-3c7004030c64" providerId="ADAL" clId="{61C78025-9E46-466F-873E-2DF94ED9C4E0}" dt="2023-06-12T08:19:33.537" v="1746" actId="1076"/>
          <ac:picMkLst>
            <pc:docMk/>
            <pc:sldMk cId="3710291466" sldId="2147473760"/>
            <ac:picMk id="23" creationId="{1630F43F-2A1C-37FB-E7FC-FF059BC2ACBD}"/>
          </ac:picMkLst>
        </pc:picChg>
        <pc:picChg chg="mod">
          <ac:chgData name="Uladzimir Litvinau" userId="7c780bef-f8d3-4d23-a35d-3c7004030c64" providerId="ADAL" clId="{61C78025-9E46-466F-873E-2DF94ED9C4E0}" dt="2023-06-12T08:19:33.537" v="1746" actId="1076"/>
          <ac:picMkLst>
            <pc:docMk/>
            <pc:sldMk cId="3710291466" sldId="2147473760"/>
            <ac:picMk id="25" creationId="{87F4FDE2-3494-F68F-BDA6-67961F6F6242}"/>
          </ac:picMkLst>
        </pc:picChg>
        <pc:picChg chg="mod">
          <ac:chgData name="Uladzimir Litvinau" userId="7c780bef-f8d3-4d23-a35d-3c7004030c64" providerId="ADAL" clId="{61C78025-9E46-466F-873E-2DF94ED9C4E0}" dt="2023-06-12T08:19:33.537" v="1746" actId="1076"/>
          <ac:picMkLst>
            <pc:docMk/>
            <pc:sldMk cId="3710291466" sldId="2147473760"/>
            <ac:picMk id="26" creationId="{421CC147-558A-23FA-FC4F-FBDCE0F5FE79}"/>
          </ac:picMkLst>
        </pc:picChg>
        <pc:picChg chg="mod">
          <ac:chgData name="Uladzimir Litvinau" userId="7c780bef-f8d3-4d23-a35d-3c7004030c64" providerId="ADAL" clId="{61C78025-9E46-466F-873E-2DF94ED9C4E0}" dt="2023-06-12T08:19:33.537" v="1746" actId="1076"/>
          <ac:picMkLst>
            <pc:docMk/>
            <pc:sldMk cId="3710291466" sldId="2147473760"/>
            <ac:picMk id="27" creationId="{3208BA6C-E05A-CE8E-723A-9A4C48F8EB60}"/>
          </ac:picMkLst>
        </pc:picChg>
      </pc:sldChg>
      <pc:sldChg chg="addSp delSp modSp add mod modTransition modNotesTx">
        <pc:chgData name="Uladzimir Litvinau" userId="7c780bef-f8d3-4d23-a35d-3c7004030c64" providerId="ADAL" clId="{61C78025-9E46-466F-873E-2DF94ED9C4E0}" dt="2023-06-13T07:44:36.985" v="6332" actId="20577"/>
        <pc:sldMkLst>
          <pc:docMk/>
          <pc:sldMk cId="4119204716" sldId="2147473761"/>
        </pc:sldMkLst>
        <pc:spChg chg="mod">
          <ac:chgData name="Uladzimir Litvinau" userId="7c780bef-f8d3-4d23-a35d-3c7004030c64" providerId="ADAL" clId="{61C78025-9E46-466F-873E-2DF94ED9C4E0}" dt="2023-06-12T08:34:10.473" v="2011" actId="2711"/>
          <ac:spMkLst>
            <pc:docMk/>
            <pc:sldMk cId="4119204716" sldId="2147473761"/>
            <ac:spMk id="2" creationId="{EE3E7B12-94E5-1E8A-9A20-C930CC8426EB}"/>
          </ac:spMkLst>
        </pc:spChg>
        <pc:spChg chg="mod">
          <ac:chgData name="Uladzimir Litvinau" userId="7c780bef-f8d3-4d23-a35d-3c7004030c64" providerId="ADAL" clId="{61C78025-9E46-466F-873E-2DF94ED9C4E0}" dt="2023-06-12T08:30:26.234" v="1930" actId="20577"/>
          <ac:spMkLst>
            <pc:docMk/>
            <pc:sldMk cId="4119204716" sldId="2147473761"/>
            <ac:spMk id="8" creationId="{A33CA039-DE3C-5D85-0DB8-D98A38BFDC35}"/>
          </ac:spMkLst>
        </pc:spChg>
        <pc:spChg chg="mod">
          <ac:chgData name="Uladzimir Litvinau" userId="7c780bef-f8d3-4d23-a35d-3c7004030c64" providerId="ADAL" clId="{61C78025-9E46-466F-873E-2DF94ED9C4E0}" dt="2023-06-12T08:30:28.957" v="1931" actId="20577"/>
          <ac:spMkLst>
            <pc:docMk/>
            <pc:sldMk cId="4119204716" sldId="2147473761"/>
            <ac:spMk id="10" creationId="{1F88C411-8C59-AFA3-5C10-11E75FDF9817}"/>
          </ac:spMkLst>
        </pc:spChg>
        <pc:picChg chg="add mod">
          <ac:chgData name="Uladzimir Litvinau" userId="7c780bef-f8d3-4d23-a35d-3c7004030c64" providerId="ADAL" clId="{61C78025-9E46-466F-873E-2DF94ED9C4E0}" dt="2023-06-12T08:32:57.783" v="1951" actId="1076"/>
          <ac:picMkLst>
            <pc:docMk/>
            <pc:sldMk cId="4119204716" sldId="2147473761"/>
            <ac:picMk id="3" creationId="{55AAB63B-AF30-FF99-6EAF-A2D92D4DA3AC}"/>
          </ac:picMkLst>
        </pc:picChg>
        <pc:picChg chg="del">
          <ac:chgData name="Uladzimir Litvinau" userId="7c780bef-f8d3-4d23-a35d-3c7004030c64" providerId="ADAL" clId="{61C78025-9E46-466F-873E-2DF94ED9C4E0}" dt="2023-06-12T08:31:58.598" v="1944" actId="478"/>
          <ac:picMkLst>
            <pc:docMk/>
            <pc:sldMk cId="4119204716" sldId="2147473761"/>
            <ac:picMk id="6" creationId="{8B9BCDD0-BBCA-7E06-A2DC-09C50A694646}"/>
          </ac:picMkLst>
        </pc:picChg>
      </pc:sldChg>
      <pc:sldChg chg="addSp delSp modSp add mod modTransition modClrScheme modAnim chgLayout modNotesTx">
        <pc:chgData name="Uladzimir Litvinau" userId="7c780bef-f8d3-4d23-a35d-3c7004030c64" providerId="ADAL" clId="{61C78025-9E46-466F-873E-2DF94ED9C4E0}" dt="2023-06-14T10:08:51.480" v="10048" actId="20577"/>
        <pc:sldMkLst>
          <pc:docMk/>
          <pc:sldMk cId="601109454" sldId="2147473762"/>
        </pc:sldMkLst>
        <pc:spChg chg="mod ord">
          <ac:chgData name="Uladzimir Litvinau" userId="7c780bef-f8d3-4d23-a35d-3c7004030c64" providerId="ADAL" clId="{61C78025-9E46-466F-873E-2DF94ED9C4E0}" dt="2023-06-12T08:36:21.688" v="2038" actId="14100"/>
          <ac:spMkLst>
            <pc:docMk/>
            <pc:sldMk cId="601109454" sldId="2147473762"/>
            <ac:spMk id="2" creationId="{EE3E7B12-94E5-1E8A-9A20-C930CC8426EB}"/>
          </ac:spMkLst>
        </pc:spChg>
        <pc:spChg chg="add del mod ord">
          <ac:chgData name="Uladzimir Litvinau" userId="7c780bef-f8d3-4d23-a35d-3c7004030c64" providerId="ADAL" clId="{61C78025-9E46-466F-873E-2DF94ED9C4E0}" dt="2023-06-12T08:35:40.811" v="2027" actId="478"/>
          <ac:spMkLst>
            <pc:docMk/>
            <pc:sldMk cId="601109454" sldId="2147473762"/>
            <ac:spMk id="5" creationId="{9729BA1E-091F-4221-47DA-4797878114F1}"/>
          </ac:spMkLst>
        </pc:spChg>
        <pc:spChg chg="add del mod">
          <ac:chgData name="Uladzimir Litvinau" userId="7c780bef-f8d3-4d23-a35d-3c7004030c64" providerId="ADAL" clId="{61C78025-9E46-466F-873E-2DF94ED9C4E0}" dt="2023-06-12T08:38:21.149" v="2045" actId="20577"/>
          <ac:spMkLst>
            <pc:docMk/>
            <pc:sldMk cId="601109454" sldId="2147473762"/>
            <ac:spMk id="7" creationId="{CA211C83-0ECC-7201-4143-28C0C45C24D4}"/>
          </ac:spMkLst>
        </pc:spChg>
        <pc:spChg chg="mod ord">
          <ac:chgData name="Uladzimir Litvinau" userId="7c780bef-f8d3-4d23-a35d-3c7004030c64" providerId="ADAL" clId="{61C78025-9E46-466F-873E-2DF94ED9C4E0}" dt="2023-06-12T09:15:14.385" v="2383" actId="20577"/>
          <ac:spMkLst>
            <pc:docMk/>
            <pc:sldMk cId="601109454" sldId="2147473762"/>
            <ac:spMk id="8" creationId="{A33CA039-DE3C-5D85-0DB8-D98A38BFDC35}"/>
          </ac:spMkLst>
        </pc:spChg>
        <pc:spChg chg="del mod ord">
          <ac:chgData name="Uladzimir Litvinau" userId="7c780bef-f8d3-4d23-a35d-3c7004030c64" providerId="ADAL" clId="{61C78025-9E46-466F-873E-2DF94ED9C4E0}" dt="2023-06-12T08:35:39.742" v="2026" actId="478"/>
          <ac:spMkLst>
            <pc:docMk/>
            <pc:sldMk cId="601109454" sldId="2147473762"/>
            <ac:spMk id="10" creationId="{1F88C411-8C59-AFA3-5C10-11E75FDF9817}"/>
          </ac:spMkLst>
        </pc:spChg>
        <pc:picChg chg="del">
          <ac:chgData name="Uladzimir Litvinau" userId="7c780bef-f8d3-4d23-a35d-3c7004030c64" providerId="ADAL" clId="{61C78025-9E46-466F-873E-2DF94ED9C4E0}" dt="2023-06-12T08:34:45.539" v="2018" actId="478"/>
          <ac:picMkLst>
            <pc:docMk/>
            <pc:sldMk cId="601109454" sldId="2147473762"/>
            <ac:picMk id="3" creationId="{55AAB63B-AF30-FF99-6EAF-A2D92D4DA3AC}"/>
          </ac:picMkLst>
        </pc:picChg>
        <pc:picChg chg="add del mod">
          <ac:chgData name="Uladzimir Litvinau" userId="7c780bef-f8d3-4d23-a35d-3c7004030c64" providerId="ADAL" clId="{61C78025-9E46-466F-873E-2DF94ED9C4E0}" dt="2023-06-12T08:39:32.053" v="2046" actId="478"/>
          <ac:picMkLst>
            <pc:docMk/>
            <pc:sldMk cId="601109454" sldId="2147473762"/>
            <ac:picMk id="4" creationId="{78F156FB-A4A4-6221-16BC-E1F240683CBF}"/>
          </ac:picMkLst>
        </pc:picChg>
        <pc:picChg chg="add mod">
          <ac:chgData name="Uladzimir Litvinau" userId="7c780bef-f8d3-4d23-a35d-3c7004030c64" providerId="ADAL" clId="{61C78025-9E46-466F-873E-2DF94ED9C4E0}" dt="2023-06-12T08:39:49.717" v="2051" actId="1076"/>
          <ac:picMkLst>
            <pc:docMk/>
            <pc:sldMk cId="601109454" sldId="2147473762"/>
            <ac:picMk id="2050" creationId="{A5FDD9F3-FF97-5AF5-F57A-9A54FDDC8732}"/>
          </ac:picMkLst>
        </pc:picChg>
      </pc:sldChg>
      <pc:sldChg chg="modSp add del mod">
        <pc:chgData name="Uladzimir Litvinau" userId="7c780bef-f8d3-4d23-a35d-3c7004030c64" providerId="ADAL" clId="{61C78025-9E46-466F-873E-2DF94ED9C4E0}" dt="2023-06-12T08:34:15.674" v="2012" actId="47"/>
        <pc:sldMkLst>
          <pc:docMk/>
          <pc:sldMk cId="4083373297" sldId="2147473762"/>
        </pc:sldMkLst>
        <pc:spChg chg="mod">
          <ac:chgData name="Uladzimir Litvinau" userId="7c780bef-f8d3-4d23-a35d-3c7004030c64" providerId="ADAL" clId="{61C78025-9E46-466F-873E-2DF94ED9C4E0}" dt="2023-06-12T08:33:50.964" v="2009"/>
          <ac:spMkLst>
            <pc:docMk/>
            <pc:sldMk cId="4083373297" sldId="2147473762"/>
            <ac:spMk id="2" creationId="{EE3E7B12-94E5-1E8A-9A20-C930CC8426EB}"/>
          </ac:spMkLst>
        </pc:spChg>
      </pc:sldChg>
      <pc:sldChg chg="delSp modSp add mod modTransition">
        <pc:chgData name="Uladzimir Litvinau" userId="7c780bef-f8d3-4d23-a35d-3c7004030c64" providerId="ADAL" clId="{61C78025-9E46-466F-873E-2DF94ED9C4E0}" dt="2023-06-13T07:04:09.587" v="5921" actId="478"/>
        <pc:sldMkLst>
          <pc:docMk/>
          <pc:sldMk cId="372937970" sldId="2147473763"/>
        </pc:sldMkLst>
        <pc:spChg chg="mod">
          <ac:chgData name="Uladzimir Litvinau" userId="7c780bef-f8d3-4d23-a35d-3c7004030c64" providerId="ADAL" clId="{61C78025-9E46-466F-873E-2DF94ED9C4E0}" dt="2023-06-12T11:58:47.861" v="4910" actId="20577"/>
          <ac:spMkLst>
            <pc:docMk/>
            <pc:sldMk cId="372937970" sldId="2147473763"/>
            <ac:spMk id="3" creationId="{7FE0072B-F5BB-B847-8290-F50BF0BBDDEE}"/>
          </ac:spMkLst>
        </pc:spChg>
        <pc:spChg chg="mod">
          <ac:chgData name="Uladzimir Litvinau" userId="7c780bef-f8d3-4d23-a35d-3c7004030c64" providerId="ADAL" clId="{61C78025-9E46-466F-873E-2DF94ED9C4E0}" dt="2023-06-12T11:59:04.136" v="4945" actId="20577"/>
          <ac:spMkLst>
            <pc:docMk/>
            <pc:sldMk cId="372937970" sldId="2147473763"/>
            <ac:spMk id="9" creationId="{62F09D45-D9C9-DC4A-B5E8-1951F8CB1E58}"/>
          </ac:spMkLst>
        </pc:spChg>
        <pc:spChg chg="del">
          <ac:chgData name="Uladzimir Litvinau" userId="7c780bef-f8d3-4d23-a35d-3c7004030c64" providerId="ADAL" clId="{61C78025-9E46-466F-873E-2DF94ED9C4E0}" dt="2023-06-13T07:04:09.587" v="5921" actId="478"/>
          <ac:spMkLst>
            <pc:docMk/>
            <pc:sldMk cId="372937970" sldId="2147473763"/>
            <ac:spMk id="10" creationId="{F72D9C00-F666-22A7-4AA5-3EE636BD331B}"/>
          </ac:spMkLst>
        </pc:spChg>
      </pc:sldChg>
      <pc:sldChg chg="addSp delSp modSp add mod modTransition">
        <pc:chgData name="Uladzimir Litvinau" userId="7c780bef-f8d3-4d23-a35d-3c7004030c64" providerId="ADAL" clId="{61C78025-9E46-466F-873E-2DF94ED9C4E0}" dt="2023-06-12T12:05:21.534" v="5027"/>
        <pc:sldMkLst>
          <pc:docMk/>
          <pc:sldMk cId="2011181405" sldId="2147473764"/>
        </pc:sldMkLst>
        <pc:spChg chg="add del mod">
          <ac:chgData name="Uladzimir Litvinau" userId="7c780bef-f8d3-4d23-a35d-3c7004030c64" providerId="ADAL" clId="{61C78025-9E46-466F-873E-2DF94ED9C4E0}" dt="2023-06-12T08:46:49.708" v="2104" actId="478"/>
          <ac:spMkLst>
            <pc:docMk/>
            <pc:sldMk cId="2011181405" sldId="2147473764"/>
            <ac:spMk id="3" creationId="{605CD837-5DA0-7F49-823D-405CCB7B0E1F}"/>
          </ac:spMkLst>
        </pc:spChg>
        <pc:spChg chg="add del mod">
          <ac:chgData name="Uladzimir Litvinau" userId="7c780bef-f8d3-4d23-a35d-3c7004030c64" providerId="ADAL" clId="{61C78025-9E46-466F-873E-2DF94ED9C4E0}" dt="2023-06-12T08:46:49.708" v="2104" actId="478"/>
          <ac:spMkLst>
            <pc:docMk/>
            <pc:sldMk cId="2011181405" sldId="2147473764"/>
            <ac:spMk id="6" creationId="{862F4277-713D-6B28-05AC-D34421F46D5F}"/>
          </ac:spMkLst>
        </pc:spChg>
      </pc:sldChg>
      <pc:sldChg chg="modSp add del mod">
        <pc:chgData name="Uladzimir Litvinau" userId="7c780bef-f8d3-4d23-a35d-3c7004030c64" providerId="ADAL" clId="{61C78025-9E46-466F-873E-2DF94ED9C4E0}" dt="2023-06-12T08:49:16.050" v="2175" actId="47"/>
        <pc:sldMkLst>
          <pc:docMk/>
          <pc:sldMk cId="2723625423" sldId="2147473765"/>
        </pc:sldMkLst>
        <pc:spChg chg="mod">
          <ac:chgData name="Uladzimir Litvinau" userId="7c780bef-f8d3-4d23-a35d-3c7004030c64" providerId="ADAL" clId="{61C78025-9E46-466F-873E-2DF94ED9C4E0}" dt="2023-06-12T08:47:46.970" v="2112"/>
          <ac:spMkLst>
            <pc:docMk/>
            <pc:sldMk cId="2723625423" sldId="2147473765"/>
            <ac:spMk id="7" creationId="{85D1D363-BFF0-9280-BA53-38B6D852BC12}"/>
          </ac:spMkLst>
        </pc:spChg>
        <pc:spChg chg="mod">
          <ac:chgData name="Uladzimir Litvinau" userId="7c780bef-f8d3-4d23-a35d-3c7004030c64" providerId="ADAL" clId="{61C78025-9E46-466F-873E-2DF94ED9C4E0}" dt="2023-06-12T08:47:32.641" v="2109"/>
          <ac:spMkLst>
            <pc:docMk/>
            <pc:sldMk cId="2723625423" sldId="2147473765"/>
            <ac:spMk id="10" creationId="{D7AFC756-9AB5-A8AD-2914-8FA717231B81}"/>
          </ac:spMkLst>
        </pc:spChg>
      </pc:sldChg>
      <pc:sldChg chg="addSp delSp modSp add mod modTransition modNotesTx">
        <pc:chgData name="Uladzimir Litvinau" userId="7c780bef-f8d3-4d23-a35d-3c7004030c64" providerId="ADAL" clId="{61C78025-9E46-466F-873E-2DF94ED9C4E0}" dt="2023-06-13T09:36:42.597" v="7435"/>
        <pc:sldMkLst>
          <pc:docMk/>
          <pc:sldMk cId="3573753785" sldId="2147473766"/>
        </pc:sldMkLst>
        <pc:spChg chg="mod">
          <ac:chgData name="Uladzimir Litvinau" userId="7c780bef-f8d3-4d23-a35d-3c7004030c64" providerId="ADAL" clId="{61C78025-9E46-466F-873E-2DF94ED9C4E0}" dt="2023-06-12T09:33:48.763" v="2788" actId="255"/>
          <ac:spMkLst>
            <pc:docMk/>
            <pc:sldMk cId="3573753785" sldId="2147473766"/>
            <ac:spMk id="2" creationId="{EE3E7B12-94E5-1E8A-9A20-C930CC8426EB}"/>
          </ac:spMkLst>
        </pc:spChg>
        <pc:spChg chg="del">
          <ac:chgData name="Uladzimir Litvinau" userId="7c780bef-f8d3-4d23-a35d-3c7004030c64" providerId="ADAL" clId="{61C78025-9E46-466F-873E-2DF94ED9C4E0}" dt="2023-06-12T09:25:26.992" v="2535" actId="478"/>
          <ac:spMkLst>
            <pc:docMk/>
            <pc:sldMk cId="3573753785" sldId="2147473766"/>
            <ac:spMk id="6" creationId="{7764826D-D2A7-04A9-F9A4-6AE617C6D7DB}"/>
          </ac:spMkLst>
        </pc:spChg>
        <pc:spChg chg="add del mod">
          <ac:chgData name="Uladzimir Litvinau" userId="7c780bef-f8d3-4d23-a35d-3c7004030c64" providerId="ADAL" clId="{61C78025-9E46-466F-873E-2DF94ED9C4E0}" dt="2023-06-12T08:49:41.834" v="2180" actId="478"/>
          <ac:spMkLst>
            <pc:docMk/>
            <pc:sldMk cId="3573753785" sldId="2147473766"/>
            <ac:spMk id="7" creationId="{7DE79490-AC0C-5C93-BF26-72E1475CF32D}"/>
          </ac:spMkLst>
        </pc:spChg>
        <pc:spChg chg="mod">
          <ac:chgData name="Uladzimir Litvinau" userId="7c780bef-f8d3-4d23-a35d-3c7004030c64" providerId="ADAL" clId="{61C78025-9E46-466F-873E-2DF94ED9C4E0}" dt="2023-06-12T08:48:52.888" v="2169" actId="20577"/>
          <ac:spMkLst>
            <pc:docMk/>
            <pc:sldMk cId="3573753785" sldId="2147473766"/>
            <ac:spMk id="8" creationId="{A33CA039-DE3C-5D85-0DB8-D98A38BFDC35}"/>
          </ac:spMkLst>
        </pc:spChg>
        <pc:spChg chg="del">
          <ac:chgData name="Uladzimir Litvinau" userId="7c780bef-f8d3-4d23-a35d-3c7004030c64" providerId="ADAL" clId="{61C78025-9E46-466F-873E-2DF94ED9C4E0}" dt="2023-06-12T08:49:38.300" v="2179" actId="478"/>
          <ac:spMkLst>
            <pc:docMk/>
            <pc:sldMk cId="3573753785" sldId="2147473766"/>
            <ac:spMk id="9" creationId="{43E65A60-BFF6-5D2C-96CA-C0DCDBCDC9B7}"/>
          </ac:spMkLst>
        </pc:spChg>
        <pc:spChg chg="mod">
          <ac:chgData name="Uladzimir Litvinau" userId="7c780bef-f8d3-4d23-a35d-3c7004030c64" providerId="ADAL" clId="{61C78025-9E46-466F-873E-2DF94ED9C4E0}" dt="2023-06-12T08:48:28.301" v="2117"/>
          <ac:spMkLst>
            <pc:docMk/>
            <pc:sldMk cId="3573753785" sldId="2147473766"/>
            <ac:spMk id="10" creationId="{1F88C411-8C59-AFA3-5C10-11E75FDF9817}"/>
          </ac:spMkLst>
        </pc:spChg>
        <pc:spChg chg="mod">
          <ac:chgData name="Uladzimir Litvinau" userId="7c780bef-f8d3-4d23-a35d-3c7004030c64" providerId="ADAL" clId="{61C78025-9E46-466F-873E-2DF94ED9C4E0}" dt="2023-06-12T09:25:27.605" v="2536"/>
          <ac:spMkLst>
            <pc:docMk/>
            <pc:sldMk cId="3573753785" sldId="2147473766"/>
            <ac:spMk id="13" creationId="{2CC54EB1-2644-A1BD-D83E-5C09C6D955B8}"/>
          </ac:spMkLst>
        </pc:spChg>
        <pc:spChg chg="mod">
          <ac:chgData name="Uladzimir Litvinau" userId="7c780bef-f8d3-4d23-a35d-3c7004030c64" providerId="ADAL" clId="{61C78025-9E46-466F-873E-2DF94ED9C4E0}" dt="2023-06-12T09:25:27.605" v="2536"/>
          <ac:spMkLst>
            <pc:docMk/>
            <pc:sldMk cId="3573753785" sldId="2147473766"/>
            <ac:spMk id="16" creationId="{6A5B0093-4C7A-D49B-6B79-E715AF4CAE69}"/>
          </ac:spMkLst>
        </pc:spChg>
        <pc:spChg chg="mod">
          <ac:chgData name="Uladzimir Litvinau" userId="7c780bef-f8d3-4d23-a35d-3c7004030c64" providerId="ADAL" clId="{61C78025-9E46-466F-873E-2DF94ED9C4E0}" dt="2023-06-12T09:25:27.605" v="2536"/>
          <ac:spMkLst>
            <pc:docMk/>
            <pc:sldMk cId="3573753785" sldId="2147473766"/>
            <ac:spMk id="19" creationId="{44E10FF9-C37D-2897-8D17-48F3DAC998F9}"/>
          </ac:spMkLst>
        </pc:spChg>
        <pc:spChg chg="mod">
          <ac:chgData name="Uladzimir Litvinau" userId="7c780bef-f8d3-4d23-a35d-3c7004030c64" providerId="ADAL" clId="{61C78025-9E46-466F-873E-2DF94ED9C4E0}" dt="2023-06-12T09:25:27.605" v="2536"/>
          <ac:spMkLst>
            <pc:docMk/>
            <pc:sldMk cId="3573753785" sldId="2147473766"/>
            <ac:spMk id="22" creationId="{105554DD-AB19-A7AA-394C-C3217D117033}"/>
          </ac:spMkLst>
        </pc:spChg>
        <pc:spChg chg="mod">
          <ac:chgData name="Uladzimir Litvinau" userId="7c780bef-f8d3-4d23-a35d-3c7004030c64" providerId="ADAL" clId="{61C78025-9E46-466F-873E-2DF94ED9C4E0}" dt="2023-06-12T09:25:27.605" v="2536"/>
          <ac:spMkLst>
            <pc:docMk/>
            <pc:sldMk cId="3573753785" sldId="2147473766"/>
            <ac:spMk id="25" creationId="{29B10376-E136-5417-13A0-C7D9737C9E23}"/>
          </ac:spMkLst>
        </pc:spChg>
        <pc:spChg chg="mod">
          <ac:chgData name="Uladzimir Litvinau" userId="7c780bef-f8d3-4d23-a35d-3c7004030c64" providerId="ADAL" clId="{61C78025-9E46-466F-873E-2DF94ED9C4E0}" dt="2023-06-12T09:25:27.605" v="2536"/>
          <ac:spMkLst>
            <pc:docMk/>
            <pc:sldMk cId="3573753785" sldId="2147473766"/>
            <ac:spMk id="28" creationId="{589C303C-A1C1-A06E-4DC0-23760F625495}"/>
          </ac:spMkLst>
        </pc:spChg>
        <pc:spChg chg="mod">
          <ac:chgData name="Uladzimir Litvinau" userId="7c780bef-f8d3-4d23-a35d-3c7004030c64" providerId="ADAL" clId="{61C78025-9E46-466F-873E-2DF94ED9C4E0}" dt="2023-06-12T09:25:27.605" v="2536"/>
          <ac:spMkLst>
            <pc:docMk/>
            <pc:sldMk cId="3573753785" sldId="2147473766"/>
            <ac:spMk id="31" creationId="{0DB1AE0B-ECA8-FAB1-9FCA-410A25A61463}"/>
          </ac:spMkLst>
        </pc:spChg>
        <pc:spChg chg="mod">
          <ac:chgData name="Uladzimir Litvinau" userId="7c780bef-f8d3-4d23-a35d-3c7004030c64" providerId="ADAL" clId="{61C78025-9E46-466F-873E-2DF94ED9C4E0}" dt="2023-06-12T09:25:27.605" v="2536"/>
          <ac:spMkLst>
            <pc:docMk/>
            <pc:sldMk cId="3573753785" sldId="2147473766"/>
            <ac:spMk id="34" creationId="{587F560B-62C0-B867-EC11-79B4C360893D}"/>
          </ac:spMkLst>
        </pc:spChg>
        <pc:spChg chg="add mod">
          <ac:chgData name="Uladzimir Litvinau" userId="7c780bef-f8d3-4d23-a35d-3c7004030c64" providerId="ADAL" clId="{61C78025-9E46-466F-873E-2DF94ED9C4E0}" dt="2023-06-12T09:39:27.355" v="2979" actId="14100"/>
          <ac:spMkLst>
            <pc:docMk/>
            <pc:sldMk cId="3573753785" sldId="2147473766"/>
            <ac:spMk id="35" creationId="{5A3D9C85-096D-77E0-F8FF-1459C0ADD876}"/>
          </ac:spMkLst>
        </pc:spChg>
        <pc:spChg chg="mod">
          <ac:chgData name="Uladzimir Litvinau" userId="7c780bef-f8d3-4d23-a35d-3c7004030c64" providerId="ADAL" clId="{61C78025-9E46-466F-873E-2DF94ED9C4E0}" dt="2023-06-12T09:39:50.133" v="2986"/>
          <ac:spMkLst>
            <pc:docMk/>
            <pc:sldMk cId="3573753785" sldId="2147473766"/>
            <ac:spMk id="38" creationId="{09616F8D-4957-C04E-D440-17D26FF18B8C}"/>
          </ac:spMkLst>
        </pc:spChg>
        <pc:spChg chg="mod">
          <ac:chgData name="Uladzimir Litvinau" userId="7c780bef-f8d3-4d23-a35d-3c7004030c64" providerId="ADAL" clId="{61C78025-9E46-466F-873E-2DF94ED9C4E0}" dt="2023-06-12T09:39:50.133" v="2986"/>
          <ac:spMkLst>
            <pc:docMk/>
            <pc:sldMk cId="3573753785" sldId="2147473766"/>
            <ac:spMk id="41" creationId="{5F86A836-9F92-F9B7-BAB1-56DFB48164B3}"/>
          </ac:spMkLst>
        </pc:spChg>
        <pc:spChg chg="mod">
          <ac:chgData name="Uladzimir Litvinau" userId="7c780bef-f8d3-4d23-a35d-3c7004030c64" providerId="ADAL" clId="{61C78025-9E46-466F-873E-2DF94ED9C4E0}" dt="2023-06-12T09:39:50.133" v="2986"/>
          <ac:spMkLst>
            <pc:docMk/>
            <pc:sldMk cId="3573753785" sldId="2147473766"/>
            <ac:spMk id="44" creationId="{8AD4DD94-EAD0-3E33-5708-915EE664896C}"/>
          </ac:spMkLst>
        </pc:spChg>
        <pc:spChg chg="mod">
          <ac:chgData name="Uladzimir Litvinau" userId="7c780bef-f8d3-4d23-a35d-3c7004030c64" providerId="ADAL" clId="{61C78025-9E46-466F-873E-2DF94ED9C4E0}" dt="2023-06-12T09:39:50.133" v="2986"/>
          <ac:spMkLst>
            <pc:docMk/>
            <pc:sldMk cId="3573753785" sldId="2147473766"/>
            <ac:spMk id="47" creationId="{600EE915-23CC-2F21-27E1-18355757295B}"/>
          </ac:spMkLst>
        </pc:spChg>
        <pc:spChg chg="mod">
          <ac:chgData name="Uladzimir Litvinau" userId="7c780bef-f8d3-4d23-a35d-3c7004030c64" providerId="ADAL" clId="{61C78025-9E46-466F-873E-2DF94ED9C4E0}" dt="2023-06-12T09:39:50.133" v="2986"/>
          <ac:spMkLst>
            <pc:docMk/>
            <pc:sldMk cId="3573753785" sldId="2147473766"/>
            <ac:spMk id="50" creationId="{06394596-918A-FD18-B213-547DD41EE81B}"/>
          </ac:spMkLst>
        </pc:spChg>
        <pc:spChg chg="mod">
          <ac:chgData name="Uladzimir Litvinau" userId="7c780bef-f8d3-4d23-a35d-3c7004030c64" providerId="ADAL" clId="{61C78025-9E46-466F-873E-2DF94ED9C4E0}" dt="2023-06-12T09:39:50.133" v="2986"/>
          <ac:spMkLst>
            <pc:docMk/>
            <pc:sldMk cId="3573753785" sldId="2147473766"/>
            <ac:spMk id="53" creationId="{87F43D4A-371E-6B9E-EBC6-02897CB5119E}"/>
          </ac:spMkLst>
        </pc:spChg>
        <pc:spChg chg="mod">
          <ac:chgData name="Uladzimir Litvinau" userId="7c780bef-f8d3-4d23-a35d-3c7004030c64" providerId="ADAL" clId="{61C78025-9E46-466F-873E-2DF94ED9C4E0}" dt="2023-06-12T09:39:50.133" v="2986"/>
          <ac:spMkLst>
            <pc:docMk/>
            <pc:sldMk cId="3573753785" sldId="2147473766"/>
            <ac:spMk id="56" creationId="{FB2491E5-6BC5-CEAC-0FA3-CB6A57FB30D5}"/>
          </ac:spMkLst>
        </pc:spChg>
        <pc:grpChg chg="add del mod">
          <ac:chgData name="Uladzimir Litvinau" userId="7c780bef-f8d3-4d23-a35d-3c7004030c64" providerId="ADAL" clId="{61C78025-9E46-466F-873E-2DF94ED9C4E0}" dt="2023-06-12T09:39:49.179" v="2985" actId="478"/>
          <ac:grpSpMkLst>
            <pc:docMk/>
            <pc:sldMk cId="3573753785" sldId="2147473766"/>
            <ac:grpSpMk id="11" creationId="{9BF18670-5261-282E-0C25-5799E369490D}"/>
          </ac:grpSpMkLst>
        </pc:grpChg>
        <pc:grpChg chg="add del mod">
          <ac:chgData name="Uladzimir Litvinau" userId="7c780bef-f8d3-4d23-a35d-3c7004030c64" providerId="ADAL" clId="{61C78025-9E46-466F-873E-2DF94ED9C4E0}" dt="2023-06-12T09:39:48.664" v="2984" actId="478"/>
          <ac:grpSpMkLst>
            <pc:docMk/>
            <pc:sldMk cId="3573753785" sldId="2147473766"/>
            <ac:grpSpMk id="14" creationId="{FACE4E80-98E4-A8CB-459C-6096FD49CB5A}"/>
          </ac:grpSpMkLst>
        </pc:grpChg>
        <pc:grpChg chg="add del mod">
          <ac:chgData name="Uladzimir Litvinau" userId="7c780bef-f8d3-4d23-a35d-3c7004030c64" providerId="ADAL" clId="{61C78025-9E46-466F-873E-2DF94ED9C4E0}" dt="2023-06-12T09:39:45.648" v="2980" actId="478"/>
          <ac:grpSpMkLst>
            <pc:docMk/>
            <pc:sldMk cId="3573753785" sldId="2147473766"/>
            <ac:grpSpMk id="17" creationId="{68F561D0-1B63-AB69-7A34-C623B4669EA1}"/>
          </ac:grpSpMkLst>
        </pc:grpChg>
        <pc:grpChg chg="add del mod">
          <ac:chgData name="Uladzimir Litvinau" userId="7c780bef-f8d3-4d23-a35d-3c7004030c64" providerId="ADAL" clId="{61C78025-9E46-466F-873E-2DF94ED9C4E0}" dt="2023-06-12T09:39:48.178" v="2983" actId="478"/>
          <ac:grpSpMkLst>
            <pc:docMk/>
            <pc:sldMk cId="3573753785" sldId="2147473766"/>
            <ac:grpSpMk id="20" creationId="{076944A8-4F78-3A8D-212D-0237BC3762D6}"/>
          </ac:grpSpMkLst>
        </pc:grpChg>
        <pc:grpChg chg="add del mod">
          <ac:chgData name="Uladzimir Litvinau" userId="7c780bef-f8d3-4d23-a35d-3c7004030c64" providerId="ADAL" clId="{61C78025-9E46-466F-873E-2DF94ED9C4E0}" dt="2023-06-12T09:39:47.805" v="2982" actId="478"/>
          <ac:grpSpMkLst>
            <pc:docMk/>
            <pc:sldMk cId="3573753785" sldId="2147473766"/>
            <ac:grpSpMk id="23" creationId="{7564D39A-EF57-FD89-7EE9-D73A6D62FB05}"/>
          </ac:grpSpMkLst>
        </pc:grpChg>
        <pc:grpChg chg="add del mod">
          <ac:chgData name="Uladzimir Litvinau" userId="7c780bef-f8d3-4d23-a35d-3c7004030c64" providerId="ADAL" clId="{61C78025-9E46-466F-873E-2DF94ED9C4E0}" dt="2023-06-12T09:39:45.648" v="2980" actId="478"/>
          <ac:grpSpMkLst>
            <pc:docMk/>
            <pc:sldMk cId="3573753785" sldId="2147473766"/>
            <ac:grpSpMk id="26" creationId="{E746DCCF-018F-2525-7889-0C686CBFFD1D}"/>
          </ac:grpSpMkLst>
        </pc:grpChg>
        <pc:grpChg chg="add del mod">
          <ac:chgData name="Uladzimir Litvinau" userId="7c780bef-f8d3-4d23-a35d-3c7004030c64" providerId="ADAL" clId="{61C78025-9E46-466F-873E-2DF94ED9C4E0}" dt="2023-06-12T09:39:47.271" v="2981" actId="478"/>
          <ac:grpSpMkLst>
            <pc:docMk/>
            <pc:sldMk cId="3573753785" sldId="2147473766"/>
            <ac:grpSpMk id="29" creationId="{4AAE67AA-8E7B-22D4-DD57-BAF4E8363FC8}"/>
          </ac:grpSpMkLst>
        </pc:grpChg>
        <pc:grpChg chg="add mod">
          <ac:chgData name="Uladzimir Litvinau" userId="7c780bef-f8d3-4d23-a35d-3c7004030c64" providerId="ADAL" clId="{61C78025-9E46-466F-873E-2DF94ED9C4E0}" dt="2023-06-12T09:27:39.802" v="2582" actId="1076"/>
          <ac:grpSpMkLst>
            <pc:docMk/>
            <pc:sldMk cId="3573753785" sldId="2147473766"/>
            <ac:grpSpMk id="32" creationId="{38CAE5AD-B9D9-1BE3-D8DA-9F3BAC97EFE3}"/>
          </ac:grpSpMkLst>
        </pc:grpChg>
        <pc:grpChg chg="add mod">
          <ac:chgData name="Uladzimir Litvinau" userId="7c780bef-f8d3-4d23-a35d-3c7004030c64" providerId="ADAL" clId="{61C78025-9E46-466F-873E-2DF94ED9C4E0}" dt="2023-06-12T09:39:53.657" v="2987" actId="1076"/>
          <ac:grpSpMkLst>
            <pc:docMk/>
            <pc:sldMk cId="3573753785" sldId="2147473766"/>
            <ac:grpSpMk id="36" creationId="{88B11F8F-178B-97F4-98EF-0AFB4F938D50}"/>
          </ac:grpSpMkLst>
        </pc:grpChg>
        <pc:grpChg chg="add mod">
          <ac:chgData name="Uladzimir Litvinau" userId="7c780bef-f8d3-4d23-a35d-3c7004030c64" providerId="ADAL" clId="{61C78025-9E46-466F-873E-2DF94ED9C4E0}" dt="2023-06-12T09:39:53.657" v="2987" actId="1076"/>
          <ac:grpSpMkLst>
            <pc:docMk/>
            <pc:sldMk cId="3573753785" sldId="2147473766"/>
            <ac:grpSpMk id="39" creationId="{8D13E281-B204-256D-EA48-6E441F8E97D2}"/>
          </ac:grpSpMkLst>
        </pc:grpChg>
        <pc:grpChg chg="add mod">
          <ac:chgData name="Uladzimir Litvinau" userId="7c780bef-f8d3-4d23-a35d-3c7004030c64" providerId="ADAL" clId="{61C78025-9E46-466F-873E-2DF94ED9C4E0}" dt="2023-06-12T09:39:53.657" v="2987" actId="1076"/>
          <ac:grpSpMkLst>
            <pc:docMk/>
            <pc:sldMk cId="3573753785" sldId="2147473766"/>
            <ac:grpSpMk id="42" creationId="{9969954B-721A-B53C-B701-405E526E1079}"/>
          </ac:grpSpMkLst>
        </pc:grpChg>
        <pc:grpChg chg="add mod">
          <ac:chgData name="Uladzimir Litvinau" userId="7c780bef-f8d3-4d23-a35d-3c7004030c64" providerId="ADAL" clId="{61C78025-9E46-466F-873E-2DF94ED9C4E0}" dt="2023-06-12T09:39:53.657" v="2987" actId="1076"/>
          <ac:grpSpMkLst>
            <pc:docMk/>
            <pc:sldMk cId="3573753785" sldId="2147473766"/>
            <ac:grpSpMk id="45" creationId="{2D11AE18-A145-2DBC-1C6F-F2990F7FA8D1}"/>
          </ac:grpSpMkLst>
        </pc:grpChg>
        <pc:grpChg chg="add mod">
          <ac:chgData name="Uladzimir Litvinau" userId="7c780bef-f8d3-4d23-a35d-3c7004030c64" providerId="ADAL" clId="{61C78025-9E46-466F-873E-2DF94ED9C4E0}" dt="2023-06-12T09:39:53.657" v="2987" actId="1076"/>
          <ac:grpSpMkLst>
            <pc:docMk/>
            <pc:sldMk cId="3573753785" sldId="2147473766"/>
            <ac:grpSpMk id="48" creationId="{EB6AA686-A92B-4B14-0AE5-F2A39E595BD4}"/>
          </ac:grpSpMkLst>
        </pc:grpChg>
        <pc:grpChg chg="add mod">
          <ac:chgData name="Uladzimir Litvinau" userId="7c780bef-f8d3-4d23-a35d-3c7004030c64" providerId="ADAL" clId="{61C78025-9E46-466F-873E-2DF94ED9C4E0}" dt="2023-06-12T09:39:53.657" v="2987" actId="1076"/>
          <ac:grpSpMkLst>
            <pc:docMk/>
            <pc:sldMk cId="3573753785" sldId="2147473766"/>
            <ac:grpSpMk id="51" creationId="{55053044-2B2B-192F-F9F5-BC8D3901CAAD}"/>
          </ac:grpSpMkLst>
        </pc:grpChg>
        <pc:grpChg chg="add mod">
          <ac:chgData name="Uladzimir Litvinau" userId="7c780bef-f8d3-4d23-a35d-3c7004030c64" providerId="ADAL" clId="{61C78025-9E46-466F-873E-2DF94ED9C4E0}" dt="2023-06-12T09:39:53.657" v="2987" actId="1076"/>
          <ac:grpSpMkLst>
            <pc:docMk/>
            <pc:sldMk cId="3573753785" sldId="2147473766"/>
            <ac:grpSpMk id="54" creationId="{BECC091B-E46E-3536-CD3F-D4B092CAC0CC}"/>
          </ac:grpSpMkLst>
        </pc:grpChg>
        <pc:picChg chg="del">
          <ac:chgData name="Uladzimir Litvinau" userId="7c780bef-f8d3-4d23-a35d-3c7004030c64" providerId="ADAL" clId="{61C78025-9E46-466F-873E-2DF94ED9C4E0}" dt="2023-06-12T09:25:26.992" v="2535" actId="478"/>
          <ac:picMkLst>
            <pc:docMk/>
            <pc:sldMk cId="3573753785" sldId="2147473766"/>
            <ac:picMk id="4" creationId="{E3728E40-CBB6-7E65-60F4-2888F16D2A7F}"/>
          </ac:picMkLst>
        </pc:picChg>
        <pc:picChg chg="del">
          <ac:chgData name="Uladzimir Litvinau" userId="7c780bef-f8d3-4d23-a35d-3c7004030c64" providerId="ADAL" clId="{61C78025-9E46-466F-873E-2DF94ED9C4E0}" dt="2023-06-12T09:25:26.992" v="2535" actId="478"/>
          <ac:picMkLst>
            <pc:docMk/>
            <pc:sldMk cId="3573753785" sldId="2147473766"/>
            <ac:picMk id="5" creationId="{17E1A62D-C5B3-ABCB-51AD-D53ED7C0CACC}"/>
          </ac:picMkLst>
        </pc:picChg>
        <pc:picChg chg="mod">
          <ac:chgData name="Uladzimir Litvinau" userId="7c780bef-f8d3-4d23-a35d-3c7004030c64" providerId="ADAL" clId="{61C78025-9E46-466F-873E-2DF94ED9C4E0}" dt="2023-06-12T09:25:27.605" v="2536"/>
          <ac:picMkLst>
            <pc:docMk/>
            <pc:sldMk cId="3573753785" sldId="2147473766"/>
            <ac:picMk id="12" creationId="{66994DBE-238A-DDAC-F808-7C6F0017C547}"/>
          </ac:picMkLst>
        </pc:picChg>
        <pc:picChg chg="mod">
          <ac:chgData name="Uladzimir Litvinau" userId="7c780bef-f8d3-4d23-a35d-3c7004030c64" providerId="ADAL" clId="{61C78025-9E46-466F-873E-2DF94ED9C4E0}" dt="2023-06-12T09:25:27.605" v="2536"/>
          <ac:picMkLst>
            <pc:docMk/>
            <pc:sldMk cId="3573753785" sldId="2147473766"/>
            <ac:picMk id="15" creationId="{94FA9F76-44E7-4E4E-7083-8F4128D8F995}"/>
          </ac:picMkLst>
        </pc:picChg>
        <pc:picChg chg="mod">
          <ac:chgData name="Uladzimir Litvinau" userId="7c780bef-f8d3-4d23-a35d-3c7004030c64" providerId="ADAL" clId="{61C78025-9E46-466F-873E-2DF94ED9C4E0}" dt="2023-06-12T09:25:27.605" v="2536"/>
          <ac:picMkLst>
            <pc:docMk/>
            <pc:sldMk cId="3573753785" sldId="2147473766"/>
            <ac:picMk id="18" creationId="{35C35717-859D-C8E5-79EE-49798E22FC83}"/>
          </ac:picMkLst>
        </pc:picChg>
        <pc:picChg chg="mod">
          <ac:chgData name="Uladzimir Litvinau" userId="7c780bef-f8d3-4d23-a35d-3c7004030c64" providerId="ADAL" clId="{61C78025-9E46-466F-873E-2DF94ED9C4E0}" dt="2023-06-12T09:25:27.605" v="2536"/>
          <ac:picMkLst>
            <pc:docMk/>
            <pc:sldMk cId="3573753785" sldId="2147473766"/>
            <ac:picMk id="21" creationId="{99FFB93B-D0F5-8405-424B-702E625064FD}"/>
          </ac:picMkLst>
        </pc:picChg>
        <pc:picChg chg="mod">
          <ac:chgData name="Uladzimir Litvinau" userId="7c780bef-f8d3-4d23-a35d-3c7004030c64" providerId="ADAL" clId="{61C78025-9E46-466F-873E-2DF94ED9C4E0}" dt="2023-06-12T09:25:27.605" v="2536"/>
          <ac:picMkLst>
            <pc:docMk/>
            <pc:sldMk cId="3573753785" sldId="2147473766"/>
            <ac:picMk id="24" creationId="{2388096A-7BEF-6923-DEA1-EB30F38AFA8B}"/>
          </ac:picMkLst>
        </pc:picChg>
        <pc:picChg chg="mod">
          <ac:chgData name="Uladzimir Litvinau" userId="7c780bef-f8d3-4d23-a35d-3c7004030c64" providerId="ADAL" clId="{61C78025-9E46-466F-873E-2DF94ED9C4E0}" dt="2023-06-12T09:25:27.605" v="2536"/>
          <ac:picMkLst>
            <pc:docMk/>
            <pc:sldMk cId="3573753785" sldId="2147473766"/>
            <ac:picMk id="27" creationId="{4D935053-83EA-ECF5-B2D3-80D889FB3C4D}"/>
          </ac:picMkLst>
        </pc:picChg>
        <pc:picChg chg="mod">
          <ac:chgData name="Uladzimir Litvinau" userId="7c780bef-f8d3-4d23-a35d-3c7004030c64" providerId="ADAL" clId="{61C78025-9E46-466F-873E-2DF94ED9C4E0}" dt="2023-06-12T09:25:27.605" v="2536"/>
          <ac:picMkLst>
            <pc:docMk/>
            <pc:sldMk cId="3573753785" sldId="2147473766"/>
            <ac:picMk id="30" creationId="{B8DF431F-28A2-8C74-58FA-C7499C15DF3E}"/>
          </ac:picMkLst>
        </pc:picChg>
        <pc:picChg chg="mod">
          <ac:chgData name="Uladzimir Litvinau" userId="7c780bef-f8d3-4d23-a35d-3c7004030c64" providerId="ADAL" clId="{61C78025-9E46-466F-873E-2DF94ED9C4E0}" dt="2023-06-12T09:25:27.605" v="2536"/>
          <ac:picMkLst>
            <pc:docMk/>
            <pc:sldMk cId="3573753785" sldId="2147473766"/>
            <ac:picMk id="33" creationId="{2F838510-22B0-4FBB-C199-A585524A88F1}"/>
          </ac:picMkLst>
        </pc:picChg>
        <pc:picChg chg="mod">
          <ac:chgData name="Uladzimir Litvinau" userId="7c780bef-f8d3-4d23-a35d-3c7004030c64" providerId="ADAL" clId="{61C78025-9E46-466F-873E-2DF94ED9C4E0}" dt="2023-06-12T09:39:50.133" v="2986"/>
          <ac:picMkLst>
            <pc:docMk/>
            <pc:sldMk cId="3573753785" sldId="2147473766"/>
            <ac:picMk id="37" creationId="{61A84A7C-D011-32D2-3E73-03D71F55FB34}"/>
          </ac:picMkLst>
        </pc:picChg>
        <pc:picChg chg="mod">
          <ac:chgData name="Uladzimir Litvinau" userId="7c780bef-f8d3-4d23-a35d-3c7004030c64" providerId="ADAL" clId="{61C78025-9E46-466F-873E-2DF94ED9C4E0}" dt="2023-06-12T09:39:50.133" v="2986"/>
          <ac:picMkLst>
            <pc:docMk/>
            <pc:sldMk cId="3573753785" sldId="2147473766"/>
            <ac:picMk id="40" creationId="{58B38F99-6F9A-884D-C67F-263784EE92BA}"/>
          </ac:picMkLst>
        </pc:picChg>
        <pc:picChg chg="mod">
          <ac:chgData name="Uladzimir Litvinau" userId="7c780bef-f8d3-4d23-a35d-3c7004030c64" providerId="ADAL" clId="{61C78025-9E46-466F-873E-2DF94ED9C4E0}" dt="2023-06-12T09:39:50.133" v="2986"/>
          <ac:picMkLst>
            <pc:docMk/>
            <pc:sldMk cId="3573753785" sldId="2147473766"/>
            <ac:picMk id="43" creationId="{6108923B-0615-DA92-E782-6B489A4C1100}"/>
          </ac:picMkLst>
        </pc:picChg>
        <pc:picChg chg="mod">
          <ac:chgData name="Uladzimir Litvinau" userId="7c780bef-f8d3-4d23-a35d-3c7004030c64" providerId="ADAL" clId="{61C78025-9E46-466F-873E-2DF94ED9C4E0}" dt="2023-06-12T09:39:50.133" v="2986"/>
          <ac:picMkLst>
            <pc:docMk/>
            <pc:sldMk cId="3573753785" sldId="2147473766"/>
            <ac:picMk id="46" creationId="{DEB2D16E-646A-FC3D-E27E-B46048049768}"/>
          </ac:picMkLst>
        </pc:picChg>
        <pc:picChg chg="mod">
          <ac:chgData name="Uladzimir Litvinau" userId="7c780bef-f8d3-4d23-a35d-3c7004030c64" providerId="ADAL" clId="{61C78025-9E46-466F-873E-2DF94ED9C4E0}" dt="2023-06-12T09:39:50.133" v="2986"/>
          <ac:picMkLst>
            <pc:docMk/>
            <pc:sldMk cId="3573753785" sldId="2147473766"/>
            <ac:picMk id="49" creationId="{CC08BC3C-673A-F043-E388-FAF546C0827D}"/>
          </ac:picMkLst>
        </pc:picChg>
        <pc:picChg chg="mod">
          <ac:chgData name="Uladzimir Litvinau" userId="7c780bef-f8d3-4d23-a35d-3c7004030c64" providerId="ADAL" clId="{61C78025-9E46-466F-873E-2DF94ED9C4E0}" dt="2023-06-12T09:39:50.133" v="2986"/>
          <ac:picMkLst>
            <pc:docMk/>
            <pc:sldMk cId="3573753785" sldId="2147473766"/>
            <ac:picMk id="52" creationId="{C259DE38-2736-24A7-0A02-349782F93C6A}"/>
          </ac:picMkLst>
        </pc:picChg>
        <pc:picChg chg="mod">
          <ac:chgData name="Uladzimir Litvinau" userId="7c780bef-f8d3-4d23-a35d-3c7004030c64" providerId="ADAL" clId="{61C78025-9E46-466F-873E-2DF94ED9C4E0}" dt="2023-06-12T09:39:50.133" v="2986"/>
          <ac:picMkLst>
            <pc:docMk/>
            <pc:sldMk cId="3573753785" sldId="2147473766"/>
            <ac:picMk id="55" creationId="{58F01FFA-F1CB-64F1-252A-341FCDAF770D}"/>
          </ac:picMkLst>
        </pc:picChg>
      </pc:sldChg>
      <pc:sldChg chg="addSp delSp modSp add mod modTransition modAnim modNotesTx">
        <pc:chgData name="Uladzimir Litvinau" userId="7c780bef-f8d3-4d23-a35d-3c7004030c64" providerId="ADAL" clId="{61C78025-9E46-466F-873E-2DF94ED9C4E0}" dt="2023-06-14T11:25:43.121" v="10942" actId="20577"/>
        <pc:sldMkLst>
          <pc:docMk/>
          <pc:sldMk cId="60625334" sldId="2147473767"/>
        </pc:sldMkLst>
        <pc:spChg chg="mod">
          <ac:chgData name="Uladzimir Litvinau" userId="7c780bef-f8d3-4d23-a35d-3c7004030c64" providerId="ADAL" clId="{61C78025-9E46-466F-873E-2DF94ED9C4E0}" dt="2023-06-12T09:08:04.910" v="2229" actId="207"/>
          <ac:spMkLst>
            <pc:docMk/>
            <pc:sldMk cId="60625334" sldId="2147473767"/>
            <ac:spMk id="2" creationId="{EE3E7B12-94E5-1E8A-9A20-C930CC8426EB}"/>
          </ac:spMkLst>
        </pc:spChg>
        <pc:spChg chg="add del">
          <ac:chgData name="Uladzimir Litvinau" userId="7c780bef-f8d3-4d23-a35d-3c7004030c64" providerId="ADAL" clId="{61C78025-9E46-466F-873E-2DF94ED9C4E0}" dt="2023-06-12T09:10:27.130" v="2236" actId="478"/>
          <ac:spMkLst>
            <pc:docMk/>
            <pc:sldMk cId="60625334" sldId="2147473767"/>
            <ac:spMk id="3" creationId="{7717A279-16ED-1512-FA2F-4FD1BD4EAE29}"/>
          </ac:spMkLst>
        </pc:spChg>
        <pc:spChg chg="add del mod">
          <ac:chgData name="Uladzimir Litvinau" userId="7c780bef-f8d3-4d23-a35d-3c7004030c64" providerId="ADAL" clId="{61C78025-9E46-466F-873E-2DF94ED9C4E0}" dt="2023-06-12T09:10:32.177" v="2240" actId="478"/>
          <ac:spMkLst>
            <pc:docMk/>
            <pc:sldMk cId="60625334" sldId="2147473767"/>
            <ac:spMk id="4" creationId="{517DD13B-E3F0-5815-FFD7-F49A4CBE62A3}"/>
          </ac:spMkLst>
        </pc:spChg>
        <pc:spChg chg="mod">
          <ac:chgData name="Uladzimir Litvinau" userId="7c780bef-f8d3-4d23-a35d-3c7004030c64" providerId="ADAL" clId="{61C78025-9E46-466F-873E-2DF94ED9C4E0}" dt="2023-06-13T06:56:50.349" v="5053" actId="313"/>
          <ac:spMkLst>
            <pc:docMk/>
            <pc:sldMk cId="60625334" sldId="2147473767"/>
            <ac:spMk id="7" creationId="{CA211C83-0ECC-7201-4143-28C0C45C24D4}"/>
          </ac:spMkLst>
        </pc:spChg>
        <pc:spChg chg="mod">
          <ac:chgData name="Uladzimir Litvinau" userId="7c780bef-f8d3-4d23-a35d-3c7004030c64" providerId="ADAL" clId="{61C78025-9E46-466F-873E-2DF94ED9C4E0}" dt="2023-06-12T09:14:46.929" v="2359" actId="313"/>
          <ac:spMkLst>
            <pc:docMk/>
            <pc:sldMk cId="60625334" sldId="2147473767"/>
            <ac:spMk id="8" creationId="{A33CA039-DE3C-5D85-0DB8-D98A38BFDC35}"/>
          </ac:spMkLst>
        </pc:spChg>
        <pc:picChg chg="del">
          <ac:chgData name="Uladzimir Litvinau" userId="7c780bef-f8d3-4d23-a35d-3c7004030c64" providerId="ADAL" clId="{61C78025-9E46-466F-873E-2DF94ED9C4E0}" dt="2023-06-12T09:10:19.486" v="2234" actId="478"/>
          <ac:picMkLst>
            <pc:docMk/>
            <pc:sldMk cId="60625334" sldId="2147473767"/>
            <ac:picMk id="2050" creationId="{A5FDD9F3-FF97-5AF5-F57A-9A54FDDC8732}"/>
          </ac:picMkLst>
        </pc:picChg>
        <pc:picChg chg="add mod">
          <ac:chgData name="Uladzimir Litvinau" userId="7c780bef-f8d3-4d23-a35d-3c7004030c64" providerId="ADAL" clId="{61C78025-9E46-466F-873E-2DF94ED9C4E0}" dt="2023-06-13T10:02:06.753" v="7764" actId="1076"/>
          <ac:picMkLst>
            <pc:docMk/>
            <pc:sldMk cId="60625334" sldId="2147473767"/>
            <ac:picMk id="2050" creationId="{D9E1441F-183C-174F-112F-9BEEF6EDD8F1}"/>
          </ac:picMkLst>
        </pc:picChg>
        <pc:picChg chg="add del">
          <ac:chgData name="Uladzimir Litvinau" userId="7c780bef-f8d3-4d23-a35d-3c7004030c64" providerId="ADAL" clId="{61C78025-9E46-466F-873E-2DF94ED9C4E0}" dt="2023-06-12T09:11:26.572" v="2242" actId="478"/>
          <ac:picMkLst>
            <pc:docMk/>
            <pc:sldMk cId="60625334" sldId="2147473767"/>
            <ac:picMk id="7174" creationId="{C62A1D77-B546-FB7A-D6D4-4B378BF3E2B2}"/>
          </ac:picMkLst>
        </pc:picChg>
        <pc:picChg chg="add del mod">
          <ac:chgData name="Uladzimir Litvinau" userId="7c780bef-f8d3-4d23-a35d-3c7004030c64" providerId="ADAL" clId="{61C78025-9E46-466F-873E-2DF94ED9C4E0}" dt="2023-06-13T10:02:00.030" v="7761" actId="478"/>
          <ac:picMkLst>
            <pc:docMk/>
            <pc:sldMk cId="60625334" sldId="2147473767"/>
            <ac:picMk id="7176" creationId="{7D591D2C-B38F-94F9-FC96-9BE0E9A1B398}"/>
          </ac:picMkLst>
        </pc:picChg>
      </pc:sldChg>
      <pc:sldChg chg="addSp delSp modSp add mod modTransition modAnim">
        <pc:chgData name="Uladzimir Litvinau" userId="7c780bef-f8d3-4d23-a35d-3c7004030c64" providerId="ADAL" clId="{61C78025-9E46-466F-873E-2DF94ED9C4E0}" dt="2023-06-12T12:05:21.534" v="5027"/>
        <pc:sldMkLst>
          <pc:docMk/>
          <pc:sldMk cId="3691387356" sldId="2147473768"/>
        </pc:sldMkLst>
        <pc:spChg chg="mod">
          <ac:chgData name="Uladzimir Litvinau" userId="7c780bef-f8d3-4d23-a35d-3c7004030c64" providerId="ADAL" clId="{61C78025-9E46-466F-873E-2DF94ED9C4E0}" dt="2023-06-12T09:15:49.076" v="2389" actId="14100"/>
          <ac:spMkLst>
            <pc:docMk/>
            <pc:sldMk cId="3691387356" sldId="2147473768"/>
            <ac:spMk id="2" creationId="{EE3E7B12-94E5-1E8A-9A20-C930CC8426EB}"/>
          </ac:spMkLst>
        </pc:spChg>
        <pc:spChg chg="mod">
          <ac:chgData name="Uladzimir Litvinau" userId="7c780bef-f8d3-4d23-a35d-3c7004030c64" providerId="ADAL" clId="{61C78025-9E46-466F-873E-2DF94ED9C4E0}" dt="2023-06-12T11:37:07.683" v="4432" actId="20577"/>
          <ac:spMkLst>
            <pc:docMk/>
            <pc:sldMk cId="3691387356" sldId="2147473768"/>
            <ac:spMk id="7" creationId="{CA211C83-0ECC-7201-4143-28C0C45C24D4}"/>
          </ac:spMkLst>
        </pc:spChg>
        <pc:spChg chg="mod">
          <ac:chgData name="Uladzimir Litvinau" userId="7c780bef-f8d3-4d23-a35d-3c7004030c64" providerId="ADAL" clId="{61C78025-9E46-466F-873E-2DF94ED9C4E0}" dt="2023-06-12T09:14:21.638" v="2334"/>
          <ac:spMkLst>
            <pc:docMk/>
            <pc:sldMk cId="3691387356" sldId="2147473768"/>
            <ac:spMk id="8" creationId="{A33CA039-DE3C-5D85-0DB8-D98A38BFDC35}"/>
          </ac:spMkLst>
        </pc:spChg>
        <pc:spChg chg="add mod">
          <ac:chgData name="Uladzimir Litvinau" userId="7c780bef-f8d3-4d23-a35d-3c7004030c64" providerId="ADAL" clId="{61C78025-9E46-466F-873E-2DF94ED9C4E0}" dt="2023-06-12T09:37:55.275" v="2910" actId="20577"/>
          <ac:spMkLst>
            <pc:docMk/>
            <pc:sldMk cId="3691387356" sldId="2147473768"/>
            <ac:spMk id="20" creationId="{F6C03A81-4BC5-46FC-7AE6-39BD20FCB462}"/>
          </ac:spMkLst>
        </pc:spChg>
        <pc:spChg chg="add mod">
          <ac:chgData name="Uladzimir Litvinau" userId="7c780bef-f8d3-4d23-a35d-3c7004030c64" providerId="ADAL" clId="{61C78025-9E46-466F-873E-2DF94ED9C4E0}" dt="2023-06-12T09:38:47.196" v="2948" actId="20577"/>
          <ac:spMkLst>
            <pc:docMk/>
            <pc:sldMk cId="3691387356" sldId="2147473768"/>
            <ac:spMk id="22" creationId="{2D1D3825-BD8F-7792-1F6F-1BC084CB37CD}"/>
          </ac:spMkLst>
        </pc:spChg>
        <pc:spChg chg="add mod">
          <ac:chgData name="Uladzimir Litvinau" userId="7c780bef-f8d3-4d23-a35d-3c7004030c64" providerId="ADAL" clId="{61C78025-9E46-466F-873E-2DF94ED9C4E0}" dt="2023-06-12T09:38:14.883" v="2937" actId="20577"/>
          <ac:spMkLst>
            <pc:docMk/>
            <pc:sldMk cId="3691387356" sldId="2147473768"/>
            <ac:spMk id="23" creationId="{B042E3C5-6455-E737-55BF-FE37B29D8097}"/>
          </ac:spMkLst>
        </pc:spChg>
        <pc:spChg chg="add mod">
          <ac:chgData name="Uladzimir Litvinau" userId="7c780bef-f8d3-4d23-a35d-3c7004030c64" providerId="ADAL" clId="{61C78025-9E46-466F-873E-2DF94ED9C4E0}" dt="2023-06-12T09:38:51.593" v="2950" actId="20577"/>
          <ac:spMkLst>
            <pc:docMk/>
            <pc:sldMk cId="3691387356" sldId="2147473768"/>
            <ac:spMk id="24" creationId="{C5DE6761-84BF-A505-465E-92594D628EB8}"/>
          </ac:spMkLst>
        </pc:spChg>
        <pc:spChg chg="add mod">
          <ac:chgData name="Uladzimir Litvinau" userId="7c780bef-f8d3-4d23-a35d-3c7004030c64" providerId="ADAL" clId="{61C78025-9E46-466F-873E-2DF94ED9C4E0}" dt="2023-06-12T09:38:56.363" v="2955" actId="20577"/>
          <ac:spMkLst>
            <pc:docMk/>
            <pc:sldMk cId="3691387356" sldId="2147473768"/>
            <ac:spMk id="25" creationId="{BA12B1B8-9A78-2F2B-A318-CC8C7907A95D}"/>
          </ac:spMkLst>
        </pc:spChg>
        <pc:spChg chg="add mod">
          <ac:chgData name="Uladzimir Litvinau" userId="7c780bef-f8d3-4d23-a35d-3c7004030c64" providerId="ADAL" clId="{61C78025-9E46-466F-873E-2DF94ED9C4E0}" dt="2023-06-12T09:39:01.814" v="2960" actId="20577"/>
          <ac:spMkLst>
            <pc:docMk/>
            <pc:sldMk cId="3691387356" sldId="2147473768"/>
            <ac:spMk id="26" creationId="{982FD42B-CC5D-2261-9565-FD62D958938B}"/>
          </ac:spMkLst>
        </pc:spChg>
        <pc:spChg chg="add mod">
          <ac:chgData name="Uladzimir Litvinau" userId="7c780bef-f8d3-4d23-a35d-3c7004030c64" providerId="ADAL" clId="{61C78025-9E46-466F-873E-2DF94ED9C4E0}" dt="2023-06-12T09:39:09.575" v="2977" actId="20577"/>
          <ac:spMkLst>
            <pc:docMk/>
            <pc:sldMk cId="3691387356" sldId="2147473768"/>
            <ac:spMk id="27" creationId="{E41C8A80-0D20-9DEA-78E2-2C136138CFA8}"/>
          </ac:spMkLst>
        </pc:spChg>
        <pc:spChg chg="add mod">
          <ac:chgData name="Uladzimir Litvinau" userId="7c780bef-f8d3-4d23-a35d-3c7004030c64" providerId="ADAL" clId="{61C78025-9E46-466F-873E-2DF94ED9C4E0}" dt="2023-06-12T09:23:41.395" v="2510" actId="164"/>
          <ac:spMkLst>
            <pc:docMk/>
            <pc:sldMk cId="3691387356" sldId="2147473768"/>
            <ac:spMk id="28" creationId="{89EC0938-4C09-0464-5A2E-284ADE0B6E72}"/>
          </ac:spMkLst>
        </pc:spChg>
        <pc:grpChg chg="add mod">
          <ac:chgData name="Uladzimir Litvinau" userId="7c780bef-f8d3-4d23-a35d-3c7004030c64" providerId="ADAL" clId="{61C78025-9E46-466F-873E-2DF94ED9C4E0}" dt="2023-06-12T09:24:39.259" v="2531" actId="1076"/>
          <ac:grpSpMkLst>
            <pc:docMk/>
            <pc:sldMk cId="3691387356" sldId="2147473768"/>
            <ac:grpSpMk id="21" creationId="{B67B7893-3F66-AC57-B9B8-6DC0F5260A9C}"/>
          </ac:grpSpMkLst>
        </pc:grpChg>
        <pc:grpChg chg="add mod">
          <ac:chgData name="Uladzimir Litvinau" userId="7c780bef-f8d3-4d23-a35d-3c7004030c64" providerId="ADAL" clId="{61C78025-9E46-466F-873E-2DF94ED9C4E0}" dt="2023-06-12T09:23:31.439" v="2504" actId="164"/>
          <ac:grpSpMkLst>
            <pc:docMk/>
            <pc:sldMk cId="3691387356" sldId="2147473768"/>
            <ac:grpSpMk id="29" creationId="{F2EF02E5-8F60-8DA6-2D9F-CE040D63FE3A}"/>
          </ac:grpSpMkLst>
        </pc:grpChg>
        <pc:grpChg chg="add mod">
          <ac:chgData name="Uladzimir Litvinau" userId="7c780bef-f8d3-4d23-a35d-3c7004030c64" providerId="ADAL" clId="{61C78025-9E46-466F-873E-2DF94ED9C4E0}" dt="2023-06-12T09:24:36.816" v="2530" actId="1076"/>
          <ac:grpSpMkLst>
            <pc:docMk/>
            <pc:sldMk cId="3691387356" sldId="2147473768"/>
            <ac:grpSpMk id="30" creationId="{45BB9897-42C0-9EA7-E1F1-808E0968272E}"/>
          </ac:grpSpMkLst>
        </pc:grpChg>
        <pc:grpChg chg="add mod">
          <ac:chgData name="Uladzimir Litvinau" userId="7c780bef-f8d3-4d23-a35d-3c7004030c64" providerId="ADAL" clId="{61C78025-9E46-466F-873E-2DF94ED9C4E0}" dt="2023-06-12T09:23:35.239" v="2506" actId="164"/>
          <ac:grpSpMkLst>
            <pc:docMk/>
            <pc:sldMk cId="3691387356" sldId="2147473768"/>
            <ac:grpSpMk id="31" creationId="{F5F0539E-D70C-410C-6159-1431F50B1F88}"/>
          </ac:grpSpMkLst>
        </pc:grpChg>
        <pc:grpChg chg="add mod">
          <ac:chgData name="Uladzimir Litvinau" userId="7c780bef-f8d3-4d23-a35d-3c7004030c64" providerId="ADAL" clId="{61C78025-9E46-466F-873E-2DF94ED9C4E0}" dt="2023-06-12T09:23:36.738" v="2507" actId="164"/>
          <ac:grpSpMkLst>
            <pc:docMk/>
            <pc:sldMk cId="3691387356" sldId="2147473768"/>
            <ac:grpSpMk id="32" creationId="{F8ECD77C-0570-0DCF-F3A9-671F311F8A11}"/>
          </ac:grpSpMkLst>
        </pc:grpChg>
        <pc:grpChg chg="add mod">
          <ac:chgData name="Uladzimir Litvinau" userId="7c780bef-f8d3-4d23-a35d-3c7004030c64" providerId="ADAL" clId="{61C78025-9E46-466F-873E-2DF94ED9C4E0}" dt="2023-06-12T09:23:37.989" v="2508" actId="164"/>
          <ac:grpSpMkLst>
            <pc:docMk/>
            <pc:sldMk cId="3691387356" sldId="2147473768"/>
            <ac:grpSpMk id="33" creationId="{EFF9DC71-9BD4-F110-AEB9-FFF927215D40}"/>
          </ac:grpSpMkLst>
        </pc:grpChg>
        <pc:grpChg chg="add mod">
          <ac:chgData name="Uladzimir Litvinau" userId="7c780bef-f8d3-4d23-a35d-3c7004030c64" providerId="ADAL" clId="{61C78025-9E46-466F-873E-2DF94ED9C4E0}" dt="2023-06-12T09:24:43.136" v="2532" actId="1076"/>
          <ac:grpSpMkLst>
            <pc:docMk/>
            <pc:sldMk cId="3691387356" sldId="2147473768"/>
            <ac:grpSpMk id="34" creationId="{7A920AD3-9843-125B-FAE7-6BC4FD5EE736}"/>
          </ac:grpSpMkLst>
        </pc:grpChg>
        <pc:grpChg chg="add mod">
          <ac:chgData name="Uladzimir Litvinau" userId="7c780bef-f8d3-4d23-a35d-3c7004030c64" providerId="ADAL" clId="{61C78025-9E46-466F-873E-2DF94ED9C4E0}" dt="2023-06-12T09:24:48.764" v="2533" actId="1076"/>
          <ac:grpSpMkLst>
            <pc:docMk/>
            <pc:sldMk cId="3691387356" sldId="2147473768"/>
            <ac:grpSpMk id="35" creationId="{81D67649-A9BA-281C-BDAB-0A8D150A00AE}"/>
          </ac:grpSpMkLst>
        </pc:grpChg>
        <pc:picChg chg="add del mod">
          <ac:chgData name="Uladzimir Litvinau" userId="7c780bef-f8d3-4d23-a35d-3c7004030c64" providerId="ADAL" clId="{61C78025-9E46-466F-873E-2DF94ED9C4E0}" dt="2023-06-12T09:18:08.062" v="2421" actId="478"/>
          <ac:picMkLst>
            <pc:docMk/>
            <pc:sldMk cId="3691387356" sldId="2147473768"/>
            <ac:picMk id="3" creationId="{B0109A1D-664B-DE7E-CD10-391773C22274}"/>
          </ac:picMkLst>
        </pc:picChg>
        <pc:picChg chg="add del mod">
          <ac:chgData name="Uladzimir Litvinau" userId="7c780bef-f8d3-4d23-a35d-3c7004030c64" providerId="ADAL" clId="{61C78025-9E46-466F-873E-2DF94ED9C4E0}" dt="2023-06-12T09:18:08.062" v="2421" actId="478"/>
          <ac:picMkLst>
            <pc:docMk/>
            <pc:sldMk cId="3691387356" sldId="2147473768"/>
            <ac:picMk id="4" creationId="{2DAEBAAF-B8E4-7DB6-712C-AB8C1F356346}"/>
          </ac:picMkLst>
        </pc:picChg>
        <pc:picChg chg="add mod">
          <ac:chgData name="Uladzimir Litvinau" userId="7c780bef-f8d3-4d23-a35d-3c7004030c64" providerId="ADAL" clId="{61C78025-9E46-466F-873E-2DF94ED9C4E0}" dt="2023-06-12T09:23:39.271" v="2509" actId="164"/>
          <ac:picMkLst>
            <pc:docMk/>
            <pc:sldMk cId="3691387356" sldId="2147473768"/>
            <ac:picMk id="5" creationId="{FAF329BB-F7B2-1621-81AF-CA852487FD0B}"/>
          </ac:picMkLst>
        </pc:picChg>
        <pc:picChg chg="add mod">
          <ac:chgData name="Uladzimir Litvinau" userId="7c780bef-f8d3-4d23-a35d-3c7004030c64" providerId="ADAL" clId="{61C78025-9E46-466F-873E-2DF94ED9C4E0}" dt="2023-06-12T09:23:31.439" v="2504" actId="164"/>
          <ac:picMkLst>
            <pc:docMk/>
            <pc:sldMk cId="3691387356" sldId="2147473768"/>
            <ac:picMk id="6" creationId="{EC77AC7B-0E47-E0D9-90E7-0E46158BB532}"/>
          </ac:picMkLst>
        </pc:picChg>
        <pc:picChg chg="add del mod">
          <ac:chgData name="Uladzimir Litvinau" userId="7c780bef-f8d3-4d23-a35d-3c7004030c64" providerId="ADAL" clId="{61C78025-9E46-466F-873E-2DF94ED9C4E0}" dt="2023-06-12T09:18:08.062" v="2421" actId="478"/>
          <ac:picMkLst>
            <pc:docMk/>
            <pc:sldMk cId="3691387356" sldId="2147473768"/>
            <ac:picMk id="9" creationId="{8FFFCBC0-97EE-40FD-3B4F-E99B0EE8720B}"/>
          </ac:picMkLst>
        </pc:picChg>
        <pc:picChg chg="add mod">
          <ac:chgData name="Uladzimir Litvinau" userId="7c780bef-f8d3-4d23-a35d-3c7004030c64" providerId="ADAL" clId="{61C78025-9E46-466F-873E-2DF94ED9C4E0}" dt="2023-06-12T09:23:33.815" v="2505" actId="164"/>
          <ac:picMkLst>
            <pc:docMk/>
            <pc:sldMk cId="3691387356" sldId="2147473768"/>
            <ac:picMk id="10" creationId="{F15D876D-2C86-622A-886D-49D3F316E86B}"/>
          </ac:picMkLst>
        </pc:picChg>
        <pc:picChg chg="add mod">
          <ac:chgData name="Uladzimir Litvinau" userId="7c780bef-f8d3-4d23-a35d-3c7004030c64" providerId="ADAL" clId="{61C78025-9E46-466F-873E-2DF94ED9C4E0}" dt="2023-06-12T09:23:35.239" v="2506" actId="164"/>
          <ac:picMkLst>
            <pc:docMk/>
            <pc:sldMk cId="3691387356" sldId="2147473768"/>
            <ac:picMk id="11" creationId="{F215881F-E044-9C3B-3ADC-5201CB8938FF}"/>
          </ac:picMkLst>
        </pc:picChg>
        <pc:picChg chg="add del mod">
          <ac:chgData name="Uladzimir Litvinau" userId="7c780bef-f8d3-4d23-a35d-3c7004030c64" providerId="ADAL" clId="{61C78025-9E46-466F-873E-2DF94ED9C4E0}" dt="2023-06-12T09:18:08.062" v="2421" actId="478"/>
          <ac:picMkLst>
            <pc:docMk/>
            <pc:sldMk cId="3691387356" sldId="2147473768"/>
            <ac:picMk id="12" creationId="{3BF6F8BD-4F9A-5CBC-9D2F-BF211C56E478}"/>
          </ac:picMkLst>
        </pc:picChg>
        <pc:picChg chg="add mod">
          <ac:chgData name="Uladzimir Litvinau" userId="7c780bef-f8d3-4d23-a35d-3c7004030c64" providerId="ADAL" clId="{61C78025-9E46-466F-873E-2DF94ED9C4E0}" dt="2023-06-12T09:23:37.989" v="2508" actId="164"/>
          <ac:picMkLst>
            <pc:docMk/>
            <pc:sldMk cId="3691387356" sldId="2147473768"/>
            <ac:picMk id="13" creationId="{5CB8F84C-C493-4283-51D1-6574E0EE8432}"/>
          </ac:picMkLst>
        </pc:picChg>
        <pc:picChg chg="add mod">
          <ac:chgData name="Uladzimir Litvinau" userId="7c780bef-f8d3-4d23-a35d-3c7004030c64" providerId="ADAL" clId="{61C78025-9E46-466F-873E-2DF94ED9C4E0}" dt="2023-06-12T09:22:05.941" v="2460" actId="164"/>
          <ac:picMkLst>
            <pc:docMk/>
            <pc:sldMk cId="3691387356" sldId="2147473768"/>
            <ac:picMk id="14" creationId="{58BC4A20-D726-6A4C-E97A-81BCE468C2C1}"/>
          </ac:picMkLst>
        </pc:picChg>
        <pc:picChg chg="add mod">
          <ac:chgData name="Uladzimir Litvinau" userId="7c780bef-f8d3-4d23-a35d-3c7004030c64" providerId="ADAL" clId="{61C78025-9E46-466F-873E-2DF94ED9C4E0}" dt="2023-06-12T09:23:36.738" v="2507" actId="164"/>
          <ac:picMkLst>
            <pc:docMk/>
            <pc:sldMk cId="3691387356" sldId="2147473768"/>
            <ac:picMk id="15" creationId="{8F1A8B90-73AD-48FE-7188-337C22CD618B}"/>
          </ac:picMkLst>
        </pc:picChg>
        <pc:picChg chg="add del mod">
          <ac:chgData name="Uladzimir Litvinau" userId="7c780bef-f8d3-4d23-a35d-3c7004030c64" providerId="ADAL" clId="{61C78025-9E46-466F-873E-2DF94ED9C4E0}" dt="2023-06-12T09:18:08.062" v="2421" actId="478"/>
          <ac:picMkLst>
            <pc:docMk/>
            <pc:sldMk cId="3691387356" sldId="2147473768"/>
            <ac:picMk id="16" creationId="{17906D8D-7669-7329-8346-B386A7DFAD28}"/>
          </ac:picMkLst>
        </pc:picChg>
        <pc:picChg chg="add del mod">
          <ac:chgData name="Uladzimir Litvinau" userId="7c780bef-f8d3-4d23-a35d-3c7004030c64" providerId="ADAL" clId="{61C78025-9E46-466F-873E-2DF94ED9C4E0}" dt="2023-06-12T09:18:08.062" v="2421" actId="478"/>
          <ac:picMkLst>
            <pc:docMk/>
            <pc:sldMk cId="3691387356" sldId="2147473768"/>
            <ac:picMk id="17" creationId="{604AE76F-08B4-ED5F-40B1-C5A7D49EA9AF}"/>
          </ac:picMkLst>
        </pc:picChg>
        <pc:picChg chg="add del mod">
          <ac:chgData name="Uladzimir Litvinau" userId="7c780bef-f8d3-4d23-a35d-3c7004030c64" providerId="ADAL" clId="{61C78025-9E46-466F-873E-2DF94ED9C4E0}" dt="2023-06-12T09:18:08.062" v="2421" actId="478"/>
          <ac:picMkLst>
            <pc:docMk/>
            <pc:sldMk cId="3691387356" sldId="2147473768"/>
            <ac:picMk id="18" creationId="{4E815837-11E4-53FB-DB70-5184C61F9D2A}"/>
          </ac:picMkLst>
        </pc:picChg>
        <pc:picChg chg="add mod">
          <ac:chgData name="Uladzimir Litvinau" userId="7c780bef-f8d3-4d23-a35d-3c7004030c64" providerId="ADAL" clId="{61C78025-9E46-466F-873E-2DF94ED9C4E0}" dt="2023-06-12T09:23:41.395" v="2510" actId="164"/>
          <ac:picMkLst>
            <pc:docMk/>
            <pc:sldMk cId="3691387356" sldId="2147473768"/>
            <ac:picMk id="19" creationId="{302F583D-A58C-F0C0-0AC9-7A3120F34DDA}"/>
          </ac:picMkLst>
        </pc:picChg>
        <pc:picChg chg="del mod">
          <ac:chgData name="Uladzimir Litvinau" userId="7c780bef-f8d3-4d23-a35d-3c7004030c64" providerId="ADAL" clId="{61C78025-9E46-466F-873E-2DF94ED9C4E0}" dt="2023-06-12T09:16:12.080" v="2398" actId="478"/>
          <ac:picMkLst>
            <pc:docMk/>
            <pc:sldMk cId="3691387356" sldId="2147473768"/>
            <ac:picMk id="7176" creationId="{7D591D2C-B38F-94F9-FC96-9BE0E9A1B398}"/>
          </ac:picMkLst>
        </pc:picChg>
      </pc:sldChg>
      <pc:sldChg chg="add del ord">
        <pc:chgData name="Uladzimir Litvinau" userId="7c780bef-f8d3-4d23-a35d-3c7004030c64" providerId="ADAL" clId="{61C78025-9E46-466F-873E-2DF94ED9C4E0}" dt="2023-06-12T09:34:32.004" v="2789" actId="47"/>
        <pc:sldMkLst>
          <pc:docMk/>
          <pc:sldMk cId="3724612236" sldId="2147473769"/>
        </pc:sldMkLst>
      </pc:sldChg>
      <pc:sldChg chg="addSp delSp modSp add mod modTransition modNotesTx">
        <pc:chgData name="Uladzimir Litvinau" userId="7c780bef-f8d3-4d23-a35d-3c7004030c64" providerId="ADAL" clId="{61C78025-9E46-466F-873E-2DF94ED9C4E0}" dt="2023-06-13T07:28:03.724" v="6128" actId="20577"/>
        <pc:sldMkLst>
          <pc:docMk/>
          <pc:sldMk cId="260463268" sldId="2147473770"/>
        </pc:sldMkLst>
        <pc:spChg chg="mod">
          <ac:chgData name="Uladzimir Litvinau" userId="7c780bef-f8d3-4d23-a35d-3c7004030c64" providerId="ADAL" clId="{61C78025-9E46-466F-873E-2DF94ED9C4E0}" dt="2023-06-13T07:28:03.724" v="6128" actId="20577"/>
          <ac:spMkLst>
            <pc:docMk/>
            <pc:sldMk cId="260463268" sldId="2147473770"/>
            <ac:spMk id="2" creationId="{EE3E7B12-94E5-1E8A-9A20-C930CC8426EB}"/>
          </ac:spMkLst>
        </pc:spChg>
        <pc:spChg chg="add del mod">
          <ac:chgData name="Uladzimir Litvinau" userId="7c780bef-f8d3-4d23-a35d-3c7004030c64" providerId="ADAL" clId="{61C78025-9E46-466F-873E-2DF94ED9C4E0}" dt="2023-06-12T09:40:04.913" v="2988" actId="478"/>
          <ac:spMkLst>
            <pc:docMk/>
            <pc:sldMk cId="260463268" sldId="2147473770"/>
            <ac:spMk id="3" creationId="{ADC1C960-C172-1AA9-2E8E-B1E111AAA85F}"/>
          </ac:spMkLst>
        </pc:spChg>
        <pc:spChg chg="mod">
          <ac:chgData name="Uladzimir Litvinau" userId="7c780bef-f8d3-4d23-a35d-3c7004030c64" providerId="ADAL" clId="{61C78025-9E46-466F-873E-2DF94ED9C4E0}" dt="2023-06-12T09:40:07.844" v="2992"/>
          <ac:spMkLst>
            <pc:docMk/>
            <pc:sldMk cId="260463268" sldId="2147473770"/>
            <ac:spMk id="6" creationId="{787D0E6B-D589-01B3-A6E4-63C68B64DD65}"/>
          </ac:spMkLst>
        </pc:spChg>
        <pc:spChg chg="mod">
          <ac:chgData name="Uladzimir Litvinau" userId="7c780bef-f8d3-4d23-a35d-3c7004030c64" providerId="ADAL" clId="{61C78025-9E46-466F-873E-2DF94ED9C4E0}" dt="2023-06-13T07:19:32.515" v="6091" actId="20577"/>
          <ac:spMkLst>
            <pc:docMk/>
            <pc:sldMk cId="260463268" sldId="2147473770"/>
            <ac:spMk id="10" creationId="{1F88C411-8C59-AFA3-5C10-11E75FDF9817}"/>
          </ac:spMkLst>
        </pc:spChg>
        <pc:spChg chg="mod">
          <ac:chgData name="Uladzimir Litvinau" userId="7c780bef-f8d3-4d23-a35d-3c7004030c64" providerId="ADAL" clId="{61C78025-9E46-466F-873E-2DF94ED9C4E0}" dt="2023-06-12T09:35:57.823" v="2824" actId="1076"/>
          <ac:spMkLst>
            <pc:docMk/>
            <pc:sldMk cId="260463268" sldId="2147473770"/>
            <ac:spMk id="35" creationId="{5A3D9C85-096D-77E0-F8FF-1459C0ADD876}"/>
          </ac:spMkLst>
        </pc:spChg>
        <pc:spChg chg="mod">
          <ac:chgData name="Uladzimir Litvinau" userId="7c780bef-f8d3-4d23-a35d-3c7004030c64" providerId="ADAL" clId="{61C78025-9E46-466F-873E-2DF94ED9C4E0}" dt="2023-06-12T09:40:07.844" v="2992"/>
          <ac:spMkLst>
            <pc:docMk/>
            <pc:sldMk cId="260463268" sldId="2147473770"/>
            <ac:spMk id="36" creationId="{EF22CD6A-7350-B784-9FA5-1629B4C3CE31}"/>
          </ac:spMkLst>
        </pc:spChg>
        <pc:spChg chg="mod">
          <ac:chgData name="Uladzimir Litvinau" userId="7c780bef-f8d3-4d23-a35d-3c7004030c64" providerId="ADAL" clId="{61C78025-9E46-466F-873E-2DF94ED9C4E0}" dt="2023-06-12T09:40:07.844" v="2992"/>
          <ac:spMkLst>
            <pc:docMk/>
            <pc:sldMk cId="260463268" sldId="2147473770"/>
            <ac:spMk id="39" creationId="{123AC138-EB9B-5AF0-1D25-C569E570C2DA}"/>
          </ac:spMkLst>
        </pc:spChg>
        <pc:spChg chg="mod">
          <ac:chgData name="Uladzimir Litvinau" userId="7c780bef-f8d3-4d23-a35d-3c7004030c64" providerId="ADAL" clId="{61C78025-9E46-466F-873E-2DF94ED9C4E0}" dt="2023-06-12T09:40:07.844" v="2992"/>
          <ac:spMkLst>
            <pc:docMk/>
            <pc:sldMk cId="260463268" sldId="2147473770"/>
            <ac:spMk id="42" creationId="{C888D0DC-3138-63C0-086D-2383C730CE89}"/>
          </ac:spMkLst>
        </pc:spChg>
        <pc:spChg chg="mod">
          <ac:chgData name="Uladzimir Litvinau" userId="7c780bef-f8d3-4d23-a35d-3c7004030c64" providerId="ADAL" clId="{61C78025-9E46-466F-873E-2DF94ED9C4E0}" dt="2023-06-12T09:40:07.844" v="2992"/>
          <ac:spMkLst>
            <pc:docMk/>
            <pc:sldMk cId="260463268" sldId="2147473770"/>
            <ac:spMk id="45" creationId="{B85FC62E-3972-030F-18E0-640C16D623C7}"/>
          </ac:spMkLst>
        </pc:spChg>
        <pc:spChg chg="mod">
          <ac:chgData name="Uladzimir Litvinau" userId="7c780bef-f8d3-4d23-a35d-3c7004030c64" providerId="ADAL" clId="{61C78025-9E46-466F-873E-2DF94ED9C4E0}" dt="2023-06-12T09:40:07.844" v="2992"/>
          <ac:spMkLst>
            <pc:docMk/>
            <pc:sldMk cId="260463268" sldId="2147473770"/>
            <ac:spMk id="48" creationId="{A41BCC08-3034-1F8B-3F21-EECBD65EB641}"/>
          </ac:spMkLst>
        </pc:spChg>
        <pc:spChg chg="mod">
          <ac:chgData name="Uladzimir Litvinau" userId="7c780bef-f8d3-4d23-a35d-3c7004030c64" providerId="ADAL" clId="{61C78025-9E46-466F-873E-2DF94ED9C4E0}" dt="2023-06-12T09:40:07.844" v="2992"/>
          <ac:spMkLst>
            <pc:docMk/>
            <pc:sldMk cId="260463268" sldId="2147473770"/>
            <ac:spMk id="51" creationId="{FE7FEC11-0F04-314D-D4CF-BB326136E17C}"/>
          </ac:spMkLst>
        </pc:spChg>
        <pc:grpChg chg="add mod">
          <ac:chgData name="Uladzimir Litvinau" userId="7c780bef-f8d3-4d23-a35d-3c7004030c64" providerId="ADAL" clId="{61C78025-9E46-466F-873E-2DF94ED9C4E0}" dt="2023-06-12T09:40:11.758" v="2993" actId="1076"/>
          <ac:grpSpMkLst>
            <pc:docMk/>
            <pc:sldMk cId="260463268" sldId="2147473770"/>
            <ac:grpSpMk id="4" creationId="{BB4845E9-5781-3F39-B75A-F8107484E395}"/>
          </ac:grpSpMkLst>
        </pc:grpChg>
        <pc:grpChg chg="add mod">
          <ac:chgData name="Uladzimir Litvinau" userId="7c780bef-f8d3-4d23-a35d-3c7004030c64" providerId="ADAL" clId="{61C78025-9E46-466F-873E-2DF94ED9C4E0}" dt="2023-06-12T09:40:11.758" v="2993" actId="1076"/>
          <ac:grpSpMkLst>
            <pc:docMk/>
            <pc:sldMk cId="260463268" sldId="2147473770"/>
            <ac:grpSpMk id="7" creationId="{84309EC9-FF7E-8DB6-3B0A-F24E5005367D}"/>
          </ac:grpSpMkLst>
        </pc:grpChg>
        <pc:grpChg chg="del mod">
          <ac:chgData name="Uladzimir Litvinau" userId="7c780bef-f8d3-4d23-a35d-3c7004030c64" providerId="ADAL" clId="{61C78025-9E46-466F-873E-2DF94ED9C4E0}" dt="2023-06-12T09:40:07.008" v="2991" actId="478"/>
          <ac:grpSpMkLst>
            <pc:docMk/>
            <pc:sldMk cId="260463268" sldId="2147473770"/>
            <ac:grpSpMk id="11" creationId="{9BF18670-5261-282E-0C25-5799E369490D}"/>
          </ac:grpSpMkLst>
        </pc:grpChg>
        <pc:grpChg chg="del">
          <ac:chgData name="Uladzimir Litvinau" userId="7c780bef-f8d3-4d23-a35d-3c7004030c64" providerId="ADAL" clId="{61C78025-9E46-466F-873E-2DF94ED9C4E0}" dt="2023-06-12T09:40:04.913" v="2988" actId="478"/>
          <ac:grpSpMkLst>
            <pc:docMk/>
            <pc:sldMk cId="260463268" sldId="2147473770"/>
            <ac:grpSpMk id="14" creationId="{FACE4E80-98E4-A8CB-459C-6096FD49CB5A}"/>
          </ac:grpSpMkLst>
        </pc:grpChg>
        <pc:grpChg chg="del mod">
          <ac:chgData name="Uladzimir Litvinau" userId="7c780bef-f8d3-4d23-a35d-3c7004030c64" providerId="ADAL" clId="{61C78025-9E46-466F-873E-2DF94ED9C4E0}" dt="2023-06-12T09:40:05.858" v="2989" actId="478"/>
          <ac:grpSpMkLst>
            <pc:docMk/>
            <pc:sldMk cId="260463268" sldId="2147473770"/>
            <ac:grpSpMk id="17" creationId="{68F561D0-1B63-AB69-7A34-C623B4669EA1}"/>
          </ac:grpSpMkLst>
        </pc:grpChg>
        <pc:grpChg chg="del">
          <ac:chgData name="Uladzimir Litvinau" userId="7c780bef-f8d3-4d23-a35d-3c7004030c64" providerId="ADAL" clId="{61C78025-9E46-466F-873E-2DF94ED9C4E0}" dt="2023-06-12T09:40:04.913" v="2988" actId="478"/>
          <ac:grpSpMkLst>
            <pc:docMk/>
            <pc:sldMk cId="260463268" sldId="2147473770"/>
            <ac:grpSpMk id="20" creationId="{076944A8-4F78-3A8D-212D-0237BC3762D6}"/>
          </ac:grpSpMkLst>
        </pc:grpChg>
        <pc:grpChg chg="del">
          <ac:chgData name="Uladzimir Litvinau" userId="7c780bef-f8d3-4d23-a35d-3c7004030c64" providerId="ADAL" clId="{61C78025-9E46-466F-873E-2DF94ED9C4E0}" dt="2023-06-12T09:40:04.913" v="2988" actId="478"/>
          <ac:grpSpMkLst>
            <pc:docMk/>
            <pc:sldMk cId="260463268" sldId="2147473770"/>
            <ac:grpSpMk id="23" creationId="{7564D39A-EF57-FD89-7EE9-D73A6D62FB05}"/>
          </ac:grpSpMkLst>
        </pc:grpChg>
        <pc:grpChg chg="del mod">
          <ac:chgData name="Uladzimir Litvinau" userId="7c780bef-f8d3-4d23-a35d-3c7004030c64" providerId="ADAL" clId="{61C78025-9E46-466F-873E-2DF94ED9C4E0}" dt="2023-06-12T09:40:04.913" v="2988" actId="478"/>
          <ac:grpSpMkLst>
            <pc:docMk/>
            <pc:sldMk cId="260463268" sldId="2147473770"/>
            <ac:grpSpMk id="26" creationId="{E746DCCF-018F-2525-7889-0C686CBFFD1D}"/>
          </ac:grpSpMkLst>
        </pc:grpChg>
        <pc:grpChg chg="del mod">
          <ac:chgData name="Uladzimir Litvinau" userId="7c780bef-f8d3-4d23-a35d-3c7004030c64" providerId="ADAL" clId="{61C78025-9E46-466F-873E-2DF94ED9C4E0}" dt="2023-06-12T09:40:06.642" v="2990" actId="478"/>
          <ac:grpSpMkLst>
            <pc:docMk/>
            <pc:sldMk cId="260463268" sldId="2147473770"/>
            <ac:grpSpMk id="29" creationId="{4AAE67AA-8E7B-22D4-DD57-BAF4E8363FC8}"/>
          </ac:grpSpMkLst>
        </pc:grpChg>
        <pc:grpChg chg="add mod">
          <ac:chgData name="Uladzimir Litvinau" userId="7c780bef-f8d3-4d23-a35d-3c7004030c64" providerId="ADAL" clId="{61C78025-9E46-466F-873E-2DF94ED9C4E0}" dt="2023-06-12T09:40:11.758" v="2993" actId="1076"/>
          <ac:grpSpMkLst>
            <pc:docMk/>
            <pc:sldMk cId="260463268" sldId="2147473770"/>
            <ac:grpSpMk id="37" creationId="{15401A2B-13DF-F884-07EA-990F72A86F8E}"/>
          </ac:grpSpMkLst>
        </pc:grpChg>
        <pc:grpChg chg="add mod">
          <ac:chgData name="Uladzimir Litvinau" userId="7c780bef-f8d3-4d23-a35d-3c7004030c64" providerId="ADAL" clId="{61C78025-9E46-466F-873E-2DF94ED9C4E0}" dt="2023-06-12T09:40:11.758" v="2993" actId="1076"/>
          <ac:grpSpMkLst>
            <pc:docMk/>
            <pc:sldMk cId="260463268" sldId="2147473770"/>
            <ac:grpSpMk id="40" creationId="{B0B1EFE6-25B8-46DF-22EF-47268626D5DA}"/>
          </ac:grpSpMkLst>
        </pc:grpChg>
        <pc:grpChg chg="add mod">
          <ac:chgData name="Uladzimir Litvinau" userId="7c780bef-f8d3-4d23-a35d-3c7004030c64" providerId="ADAL" clId="{61C78025-9E46-466F-873E-2DF94ED9C4E0}" dt="2023-06-12T09:40:11.758" v="2993" actId="1076"/>
          <ac:grpSpMkLst>
            <pc:docMk/>
            <pc:sldMk cId="260463268" sldId="2147473770"/>
            <ac:grpSpMk id="43" creationId="{D57BE348-96F4-A86B-766A-69EE3A26BD5F}"/>
          </ac:grpSpMkLst>
        </pc:grpChg>
        <pc:grpChg chg="add mod">
          <ac:chgData name="Uladzimir Litvinau" userId="7c780bef-f8d3-4d23-a35d-3c7004030c64" providerId="ADAL" clId="{61C78025-9E46-466F-873E-2DF94ED9C4E0}" dt="2023-06-12T09:40:11.758" v="2993" actId="1076"/>
          <ac:grpSpMkLst>
            <pc:docMk/>
            <pc:sldMk cId="260463268" sldId="2147473770"/>
            <ac:grpSpMk id="46" creationId="{3EA658B8-54F8-A019-9430-44555FE20C4C}"/>
          </ac:grpSpMkLst>
        </pc:grpChg>
        <pc:grpChg chg="add mod">
          <ac:chgData name="Uladzimir Litvinau" userId="7c780bef-f8d3-4d23-a35d-3c7004030c64" providerId="ADAL" clId="{61C78025-9E46-466F-873E-2DF94ED9C4E0}" dt="2023-06-12T09:40:11.758" v="2993" actId="1076"/>
          <ac:grpSpMkLst>
            <pc:docMk/>
            <pc:sldMk cId="260463268" sldId="2147473770"/>
            <ac:grpSpMk id="49" creationId="{2328E9C9-E83C-362D-F6D2-A69E23B0BBA1}"/>
          </ac:grpSpMkLst>
        </pc:grpChg>
        <pc:picChg chg="mod">
          <ac:chgData name="Uladzimir Litvinau" userId="7c780bef-f8d3-4d23-a35d-3c7004030c64" providerId="ADAL" clId="{61C78025-9E46-466F-873E-2DF94ED9C4E0}" dt="2023-06-12T09:40:07.844" v="2992"/>
          <ac:picMkLst>
            <pc:docMk/>
            <pc:sldMk cId="260463268" sldId="2147473770"/>
            <ac:picMk id="5" creationId="{551DFBEF-7F97-AFC6-553C-1B3BBF9FFF2B}"/>
          </ac:picMkLst>
        </pc:picChg>
        <pc:picChg chg="mod">
          <ac:chgData name="Uladzimir Litvinau" userId="7c780bef-f8d3-4d23-a35d-3c7004030c64" providerId="ADAL" clId="{61C78025-9E46-466F-873E-2DF94ED9C4E0}" dt="2023-06-12T09:40:07.844" v="2992"/>
          <ac:picMkLst>
            <pc:docMk/>
            <pc:sldMk cId="260463268" sldId="2147473770"/>
            <ac:picMk id="9" creationId="{38E0BDAB-5373-19C6-6F91-35D85857A5DD}"/>
          </ac:picMkLst>
        </pc:picChg>
        <pc:picChg chg="mod">
          <ac:chgData name="Uladzimir Litvinau" userId="7c780bef-f8d3-4d23-a35d-3c7004030c64" providerId="ADAL" clId="{61C78025-9E46-466F-873E-2DF94ED9C4E0}" dt="2023-06-12T09:40:07.844" v="2992"/>
          <ac:picMkLst>
            <pc:docMk/>
            <pc:sldMk cId="260463268" sldId="2147473770"/>
            <ac:picMk id="38" creationId="{18881A4B-8FB3-CD52-49B2-C568CC61DE34}"/>
          </ac:picMkLst>
        </pc:picChg>
        <pc:picChg chg="mod">
          <ac:chgData name="Uladzimir Litvinau" userId="7c780bef-f8d3-4d23-a35d-3c7004030c64" providerId="ADAL" clId="{61C78025-9E46-466F-873E-2DF94ED9C4E0}" dt="2023-06-12T09:40:07.844" v="2992"/>
          <ac:picMkLst>
            <pc:docMk/>
            <pc:sldMk cId="260463268" sldId="2147473770"/>
            <ac:picMk id="41" creationId="{5D679CD3-BC09-9870-C144-64E4120FF3EE}"/>
          </ac:picMkLst>
        </pc:picChg>
        <pc:picChg chg="mod">
          <ac:chgData name="Uladzimir Litvinau" userId="7c780bef-f8d3-4d23-a35d-3c7004030c64" providerId="ADAL" clId="{61C78025-9E46-466F-873E-2DF94ED9C4E0}" dt="2023-06-12T09:40:07.844" v="2992"/>
          <ac:picMkLst>
            <pc:docMk/>
            <pc:sldMk cId="260463268" sldId="2147473770"/>
            <ac:picMk id="44" creationId="{74801FF4-2909-3002-3F91-24C62642132B}"/>
          </ac:picMkLst>
        </pc:picChg>
        <pc:picChg chg="mod">
          <ac:chgData name="Uladzimir Litvinau" userId="7c780bef-f8d3-4d23-a35d-3c7004030c64" providerId="ADAL" clId="{61C78025-9E46-466F-873E-2DF94ED9C4E0}" dt="2023-06-12T09:40:07.844" v="2992"/>
          <ac:picMkLst>
            <pc:docMk/>
            <pc:sldMk cId="260463268" sldId="2147473770"/>
            <ac:picMk id="47" creationId="{7F723980-9F86-DB0F-2C39-652042288F24}"/>
          </ac:picMkLst>
        </pc:picChg>
        <pc:picChg chg="mod">
          <ac:chgData name="Uladzimir Litvinau" userId="7c780bef-f8d3-4d23-a35d-3c7004030c64" providerId="ADAL" clId="{61C78025-9E46-466F-873E-2DF94ED9C4E0}" dt="2023-06-12T09:40:07.844" v="2992"/>
          <ac:picMkLst>
            <pc:docMk/>
            <pc:sldMk cId="260463268" sldId="2147473770"/>
            <ac:picMk id="50" creationId="{7664D971-33C2-298C-5CDD-B8E9723F4675}"/>
          </ac:picMkLst>
        </pc:picChg>
      </pc:sldChg>
      <pc:sldChg chg="modSp add mod modTransition modNotesTx">
        <pc:chgData name="Uladzimir Litvinau" userId="7c780bef-f8d3-4d23-a35d-3c7004030c64" providerId="ADAL" clId="{61C78025-9E46-466F-873E-2DF94ED9C4E0}" dt="2023-06-14T10:10:05.986" v="10241" actId="20577"/>
        <pc:sldMkLst>
          <pc:docMk/>
          <pc:sldMk cId="1416403245" sldId="2147473771"/>
        </pc:sldMkLst>
        <pc:spChg chg="mod">
          <ac:chgData name="Uladzimir Litvinau" userId="7c780bef-f8d3-4d23-a35d-3c7004030c64" providerId="ADAL" clId="{61C78025-9E46-466F-873E-2DF94ED9C4E0}" dt="2023-06-12T09:42:28.847" v="3105"/>
          <ac:spMkLst>
            <pc:docMk/>
            <pc:sldMk cId="1416403245" sldId="2147473771"/>
            <ac:spMk id="2" creationId="{EE3E7B12-94E5-1E8A-9A20-C930CC8426EB}"/>
          </ac:spMkLst>
        </pc:spChg>
        <pc:spChg chg="mod">
          <ac:chgData name="Uladzimir Litvinau" userId="7c780bef-f8d3-4d23-a35d-3c7004030c64" providerId="ADAL" clId="{61C78025-9E46-466F-873E-2DF94ED9C4E0}" dt="2023-06-12T09:41:39.041" v="3085"/>
          <ac:spMkLst>
            <pc:docMk/>
            <pc:sldMk cId="1416403245" sldId="2147473771"/>
            <ac:spMk id="10" creationId="{1F88C411-8C59-AFA3-5C10-11E75FDF9817}"/>
          </ac:spMkLst>
        </pc:spChg>
      </pc:sldChg>
      <pc:sldChg chg="modSp add mod modTransition modNotesTx">
        <pc:chgData name="Uladzimir Litvinau" userId="7c780bef-f8d3-4d23-a35d-3c7004030c64" providerId="ADAL" clId="{61C78025-9E46-466F-873E-2DF94ED9C4E0}" dt="2023-06-12T12:05:21.534" v="5027"/>
        <pc:sldMkLst>
          <pc:docMk/>
          <pc:sldMk cId="155552058" sldId="2147473772"/>
        </pc:sldMkLst>
        <pc:spChg chg="mod">
          <ac:chgData name="Uladzimir Litvinau" userId="7c780bef-f8d3-4d23-a35d-3c7004030c64" providerId="ADAL" clId="{61C78025-9E46-466F-873E-2DF94ED9C4E0}" dt="2023-06-12T09:43:08.861" v="3113"/>
          <ac:spMkLst>
            <pc:docMk/>
            <pc:sldMk cId="155552058" sldId="2147473772"/>
            <ac:spMk id="2" creationId="{EE3E7B12-94E5-1E8A-9A20-C930CC8426EB}"/>
          </ac:spMkLst>
        </pc:spChg>
        <pc:spChg chg="mod">
          <ac:chgData name="Uladzimir Litvinau" userId="7c780bef-f8d3-4d23-a35d-3c7004030c64" providerId="ADAL" clId="{61C78025-9E46-466F-873E-2DF94ED9C4E0}" dt="2023-06-12T09:41:53.597" v="3092" actId="20577"/>
          <ac:spMkLst>
            <pc:docMk/>
            <pc:sldMk cId="155552058" sldId="2147473772"/>
            <ac:spMk id="10" creationId="{1F88C411-8C59-AFA3-5C10-11E75FDF9817}"/>
          </ac:spMkLst>
        </pc:spChg>
      </pc:sldChg>
      <pc:sldChg chg="modSp add mod modTransition modNotesTx">
        <pc:chgData name="Uladzimir Litvinau" userId="7c780bef-f8d3-4d23-a35d-3c7004030c64" providerId="ADAL" clId="{61C78025-9E46-466F-873E-2DF94ED9C4E0}" dt="2023-06-13T09:45:07.612" v="7525" actId="20577"/>
        <pc:sldMkLst>
          <pc:docMk/>
          <pc:sldMk cId="3332678650" sldId="2147473773"/>
        </pc:sldMkLst>
        <pc:spChg chg="mod">
          <ac:chgData name="Uladzimir Litvinau" userId="7c780bef-f8d3-4d23-a35d-3c7004030c64" providerId="ADAL" clId="{61C78025-9E46-466F-873E-2DF94ED9C4E0}" dt="2023-06-12T11:33:54.016" v="4396" actId="20577"/>
          <ac:spMkLst>
            <pc:docMk/>
            <pc:sldMk cId="3332678650" sldId="2147473773"/>
            <ac:spMk id="2" creationId="{EE3E7B12-94E5-1E8A-9A20-C930CC8426EB}"/>
          </ac:spMkLst>
        </pc:spChg>
        <pc:spChg chg="mod">
          <ac:chgData name="Uladzimir Litvinau" userId="7c780bef-f8d3-4d23-a35d-3c7004030c64" providerId="ADAL" clId="{61C78025-9E46-466F-873E-2DF94ED9C4E0}" dt="2023-06-12T09:42:00.496" v="3095" actId="20577"/>
          <ac:spMkLst>
            <pc:docMk/>
            <pc:sldMk cId="3332678650" sldId="2147473773"/>
            <ac:spMk id="10" creationId="{1F88C411-8C59-AFA3-5C10-11E75FDF9817}"/>
          </ac:spMkLst>
        </pc:spChg>
      </pc:sldChg>
      <pc:sldChg chg="modSp add mod modTransition modNotesTx">
        <pc:chgData name="Uladzimir Litvinau" userId="7c780bef-f8d3-4d23-a35d-3c7004030c64" providerId="ADAL" clId="{61C78025-9E46-466F-873E-2DF94ED9C4E0}" dt="2023-06-13T09:45:25.918" v="7549" actId="20577"/>
        <pc:sldMkLst>
          <pc:docMk/>
          <pc:sldMk cId="1619210280" sldId="2147473774"/>
        </pc:sldMkLst>
        <pc:spChg chg="mod">
          <ac:chgData name="Uladzimir Litvinau" userId="7c780bef-f8d3-4d23-a35d-3c7004030c64" providerId="ADAL" clId="{61C78025-9E46-466F-873E-2DF94ED9C4E0}" dt="2023-06-12T11:39:43.099" v="4465" actId="20577"/>
          <ac:spMkLst>
            <pc:docMk/>
            <pc:sldMk cId="1619210280" sldId="2147473774"/>
            <ac:spMk id="2" creationId="{EE3E7B12-94E5-1E8A-9A20-C930CC8426EB}"/>
          </ac:spMkLst>
        </pc:spChg>
        <pc:spChg chg="mod">
          <ac:chgData name="Uladzimir Litvinau" userId="7c780bef-f8d3-4d23-a35d-3c7004030c64" providerId="ADAL" clId="{61C78025-9E46-466F-873E-2DF94ED9C4E0}" dt="2023-06-12T11:34:18.808" v="4408"/>
          <ac:spMkLst>
            <pc:docMk/>
            <pc:sldMk cId="1619210280" sldId="2147473774"/>
            <ac:spMk id="10" creationId="{1F88C411-8C59-AFA3-5C10-11E75FDF9817}"/>
          </ac:spMkLst>
        </pc:spChg>
      </pc:sldChg>
      <pc:sldChg chg="modSp add mod modTransition">
        <pc:chgData name="Uladzimir Litvinau" userId="7c780bef-f8d3-4d23-a35d-3c7004030c64" providerId="ADAL" clId="{61C78025-9E46-466F-873E-2DF94ED9C4E0}" dt="2023-06-12T12:05:21.534" v="5027"/>
        <pc:sldMkLst>
          <pc:docMk/>
          <pc:sldMk cId="2379865670" sldId="2147473775"/>
        </pc:sldMkLst>
        <pc:spChg chg="mod">
          <ac:chgData name="Uladzimir Litvinau" userId="7c780bef-f8d3-4d23-a35d-3c7004030c64" providerId="ADAL" clId="{61C78025-9E46-466F-873E-2DF94ED9C4E0}" dt="2023-06-12T11:40:42.544" v="4480"/>
          <ac:spMkLst>
            <pc:docMk/>
            <pc:sldMk cId="2379865670" sldId="2147473775"/>
            <ac:spMk id="2" creationId="{EE3E7B12-94E5-1E8A-9A20-C930CC8426EB}"/>
          </ac:spMkLst>
        </pc:spChg>
        <pc:spChg chg="mod">
          <ac:chgData name="Uladzimir Litvinau" userId="7c780bef-f8d3-4d23-a35d-3c7004030c64" providerId="ADAL" clId="{61C78025-9E46-466F-873E-2DF94ED9C4E0}" dt="2023-06-12T11:40:06.824" v="4470"/>
          <ac:spMkLst>
            <pc:docMk/>
            <pc:sldMk cId="2379865670" sldId="2147473775"/>
            <ac:spMk id="10" creationId="{1F88C411-8C59-AFA3-5C10-11E75FDF9817}"/>
          </ac:spMkLst>
        </pc:spChg>
      </pc:sldChg>
      <pc:sldChg chg="modSp add mod modTransition">
        <pc:chgData name="Uladzimir Litvinau" userId="7c780bef-f8d3-4d23-a35d-3c7004030c64" providerId="ADAL" clId="{61C78025-9E46-466F-873E-2DF94ED9C4E0}" dt="2023-06-12T12:05:21.534" v="5027"/>
        <pc:sldMkLst>
          <pc:docMk/>
          <pc:sldMk cId="1941243125" sldId="2147473776"/>
        </pc:sldMkLst>
        <pc:spChg chg="mod">
          <ac:chgData name="Uladzimir Litvinau" userId="7c780bef-f8d3-4d23-a35d-3c7004030c64" providerId="ADAL" clId="{61C78025-9E46-466F-873E-2DF94ED9C4E0}" dt="2023-06-12T11:41:23.564" v="4492" actId="20577"/>
          <ac:spMkLst>
            <pc:docMk/>
            <pc:sldMk cId="1941243125" sldId="2147473776"/>
            <ac:spMk id="2" creationId="{EE3E7B12-94E5-1E8A-9A20-C930CC8426EB}"/>
          </ac:spMkLst>
        </pc:spChg>
        <pc:spChg chg="mod">
          <ac:chgData name="Uladzimir Litvinau" userId="7c780bef-f8d3-4d23-a35d-3c7004030c64" providerId="ADAL" clId="{61C78025-9E46-466F-873E-2DF94ED9C4E0}" dt="2023-06-12T11:41:03.418" v="4483"/>
          <ac:spMkLst>
            <pc:docMk/>
            <pc:sldMk cId="1941243125" sldId="2147473776"/>
            <ac:spMk id="10" creationId="{1F88C411-8C59-AFA3-5C10-11E75FDF9817}"/>
          </ac:spMkLst>
        </pc:spChg>
      </pc:sldChg>
      <pc:sldChg chg="modSp add mod modTransition">
        <pc:chgData name="Uladzimir Litvinau" userId="7c780bef-f8d3-4d23-a35d-3c7004030c64" providerId="ADAL" clId="{61C78025-9E46-466F-873E-2DF94ED9C4E0}" dt="2023-06-12T12:05:21.534" v="5027"/>
        <pc:sldMkLst>
          <pc:docMk/>
          <pc:sldMk cId="3028625648" sldId="2147473777"/>
        </pc:sldMkLst>
        <pc:spChg chg="mod">
          <ac:chgData name="Uladzimir Litvinau" userId="7c780bef-f8d3-4d23-a35d-3c7004030c64" providerId="ADAL" clId="{61C78025-9E46-466F-873E-2DF94ED9C4E0}" dt="2023-06-12T11:43:07.427" v="4508"/>
          <ac:spMkLst>
            <pc:docMk/>
            <pc:sldMk cId="3028625648" sldId="2147473777"/>
            <ac:spMk id="2" creationId="{EE3E7B12-94E5-1E8A-9A20-C930CC8426EB}"/>
          </ac:spMkLst>
        </pc:spChg>
        <pc:spChg chg="mod">
          <ac:chgData name="Uladzimir Litvinau" userId="7c780bef-f8d3-4d23-a35d-3c7004030c64" providerId="ADAL" clId="{61C78025-9E46-466F-873E-2DF94ED9C4E0}" dt="2023-06-12T11:42:06.578" v="4499" actId="14100"/>
          <ac:spMkLst>
            <pc:docMk/>
            <pc:sldMk cId="3028625648" sldId="2147473777"/>
            <ac:spMk id="10" creationId="{1F88C411-8C59-AFA3-5C10-11E75FDF9817}"/>
          </ac:spMkLst>
        </pc:spChg>
      </pc:sldChg>
      <pc:sldChg chg="modSp add mod modTransition">
        <pc:chgData name="Uladzimir Litvinau" userId="7c780bef-f8d3-4d23-a35d-3c7004030c64" providerId="ADAL" clId="{61C78025-9E46-466F-873E-2DF94ED9C4E0}" dt="2023-06-12T12:05:21.534" v="5027"/>
        <pc:sldMkLst>
          <pc:docMk/>
          <pc:sldMk cId="2890595070" sldId="2147473778"/>
        </pc:sldMkLst>
        <pc:spChg chg="mod">
          <ac:chgData name="Uladzimir Litvinau" userId="7c780bef-f8d3-4d23-a35d-3c7004030c64" providerId="ADAL" clId="{61C78025-9E46-466F-873E-2DF94ED9C4E0}" dt="2023-06-12T11:47:41.623" v="4523" actId="20577"/>
          <ac:spMkLst>
            <pc:docMk/>
            <pc:sldMk cId="2890595070" sldId="2147473778"/>
            <ac:spMk id="2" creationId="{EE3E7B12-94E5-1E8A-9A20-C930CC8426EB}"/>
          </ac:spMkLst>
        </pc:spChg>
        <pc:spChg chg="mod">
          <ac:chgData name="Uladzimir Litvinau" userId="7c780bef-f8d3-4d23-a35d-3c7004030c64" providerId="ADAL" clId="{61C78025-9E46-466F-873E-2DF94ED9C4E0}" dt="2023-06-12T11:43:23.303" v="4512" actId="14100"/>
          <ac:spMkLst>
            <pc:docMk/>
            <pc:sldMk cId="2890595070" sldId="2147473778"/>
            <ac:spMk id="10" creationId="{1F88C411-8C59-AFA3-5C10-11E75FDF9817}"/>
          </ac:spMkLst>
        </pc:spChg>
      </pc:sldChg>
      <pc:sldChg chg="modSp add mod modTransition">
        <pc:chgData name="Uladzimir Litvinau" userId="7c780bef-f8d3-4d23-a35d-3c7004030c64" providerId="ADAL" clId="{61C78025-9E46-466F-873E-2DF94ED9C4E0}" dt="2023-06-12T12:05:21.534" v="5027"/>
        <pc:sldMkLst>
          <pc:docMk/>
          <pc:sldMk cId="3169304169" sldId="2147473779"/>
        </pc:sldMkLst>
        <pc:spChg chg="mod">
          <ac:chgData name="Uladzimir Litvinau" userId="7c780bef-f8d3-4d23-a35d-3c7004030c64" providerId="ADAL" clId="{61C78025-9E46-466F-873E-2DF94ED9C4E0}" dt="2023-06-12T11:48:54.501" v="4536"/>
          <ac:spMkLst>
            <pc:docMk/>
            <pc:sldMk cId="3169304169" sldId="2147473779"/>
            <ac:spMk id="2" creationId="{EE3E7B12-94E5-1E8A-9A20-C930CC8426EB}"/>
          </ac:spMkLst>
        </pc:spChg>
        <pc:spChg chg="mod">
          <ac:chgData name="Uladzimir Litvinau" userId="7c780bef-f8d3-4d23-a35d-3c7004030c64" providerId="ADAL" clId="{61C78025-9E46-466F-873E-2DF94ED9C4E0}" dt="2023-06-12T11:48:17.868" v="4527"/>
          <ac:spMkLst>
            <pc:docMk/>
            <pc:sldMk cId="3169304169" sldId="2147473779"/>
            <ac:spMk id="10" creationId="{1F88C411-8C59-AFA3-5C10-11E75FDF9817}"/>
          </ac:spMkLst>
        </pc:spChg>
      </pc:sldChg>
      <pc:sldChg chg="modSp add mod modTransition modNotesTx">
        <pc:chgData name="Uladzimir Litvinau" userId="7c780bef-f8d3-4d23-a35d-3c7004030c64" providerId="ADAL" clId="{61C78025-9E46-466F-873E-2DF94ED9C4E0}" dt="2023-06-12T12:05:21.534" v="5027"/>
        <pc:sldMkLst>
          <pc:docMk/>
          <pc:sldMk cId="4245322407" sldId="2147473780"/>
        </pc:sldMkLst>
        <pc:spChg chg="mod">
          <ac:chgData name="Uladzimir Litvinau" userId="7c780bef-f8d3-4d23-a35d-3c7004030c64" providerId="ADAL" clId="{61C78025-9E46-466F-873E-2DF94ED9C4E0}" dt="2023-06-12T11:50:14.095" v="4552"/>
          <ac:spMkLst>
            <pc:docMk/>
            <pc:sldMk cId="4245322407" sldId="2147473780"/>
            <ac:spMk id="2" creationId="{EE3E7B12-94E5-1E8A-9A20-C930CC8426EB}"/>
          </ac:spMkLst>
        </pc:spChg>
        <pc:spChg chg="mod">
          <ac:chgData name="Uladzimir Litvinau" userId="7c780bef-f8d3-4d23-a35d-3c7004030c64" providerId="ADAL" clId="{61C78025-9E46-466F-873E-2DF94ED9C4E0}" dt="2023-06-12T11:49:30.510" v="4540"/>
          <ac:spMkLst>
            <pc:docMk/>
            <pc:sldMk cId="4245322407" sldId="2147473780"/>
            <ac:spMk id="10" creationId="{1F88C411-8C59-AFA3-5C10-11E75FDF9817}"/>
          </ac:spMkLst>
        </pc:spChg>
      </pc:sldChg>
      <pc:sldChg chg="modSp add mod modTransition modNotesTx">
        <pc:chgData name="Uladzimir Litvinau" userId="7c780bef-f8d3-4d23-a35d-3c7004030c64" providerId="ADAL" clId="{61C78025-9E46-466F-873E-2DF94ED9C4E0}" dt="2023-06-12T12:05:21.534" v="5027"/>
        <pc:sldMkLst>
          <pc:docMk/>
          <pc:sldMk cId="2343442935" sldId="2147473781"/>
        </pc:sldMkLst>
        <pc:spChg chg="mod">
          <ac:chgData name="Uladzimir Litvinau" userId="7c780bef-f8d3-4d23-a35d-3c7004030c64" providerId="ADAL" clId="{61C78025-9E46-466F-873E-2DF94ED9C4E0}" dt="2023-06-12T11:52:11.417" v="4669"/>
          <ac:spMkLst>
            <pc:docMk/>
            <pc:sldMk cId="2343442935" sldId="2147473781"/>
            <ac:spMk id="2" creationId="{EE3E7B12-94E5-1E8A-9A20-C930CC8426EB}"/>
          </ac:spMkLst>
        </pc:spChg>
        <pc:spChg chg="mod">
          <ac:chgData name="Uladzimir Litvinau" userId="7c780bef-f8d3-4d23-a35d-3c7004030c64" providerId="ADAL" clId="{61C78025-9E46-466F-873E-2DF94ED9C4E0}" dt="2023-06-12T11:51:36.296" v="4662"/>
          <ac:spMkLst>
            <pc:docMk/>
            <pc:sldMk cId="2343442935" sldId="2147473781"/>
            <ac:spMk id="10" creationId="{1F88C411-8C59-AFA3-5C10-11E75FDF9817}"/>
          </ac:spMkLst>
        </pc:spChg>
      </pc:sldChg>
      <pc:sldChg chg="modSp add mod modTransition">
        <pc:chgData name="Uladzimir Litvinau" userId="7c780bef-f8d3-4d23-a35d-3c7004030c64" providerId="ADAL" clId="{61C78025-9E46-466F-873E-2DF94ED9C4E0}" dt="2023-06-13T07:23:42.088" v="6118" actId="20577"/>
        <pc:sldMkLst>
          <pc:docMk/>
          <pc:sldMk cId="3805640432" sldId="2147473782"/>
        </pc:sldMkLst>
        <pc:spChg chg="mod">
          <ac:chgData name="Uladzimir Litvinau" userId="7c780bef-f8d3-4d23-a35d-3c7004030c64" providerId="ADAL" clId="{61C78025-9E46-466F-873E-2DF94ED9C4E0}" dt="2023-06-13T07:23:42.088" v="6118" actId="20577"/>
          <ac:spMkLst>
            <pc:docMk/>
            <pc:sldMk cId="3805640432" sldId="2147473782"/>
            <ac:spMk id="2" creationId="{EE3E7B12-94E5-1E8A-9A20-C930CC8426EB}"/>
          </ac:spMkLst>
        </pc:spChg>
        <pc:spChg chg="mod">
          <ac:chgData name="Uladzimir Litvinau" userId="7c780bef-f8d3-4d23-a35d-3c7004030c64" providerId="ADAL" clId="{61C78025-9E46-466F-873E-2DF94ED9C4E0}" dt="2023-06-12T11:53:29.669" v="4808" actId="20577"/>
          <ac:spMkLst>
            <pc:docMk/>
            <pc:sldMk cId="3805640432" sldId="2147473782"/>
            <ac:spMk id="10" creationId="{1F88C411-8C59-AFA3-5C10-11E75FDF9817}"/>
          </ac:spMkLst>
        </pc:spChg>
      </pc:sldChg>
      <pc:sldChg chg="modSp add del mod modTransition">
        <pc:chgData name="Uladzimir Litvinau" userId="7c780bef-f8d3-4d23-a35d-3c7004030c64" providerId="ADAL" clId="{61C78025-9E46-466F-873E-2DF94ED9C4E0}" dt="2023-06-13T07:22:13.391" v="6097"/>
        <pc:sldMkLst>
          <pc:docMk/>
          <pc:sldMk cId="3173873053" sldId="2147473783"/>
        </pc:sldMkLst>
        <pc:spChg chg="mod">
          <ac:chgData name="Uladzimir Litvinau" userId="7c780bef-f8d3-4d23-a35d-3c7004030c64" providerId="ADAL" clId="{61C78025-9E46-466F-873E-2DF94ED9C4E0}" dt="2023-06-13T07:22:13.391" v="6097"/>
          <ac:spMkLst>
            <pc:docMk/>
            <pc:sldMk cId="3173873053" sldId="2147473783"/>
            <ac:spMk id="2" creationId="{EE3E7B12-94E5-1E8A-9A20-C930CC8426EB}"/>
          </ac:spMkLst>
        </pc:spChg>
        <pc:spChg chg="mod">
          <ac:chgData name="Uladzimir Litvinau" userId="7c780bef-f8d3-4d23-a35d-3c7004030c64" providerId="ADAL" clId="{61C78025-9E46-466F-873E-2DF94ED9C4E0}" dt="2023-06-12T11:54:17.305" v="4829"/>
          <ac:spMkLst>
            <pc:docMk/>
            <pc:sldMk cId="3173873053" sldId="2147473783"/>
            <ac:spMk id="10" creationId="{1F88C411-8C59-AFA3-5C10-11E75FDF9817}"/>
          </ac:spMkLst>
        </pc:spChg>
      </pc:sldChg>
      <pc:sldChg chg="modSp add mod modTransition">
        <pc:chgData name="Uladzimir Litvinau" userId="7c780bef-f8d3-4d23-a35d-3c7004030c64" providerId="ADAL" clId="{61C78025-9E46-466F-873E-2DF94ED9C4E0}" dt="2023-06-12T12:05:21.534" v="5027"/>
        <pc:sldMkLst>
          <pc:docMk/>
          <pc:sldMk cId="317305034" sldId="2147473784"/>
        </pc:sldMkLst>
        <pc:spChg chg="mod">
          <ac:chgData name="Uladzimir Litvinau" userId="7c780bef-f8d3-4d23-a35d-3c7004030c64" providerId="ADAL" clId="{61C78025-9E46-466F-873E-2DF94ED9C4E0}" dt="2023-06-12T11:57:02.578" v="4883"/>
          <ac:spMkLst>
            <pc:docMk/>
            <pc:sldMk cId="317305034" sldId="2147473784"/>
            <ac:spMk id="2" creationId="{EE3E7B12-94E5-1E8A-9A20-C930CC8426EB}"/>
          </ac:spMkLst>
        </pc:spChg>
        <pc:spChg chg="mod">
          <ac:chgData name="Uladzimir Litvinau" userId="7c780bef-f8d3-4d23-a35d-3c7004030c64" providerId="ADAL" clId="{61C78025-9E46-466F-873E-2DF94ED9C4E0}" dt="2023-06-12T11:56:24.933" v="4876" actId="20577"/>
          <ac:spMkLst>
            <pc:docMk/>
            <pc:sldMk cId="317305034" sldId="2147473784"/>
            <ac:spMk id="10" creationId="{1F88C411-8C59-AFA3-5C10-11E75FDF9817}"/>
          </ac:spMkLst>
        </pc:spChg>
      </pc:sldChg>
      <pc:sldChg chg="delSp modSp add mod modTransition modNotesTx">
        <pc:chgData name="Uladzimir Litvinau" userId="7c780bef-f8d3-4d23-a35d-3c7004030c64" providerId="ADAL" clId="{61C78025-9E46-466F-873E-2DF94ED9C4E0}" dt="2023-06-14T11:15:02.232" v="10936" actId="20577"/>
        <pc:sldMkLst>
          <pc:docMk/>
          <pc:sldMk cId="862857461" sldId="2147473785"/>
        </pc:sldMkLst>
        <pc:spChg chg="mod">
          <ac:chgData name="Uladzimir Litvinau" userId="7c780bef-f8d3-4d23-a35d-3c7004030c64" providerId="ADAL" clId="{61C78025-9E46-466F-873E-2DF94ED9C4E0}" dt="2023-06-12T12:00:27.766" v="4979" actId="20577"/>
          <ac:spMkLst>
            <pc:docMk/>
            <pc:sldMk cId="862857461" sldId="2147473785"/>
            <ac:spMk id="3" creationId="{7FE0072B-F5BB-B847-8290-F50BF0BBDDEE}"/>
          </ac:spMkLst>
        </pc:spChg>
        <pc:spChg chg="mod">
          <ac:chgData name="Uladzimir Litvinau" userId="7c780bef-f8d3-4d23-a35d-3c7004030c64" providerId="ADAL" clId="{61C78025-9E46-466F-873E-2DF94ED9C4E0}" dt="2023-06-12T12:06:56.459" v="5030" actId="20577"/>
          <ac:spMkLst>
            <pc:docMk/>
            <pc:sldMk cId="862857461" sldId="2147473785"/>
            <ac:spMk id="9" creationId="{62F09D45-D9C9-DC4A-B5E8-1951F8CB1E58}"/>
          </ac:spMkLst>
        </pc:spChg>
        <pc:spChg chg="del">
          <ac:chgData name="Uladzimir Litvinau" userId="7c780bef-f8d3-4d23-a35d-3c7004030c64" providerId="ADAL" clId="{61C78025-9E46-466F-873E-2DF94ED9C4E0}" dt="2023-06-13T07:04:14.747" v="5922" actId="478"/>
          <ac:spMkLst>
            <pc:docMk/>
            <pc:sldMk cId="862857461" sldId="2147473785"/>
            <ac:spMk id="10" creationId="{F72D9C00-F666-22A7-4AA5-3EE636BD331B}"/>
          </ac:spMkLst>
        </pc:spChg>
      </pc:sldChg>
      <pc:sldChg chg="delSp modSp add mod ord">
        <pc:chgData name="Uladzimir Litvinau" userId="7c780bef-f8d3-4d23-a35d-3c7004030c64" providerId="ADAL" clId="{61C78025-9E46-466F-873E-2DF94ED9C4E0}" dt="2023-06-13T07:06:19.642" v="6023" actId="20577"/>
        <pc:sldMkLst>
          <pc:docMk/>
          <pc:sldMk cId="245338789" sldId="2147473786"/>
        </pc:sldMkLst>
        <pc:spChg chg="mod">
          <ac:chgData name="Uladzimir Litvinau" userId="7c780bef-f8d3-4d23-a35d-3c7004030c64" providerId="ADAL" clId="{61C78025-9E46-466F-873E-2DF94ED9C4E0}" dt="2023-06-13T07:04:19.373" v="5930" actId="20577"/>
          <ac:spMkLst>
            <pc:docMk/>
            <pc:sldMk cId="245338789" sldId="2147473786"/>
            <ac:spMk id="3" creationId="{7FE0072B-F5BB-B847-8290-F50BF0BBDDEE}"/>
          </ac:spMkLst>
        </pc:spChg>
        <pc:spChg chg="mod">
          <ac:chgData name="Uladzimir Litvinau" userId="7c780bef-f8d3-4d23-a35d-3c7004030c64" providerId="ADAL" clId="{61C78025-9E46-466F-873E-2DF94ED9C4E0}" dt="2023-06-13T07:06:19.642" v="6023" actId="20577"/>
          <ac:spMkLst>
            <pc:docMk/>
            <pc:sldMk cId="245338789" sldId="2147473786"/>
            <ac:spMk id="9" creationId="{62F09D45-D9C9-DC4A-B5E8-1951F8CB1E58}"/>
          </ac:spMkLst>
        </pc:spChg>
        <pc:spChg chg="del">
          <ac:chgData name="Uladzimir Litvinau" userId="7c780bef-f8d3-4d23-a35d-3c7004030c64" providerId="ADAL" clId="{61C78025-9E46-466F-873E-2DF94ED9C4E0}" dt="2023-06-13T07:04:07.238" v="5920" actId="478"/>
          <ac:spMkLst>
            <pc:docMk/>
            <pc:sldMk cId="245338789" sldId="2147473786"/>
            <ac:spMk id="10" creationId="{F72D9C00-F666-22A7-4AA5-3EE636BD331B}"/>
          </ac:spMkLst>
        </pc:spChg>
      </pc:sldChg>
      <pc:sldChg chg="modSp add mod modAnim">
        <pc:chgData name="Uladzimir Litvinau" userId="7c780bef-f8d3-4d23-a35d-3c7004030c64" providerId="ADAL" clId="{61C78025-9E46-466F-873E-2DF94ED9C4E0}" dt="2023-06-14T07:55:02.830" v="7829"/>
        <pc:sldMkLst>
          <pc:docMk/>
          <pc:sldMk cId="306702682" sldId="2147473787"/>
        </pc:sldMkLst>
        <pc:spChg chg="mod">
          <ac:chgData name="Uladzimir Litvinau" userId="7c780bef-f8d3-4d23-a35d-3c7004030c64" providerId="ADAL" clId="{61C78025-9E46-466F-873E-2DF94ED9C4E0}" dt="2023-06-14T07:53:34.844" v="7821" actId="255"/>
          <ac:spMkLst>
            <pc:docMk/>
            <pc:sldMk cId="306702682" sldId="2147473787"/>
            <ac:spMk id="2" creationId="{EE3E7B12-94E5-1E8A-9A20-C930CC8426EB}"/>
          </ac:spMkLst>
        </pc:spChg>
      </pc:sldChg>
      <pc:sldMasterChg chg="delSldLayout">
        <pc:chgData name="Uladzimir Litvinau" userId="7c780bef-f8d3-4d23-a35d-3c7004030c64" providerId="ADAL" clId="{61C78025-9E46-466F-873E-2DF94ED9C4E0}" dt="2023-06-12T11:57:05.587" v="4884" actId="47"/>
        <pc:sldMasterMkLst>
          <pc:docMk/>
          <pc:sldMasterMk cId="3725765521" sldId="2147483902"/>
        </pc:sldMasterMkLst>
        <pc:sldLayoutChg chg="del">
          <pc:chgData name="Uladzimir Litvinau" userId="7c780bef-f8d3-4d23-a35d-3c7004030c64" providerId="ADAL" clId="{61C78025-9E46-466F-873E-2DF94ED9C4E0}" dt="2023-06-12T11:57:05.587" v="4884" actId="47"/>
          <pc:sldLayoutMkLst>
            <pc:docMk/>
            <pc:sldMasterMk cId="3725765521" sldId="2147483902"/>
            <pc:sldLayoutMk cId="1219559493" sldId="2147483982"/>
          </pc:sldLayoutMkLst>
        </pc:sldLayoutChg>
      </pc:sldMasterChg>
    </pc:docChg>
  </pc:docChgLst>
  <pc:docChgLst>
    <pc:chgData name="Uladzimir Litvinau" userId="S::uladzimir_litvinau@epam.com::7c780bef-f8d3-4d23-a35d-3c7004030c64" providerId="AD" clId="Web-{C97FFAAF-3BC0-BB73-3146-1F6D455BA63E}"/>
    <pc:docChg chg="modSld">
      <pc:chgData name="Uladzimir Litvinau" userId="S::uladzimir_litvinau@epam.com::7c780bef-f8d3-4d23-a35d-3c7004030c64" providerId="AD" clId="Web-{C97FFAAF-3BC0-BB73-3146-1F6D455BA63E}" dt="2023-11-08T17:42:55.549" v="26"/>
      <pc:docMkLst>
        <pc:docMk/>
      </pc:docMkLst>
      <pc:sldChg chg="modNotes">
        <pc:chgData name="Uladzimir Litvinau" userId="S::uladzimir_litvinau@epam.com::7c780bef-f8d3-4d23-a35d-3c7004030c64" providerId="AD" clId="Web-{C97FFAAF-3BC0-BB73-3146-1F6D455BA63E}" dt="2023-11-08T17:42:55.549" v="26"/>
        <pc:sldMkLst>
          <pc:docMk/>
          <pc:sldMk cId="3260582597" sldId="2147473788"/>
        </pc:sldMkLst>
      </pc:sldChg>
    </pc:docChg>
  </pc:docChgLst>
  <pc:docChgLst>
    <pc:chgData name="Uladzimir Litvinau" userId="S::uladzimir_litvinau@epam.com::7c780bef-f8d3-4d23-a35d-3c7004030c64" providerId="AD" clId="Web-{A715FEFE-7E8A-F1FC-879C-5316EF65EE32}"/>
    <pc:docChg chg="addSld delSld modSld">
      <pc:chgData name="Uladzimir Litvinau" userId="S::uladzimir_litvinau@epam.com::7c780bef-f8d3-4d23-a35d-3c7004030c64" providerId="AD" clId="Web-{A715FEFE-7E8A-F1FC-879C-5316EF65EE32}" dt="2023-10-30T12:41:13.785" v="14" actId="20577"/>
      <pc:docMkLst>
        <pc:docMk/>
      </pc:docMkLst>
      <pc:sldChg chg="modSp">
        <pc:chgData name="Uladzimir Litvinau" userId="S::uladzimir_litvinau@epam.com::7c780bef-f8d3-4d23-a35d-3c7004030c64" providerId="AD" clId="Web-{A715FEFE-7E8A-F1FC-879C-5316EF65EE32}" dt="2023-10-30T12:01:20.687" v="7" actId="20577"/>
        <pc:sldMkLst>
          <pc:docMk/>
          <pc:sldMk cId="718389635" sldId="276"/>
        </pc:sldMkLst>
        <pc:spChg chg="mod">
          <ac:chgData name="Uladzimir Litvinau" userId="S::uladzimir_litvinau@epam.com::7c780bef-f8d3-4d23-a35d-3c7004030c64" providerId="AD" clId="Web-{A715FEFE-7E8A-F1FC-879C-5316EF65EE32}" dt="2023-10-30T12:01:20.687" v="7" actId="20577"/>
          <ac:spMkLst>
            <pc:docMk/>
            <pc:sldMk cId="718389635" sldId="276"/>
            <ac:spMk id="7" creationId="{29E0C092-AE0B-0448-668B-0D2D276D31C0}"/>
          </ac:spMkLst>
        </pc:spChg>
      </pc:sldChg>
      <pc:sldChg chg="add del">
        <pc:chgData name="Uladzimir Litvinau" userId="S::uladzimir_litvinau@epam.com::7c780bef-f8d3-4d23-a35d-3c7004030c64" providerId="AD" clId="Web-{A715FEFE-7E8A-F1FC-879C-5316EF65EE32}" dt="2023-10-30T12:01:02.561" v="3"/>
        <pc:sldMkLst>
          <pc:docMk/>
          <pc:sldMk cId="2978622595" sldId="2146847410"/>
        </pc:sldMkLst>
      </pc:sldChg>
      <pc:sldChg chg="modSp">
        <pc:chgData name="Uladzimir Litvinau" userId="S::uladzimir_litvinau@epam.com::7c780bef-f8d3-4d23-a35d-3c7004030c64" providerId="AD" clId="Web-{A715FEFE-7E8A-F1FC-879C-5316EF65EE32}" dt="2023-10-30T12:31:13.518" v="9" actId="20577"/>
        <pc:sldMkLst>
          <pc:docMk/>
          <pc:sldMk cId="96084815" sldId="2147473753"/>
        </pc:sldMkLst>
        <pc:spChg chg="mod">
          <ac:chgData name="Uladzimir Litvinau" userId="S::uladzimir_litvinau@epam.com::7c780bef-f8d3-4d23-a35d-3c7004030c64" providerId="AD" clId="Web-{A715FEFE-7E8A-F1FC-879C-5316EF65EE32}" dt="2023-10-30T12:31:13.518" v="9" actId="20577"/>
          <ac:spMkLst>
            <pc:docMk/>
            <pc:sldMk cId="96084815" sldId="2147473753"/>
            <ac:spMk id="9" creationId="{43E65A60-BFF6-5D2C-96CA-C0DCDBCDC9B7}"/>
          </ac:spMkLst>
        </pc:spChg>
      </pc:sldChg>
      <pc:sldChg chg="modSp">
        <pc:chgData name="Uladzimir Litvinau" userId="S::uladzimir_litvinau@epam.com::7c780bef-f8d3-4d23-a35d-3c7004030c64" providerId="AD" clId="Web-{A715FEFE-7E8A-F1FC-879C-5316EF65EE32}" dt="2023-10-30T12:34:08.054" v="10" actId="20577"/>
        <pc:sldMkLst>
          <pc:docMk/>
          <pc:sldMk cId="4293770624" sldId="2147473757"/>
        </pc:sldMkLst>
        <pc:spChg chg="mod">
          <ac:chgData name="Uladzimir Litvinau" userId="S::uladzimir_litvinau@epam.com::7c780bef-f8d3-4d23-a35d-3c7004030c64" providerId="AD" clId="Web-{A715FEFE-7E8A-F1FC-879C-5316EF65EE32}" dt="2023-10-30T12:34:08.054" v="10" actId="20577"/>
          <ac:spMkLst>
            <pc:docMk/>
            <pc:sldMk cId="4293770624" sldId="2147473757"/>
            <ac:spMk id="7" creationId="{9A782F51-3745-A52C-11FA-4F80E5F83E5B}"/>
          </ac:spMkLst>
        </pc:spChg>
      </pc:sldChg>
      <pc:sldChg chg="modSp">
        <pc:chgData name="Uladzimir Litvinau" userId="S::uladzimir_litvinau@epam.com::7c780bef-f8d3-4d23-a35d-3c7004030c64" providerId="AD" clId="Web-{A715FEFE-7E8A-F1FC-879C-5316EF65EE32}" dt="2023-10-30T12:41:13.785" v="14" actId="20577"/>
        <pc:sldMkLst>
          <pc:docMk/>
          <pc:sldMk cId="306702682" sldId="2147473787"/>
        </pc:sldMkLst>
        <pc:spChg chg="mod">
          <ac:chgData name="Uladzimir Litvinau" userId="S::uladzimir_litvinau@epam.com::7c780bef-f8d3-4d23-a35d-3c7004030c64" providerId="AD" clId="Web-{A715FEFE-7E8A-F1FC-879C-5316EF65EE32}" dt="2023-10-30T12:41:13.785" v="14" actId="20577"/>
          <ac:spMkLst>
            <pc:docMk/>
            <pc:sldMk cId="306702682" sldId="2147473787"/>
            <ac:spMk id="2" creationId="{EE3E7B12-94E5-1E8A-9A20-C930CC8426EB}"/>
          </ac:spMkLst>
        </pc:spChg>
      </pc:sldChg>
      <pc:sldChg chg="add">
        <pc:chgData name="Uladzimir Litvinau" userId="S::uladzimir_litvinau@epam.com::7c780bef-f8d3-4d23-a35d-3c7004030c64" providerId="AD" clId="Web-{A715FEFE-7E8A-F1FC-879C-5316EF65EE32}" dt="2023-10-30T12:00:59.795" v="2"/>
        <pc:sldMkLst>
          <pc:docMk/>
          <pc:sldMk cId="3260582597" sldId="2147473788"/>
        </pc:sldMkLst>
      </pc:sldChg>
    </pc:docChg>
  </pc:docChgLst>
  <pc:docChgLst>
    <pc:chgData name="Uladzimir Litvinau" userId="S::uladzimir_litvinau@epam.com::7c780bef-f8d3-4d23-a35d-3c7004030c64" providerId="AD" clId="Web-{04410035-C070-6907-F43C-C82CE222EA26}"/>
    <pc:docChg chg="modSld">
      <pc:chgData name="Uladzimir Litvinau" userId="S::uladzimir_litvinau@epam.com::7c780bef-f8d3-4d23-a35d-3c7004030c64" providerId="AD" clId="Web-{04410035-C070-6907-F43C-C82CE222EA26}" dt="2023-12-21T14:23:23.673" v="7"/>
      <pc:docMkLst>
        <pc:docMk/>
      </pc:docMkLst>
      <pc:sldChg chg="modSp">
        <pc:chgData name="Uladzimir Litvinau" userId="S::uladzimir_litvinau@epam.com::7c780bef-f8d3-4d23-a35d-3c7004030c64" providerId="AD" clId="Web-{04410035-C070-6907-F43C-C82CE222EA26}" dt="2023-12-21T14:23:23.673" v="7"/>
        <pc:sldMkLst>
          <pc:docMk/>
          <pc:sldMk cId="3710291466" sldId="2147473760"/>
        </pc:sldMkLst>
        <pc:graphicFrameChg chg="mod modGraphic">
          <ac:chgData name="Uladzimir Litvinau" userId="S::uladzimir_litvinau@epam.com::7c780bef-f8d3-4d23-a35d-3c7004030c64" providerId="AD" clId="Web-{04410035-C070-6907-F43C-C82CE222EA26}" dt="2023-12-21T14:23:23.673" v="7"/>
          <ac:graphicFrameMkLst>
            <pc:docMk/>
            <pc:sldMk cId="3710291466" sldId="2147473760"/>
            <ac:graphicFrameMk id="13" creationId="{113D7873-3B68-A9E8-E792-242A59445F41}"/>
          </ac:graphicFrameMkLst>
        </pc:graphicFrameChg>
      </pc:sldChg>
    </pc:docChg>
  </pc:docChgLst>
  <pc:docChgLst>
    <pc:chgData name="Uladzimir Litvinau" userId="S::uladzimir_litvinau@epam.com::7c780bef-f8d3-4d23-a35d-3c7004030c64" providerId="AD" clId="Web-{DA759936-5E6B-A02E-006A-5A82F742355F}"/>
    <pc:docChg chg="modSld">
      <pc:chgData name="Uladzimir Litvinau" userId="S::uladzimir_litvinau@epam.com::7c780bef-f8d3-4d23-a35d-3c7004030c64" providerId="AD" clId="Web-{DA759936-5E6B-A02E-006A-5A82F742355F}" dt="2023-11-10T16:41:57.928" v="72" actId="20577"/>
      <pc:docMkLst>
        <pc:docMk/>
      </pc:docMkLst>
      <pc:sldChg chg="modSp">
        <pc:chgData name="Uladzimir Litvinau" userId="S::uladzimir_litvinau@epam.com::7c780bef-f8d3-4d23-a35d-3c7004030c64" providerId="AD" clId="Web-{DA759936-5E6B-A02E-006A-5A82F742355F}" dt="2023-11-10T16:41:57.928" v="72" actId="20577"/>
        <pc:sldMkLst>
          <pc:docMk/>
          <pc:sldMk cId="2849265882" sldId="2142532923"/>
        </pc:sldMkLst>
        <pc:spChg chg="mod">
          <ac:chgData name="Uladzimir Litvinau" userId="S::uladzimir_litvinau@epam.com::7c780bef-f8d3-4d23-a35d-3c7004030c64" providerId="AD" clId="Web-{DA759936-5E6B-A02E-006A-5A82F742355F}" dt="2023-11-10T16:41:57.928" v="72" actId="20577"/>
          <ac:spMkLst>
            <pc:docMk/>
            <pc:sldMk cId="2849265882" sldId="2142532923"/>
            <ac:spMk id="3" creationId="{573800C7-CFA5-4D6B-83C2-B244AF1CE67F}"/>
          </ac:spMkLst>
        </pc:spChg>
      </pc:sldChg>
      <pc:sldChg chg="modNotes">
        <pc:chgData name="Uladzimir Litvinau" userId="S::uladzimir_litvinau@epam.com::7c780bef-f8d3-4d23-a35d-3c7004030c64" providerId="AD" clId="Web-{DA759936-5E6B-A02E-006A-5A82F742355F}" dt="2023-11-10T16:23:23.173" v="53"/>
        <pc:sldMkLst>
          <pc:docMk/>
          <pc:sldMk cId="2378474052" sldId="2147473759"/>
        </pc:sldMkLst>
      </pc:sldChg>
      <pc:sldChg chg="modSp">
        <pc:chgData name="Uladzimir Litvinau" userId="S::uladzimir_litvinau@epam.com::7c780bef-f8d3-4d23-a35d-3c7004030c64" providerId="AD" clId="Web-{DA759936-5E6B-A02E-006A-5A82F742355F}" dt="2023-11-10T16:20:55.475" v="2" actId="20577"/>
        <pc:sldMkLst>
          <pc:docMk/>
          <pc:sldMk cId="306702682" sldId="2147473787"/>
        </pc:sldMkLst>
        <pc:spChg chg="mod">
          <ac:chgData name="Uladzimir Litvinau" userId="S::uladzimir_litvinau@epam.com::7c780bef-f8d3-4d23-a35d-3c7004030c64" providerId="AD" clId="Web-{DA759936-5E6B-A02E-006A-5A82F742355F}" dt="2023-11-10T16:20:55.475" v="2" actId="20577"/>
          <ac:spMkLst>
            <pc:docMk/>
            <pc:sldMk cId="306702682" sldId="2147473787"/>
            <ac:spMk id="2" creationId="{EE3E7B12-94E5-1E8A-9A20-C930CC8426EB}"/>
          </ac:spMkLst>
        </pc:spChg>
      </pc:sldChg>
    </pc:docChg>
  </pc:docChgLst>
  <pc:docChgLst>
    <pc:chgData name="Uladzimir Litvinau" userId="7c780bef-f8d3-4d23-a35d-3c7004030c64" providerId="ADAL" clId="{9E9DF2C7-6ABE-43B4-B5FF-53CFC136EF38}"/>
    <pc:docChg chg="undo custSel modSld">
      <pc:chgData name="Uladzimir Litvinau" userId="7c780bef-f8d3-4d23-a35d-3c7004030c64" providerId="ADAL" clId="{9E9DF2C7-6ABE-43B4-B5FF-53CFC136EF38}" dt="2024-04-25T08:58:50.122" v="147" actId="20577"/>
      <pc:docMkLst>
        <pc:docMk/>
      </pc:docMkLst>
      <pc:sldChg chg="modSp mod">
        <pc:chgData name="Uladzimir Litvinau" userId="7c780bef-f8d3-4d23-a35d-3c7004030c64" providerId="ADAL" clId="{9E9DF2C7-6ABE-43B4-B5FF-53CFC136EF38}" dt="2024-04-18T14:49:26.937" v="124" actId="20577"/>
        <pc:sldMkLst>
          <pc:docMk/>
          <pc:sldMk cId="718389635" sldId="276"/>
        </pc:sldMkLst>
        <pc:spChg chg="mod">
          <ac:chgData name="Uladzimir Litvinau" userId="7c780bef-f8d3-4d23-a35d-3c7004030c64" providerId="ADAL" clId="{9E9DF2C7-6ABE-43B4-B5FF-53CFC136EF38}" dt="2024-04-18T14:49:26.937" v="124" actId="20577"/>
          <ac:spMkLst>
            <pc:docMk/>
            <pc:sldMk cId="718389635" sldId="276"/>
            <ac:spMk id="7" creationId="{29E0C092-AE0B-0448-668B-0D2D276D31C0}"/>
          </ac:spMkLst>
        </pc:spChg>
      </pc:sldChg>
      <pc:sldChg chg="modSp mod">
        <pc:chgData name="Uladzimir Litvinau" userId="7c780bef-f8d3-4d23-a35d-3c7004030c64" providerId="ADAL" clId="{9E9DF2C7-6ABE-43B4-B5FF-53CFC136EF38}" dt="2024-04-25T07:38:44.098" v="143" actId="20577"/>
        <pc:sldMkLst>
          <pc:docMk/>
          <pc:sldMk cId="96084815" sldId="2147473753"/>
        </pc:sldMkLst>
        <pc:spChg chg="mod">
          <ac:chgData name="Uladzimir Litvinau" userId="7c780bef-f8d3-4d23-a35d-3c7004030c64" providerId="ADAL" clId="{9E9DF2C7-6ABE-43B4-B5FF-53CFC136EF38}" dt="2024-04-25T07:38:44.098" v="143" actId="20577"/>
          <ac:spMkLst>
            <pc:docMk/>
            <pc:sldMk cId="96084815" sldId="2147473753"/>
            <ac:spMk id="10" creationId="{1F88C411-8C59-AFA3-5C10-11E75FDF9817}"/>
          </ac:spMkLst>
        </pc:spChg>
      </pc:sldChg>
      <pc:sldChg chg="modSp mod">
        <pc:chgData name="Uladzimir Litvinau" userId="7c780bef-f8d3-4d23-a35d-3c7004030c64" providerId="ADAL" clId="{9E9DF2C7-6ABE-43B4-B5FF-53CFC136EF38}" dt="2024-04-18T14:11:49.126" v="4" actId="20577"/>
        <pc:sldMkLst>
          <pc:docMk/>
          <pc:sldMk cId="3710291466" sldId="2147473760"/>
        </pc:sldMkLst>
        <pc:graphicFrameChg chg="modGraphic">
          <ac:chgData name="Uladzimir Litvinau" userId="7c780bef-f8d3-4d23-a35d-3c7004030c64" providerId="ADAL" clId="{9E9DF2C7-6ABE-43B4-B5FF-53CFC136EF38}" dt="2024-04-18T14:11:49.126" v="4" actId="20577"/>
          <ac:graphicFrameMkLst>
            <pc:docMk/>
            <pc:sldMk cId="3710291466" sldId="2147473760"/>
            <ac:graphicFrameMk id="13" creationId="{113D7873-3B68-A9E8-E792-242A59445F41}"/>
          </ac:graphicFrameMkLst>
        </pc:graphicFrameChg>
      </pc:sldChg>
      <pc:sldChg chg="modNotesTx">
        <pc:chgData name="Uladzimir Litvinau" userId="7c780bef-f8d3-4d23-a35d-3c7004030c64" providerId="ADAL" clId="{9E9DF2C7-6ABE-43B4-B5FF-53CFC136EF38}" dt="2024-04-25T08:58:50.122" v="147" actId="20577"/>
        <pc:sldMkLst>
          <pc:docMk/>
          <pc:sldMk cId="4119204716" sldId="2147473761"/>
        </pc:sldMkLst>
      </pc:sldChg>
      <pc:sldChg chg="modSp mod">
        <pc:chgData name="Uladzimir Litvinau" userId="7c780bef-f8d3-4d23-a35d-3c7004030c64" providerId="ADAL" clId="{9E9DF2C7-6ABE-43B4-B5FF-53CFC136EF38}" dt="2024-04-25T07:40:02.958" v="144" actId="33524"/>
        <pc:sldMkLst>
          <pc:docMk/>
          <pc:sldMk cId="60625334" sldId="2147473767"/>
        </pc:sldMkLst>
        <pc:spChg chg="mod">
          <ac:chgData name="Uladzimir Litvinau" userId="7c780bef-f8d3-4d23-a35d-3c7004030c64" providerId="ADAL" clId="{9E9DF2C7-6ABE-43B4-B5FF-53CFC136EF38}" dt="2024-04-25T07:40:02.958" v="144" actId="33524"/>
          <ac:spMkLst>
            <pc:docMk/>
            <pc:sldMk cId="60625334" sldId="2147473767"/>
            <ac:spMk id="7" creationId="{CA211C83-0ECC-7201-4143-28C0C45C24D4}"/>
          </ac:spMkLst>
        </pc:spChg>
      </pc:sldChg>
      <pc:sldChg chg="modNotesTx">
        <pc:chgData name="Uladzimir Litvinau" userId="7c780bef-f8d3-4d23-a35d-3c7004030c64" providerId="ADAL" clId="{9E9DF2C7-6ABE-43B4-B5FF-53CFC136EF38}" dt="2024-04-18T14:25:00.580" v="108" actId="20577"/>
        <pc:sldMkLst>
          <pc:docMk/>
          <pc:sldMk cId="2379865670" sldId="2147473775"/>
        </pc:sldMkLst>
      </pc:sldChg>
      <pc:sldChg chg="modNotesTx">
        <pc:chgData name="Uladzimir Litvinau" userId="7c780bef-f8d3-4d23-a35d-3c7004030c64" providerId="ADAL" clId="{9E9DF2C7-6ABE-43B4-B5FF-53CFC136EF38}" dt="2024-04-18T14:25:08.904" v="109" actId="20577"/>
        <pc:sldMkLst>
          <pc:docMk/>
          <pc:sldMk cId="1941243125" sldId="2147473776"/>
        </pc:sldMkLst>
      </pc:sldChg>
      <pc:sldChg chg="modNotesTx">
        <pc:chgData name="Uladzimir Litvinau" userId="7c780bef-f8d3-4d23-a35d-3c7004030c64" providerId="ADAL" clId="{9E9DF2C7-6ABE-43B4-B5FF-53CFC136EF38}" dt="2024-04-18T14:25:16.041" v="111" actId="20577"/>
        <pc:sldMkLst>
          <pc:docMk/>
          <pc:sldMk cId="3028625648" sldId="2147473777"/>
        </pc:sldMkLst>
      </pc:sldChg>
      <pc:sldChg chg="modNotesTx">
        <pc:chgData name="Uladzimir Litvinau" userId="7c780bef-f8d3-4d23-a35d-3c7004030c64" providerId="ADAL" clId="{9E9DF2C7-6ABE-43B4-B5FF-53CFC136EF38}" dt="2024-04-18T14:25:18.882" v="113" actId="20577"/>
        <pc:sldMkLst>
          <pc:docMk/>
          <pc:sldMk cId="2890595070" sldId="2147473778"/>
        </pc:sldMkLst>
      </pc:sldChg>
      <pc:sldChg chg="modNotesTx">
        <pc:chgData name="Uladzimir Litvinau" userId="7c780bef-f8d3-4d23-a35d-3c7004030c64" providerId="ADAL" clId="{9E9DF2C7-6ABE-43B4-B5FF-53CFC136EF38}" dt="2024-04-18T14:25:26.816" v="114" actId="20577"/>
        <pc:sldMkLst>
          <pc:docMk/>
          <pc:sldMk cId="3169304169" sldId="2147473779"/>
        </pc:sldMkLst>
      </pc:sldChg>
      <pc:sldChg chg="modNotesTx">
        <pc:chgData name="Uladzimir Litvinau" userId="7c780bef-f8d3-4d23-a35d-3c7004030c64" providerId="ADAL" clId="{9E9DF2C7-6ABE-43B4-B5FF-53CFC136EF38}" dt="2024-04-18T14:26:02.268" v="117" actId="20577"/>
        <pc:sldMkLst>
          <pc:docMk/>
          <pc:sldMk cId="3805640432" sldId="2147473782"/>
        </pc:sldMkLst>
      </pc:sldChg>
      <pc:sldChg chg="modNotesTx">
        <pc:chgData name="Uladzimir Litvinau" userId="7c780bef-f8d3-4d23-a35d-3c7004030c64" providerId="ADAL" clId="{9E9DF2C7-6ABE-43B4-B5FF-53CFC136EF38}" dt="2024-04-18T14:25:55.475" v="116" actId="20577"/>
        <pc:sldMkLst>
          <pc:docMk/>
          <pc:sldMk cId="3173873053" sldId="2147473783"/>
        </pc:sldMkLst>
      </pc:sldChg>
      <pc:sldChg chg="modNotesTx">
        <pc:chgData name="Uladzimir Litvinau" userId="7c780bef-f8d3-4d23-a35d-3c7004030c64" providerId="ADAL" clId="{9E9DF2C7-6ABE-43B4-B5FF-53CFC136EF38}" dt="2024-04-18T14:25:51.963" v="115" actId="20577"/>
        <pc:sldMkLst>
          <pc:docMk/>
          <pc:sldMk cId="317305034" sldId="2147473784"/>
        </pc:sldMkLst>
      </pc:sldChg>
      <pc:sldChg chg="modSp mod">
        <pc:chgData name="Uladzimir Litvinau" userId="7c780bef-f8d3-4d23-a35d-3c7004030c64" providerId="ADAL" clId="{9E9DF2C7-6ABE-43B4-B5FF-53CFC136EF38}" dt="2024-04-25T07:38:00.814" v="131" actId="20577"/>
        <pc:sldMkLst>
          <pc:docMk/>
          <pc:sldMk cId="3260582597" sldId="2147473788"/>
        </pc:sldMkLst>
        <pc:spChg chg="mod">
          <ac:chgData name="Uladzimir Litvinau" userId="7c780bef-f8d3-4d23-a35d-3c7004030c64" providerId="ADAL" clId="{9E9DF2C7-6ABE-43B4-B5FF-53CFC136EF38}" dt="2024-04-25T07:38:00.814" v="131" actId="20577"/>
          <ac:spMkLst>
            <pc:docMk/>
            <pc:sldMk cId="3260582597" sldId="2147473788"/>
            <ac:spMk id="19" creationId="{1C004F51-E7DB-4857-AA9C-D4AEE3C336E1}"/>
          </ac:spMkLst>
        </pc:spChg>
      </pc:sldChg>
    </pc:docChg>
  </pc:docChgLst>
  <pc:docChgLst>
    <pc:chgData name="Uladzimir Litvinau" userId="S::uladzimir_litvinau@epam.com::7c780bef-f8d3-4d23-a35d-3c7004030c64" providerId="AD" clId="Web-{7B86B5BF-5399-A748-58E1-E1900748A88C}"/>
    <pc:docChg chg="modSld">
      <pc:chgData name="Uladzimir Litvinau" userId="S::uladzimir_litvinau@epam.com::7c780bef-f8d3-4d23-a35d-3c7004030c64" providerId="AD" clId="Web-{7B86B5BF-5399-A748-58E1-E1900748A88C}" dt="2023-10-31T09:28:05.787" v="13"/>
      <pc:docMkLst>
        <pc:docMk/>
      </pc:docMkLst>
      <pc:sldChg chg="modSp">
        <pc:chgData name="Uladzimir Litvinau" userId="S::uladzimir_litvinau@epam.com::7c780bef-f8d3-4d23-a35d-3c7004030c64" providerId="AD" clId="Web-{7B86B5BF-5399-A748-58E1-E1900748A88C}" dt="2023-10-31T09:28:05.787" v="13"/>
        <pc:sldMkLst>
          <pc:docMk/>
          <pc:sldMk cId="3710291466" sldId="2147473760"/>
        </pc:sldMkLst>
        <pc:graphicFrameChg chg="mod modGraphic">
          <ac:chgData name="Uladzimir Litvinau" userId="S::uladzimir_litvinau@epam.com::7c780bef-f8d3-4d23-a35d-3c7004030c64" providerId="AD" clId="Web-{7B86B5BF-5399-A748-58E1-E1900748A88C}" dt="2023-10-31T09:28:05.787" v="13"/>
          <ac:graphicFrameMkLst>
            <pc:docMk/>
            <pc:sldMk cId="3710291466" sldId="2147473760"/>
            <ac:graphicFrameMk id="13" creationId="{113D7873-3B68-A9E8-E792-242A59445F41}"/>
          </ac:graphicFrameMkLst>
        </pc:graphicFrameChg>
      </pc:sldChg>
    </pc:docChg>
  </pc:docChgLst>
  <pc:docChgLst>
    <pc:chgData name="Uladzimir Litvinau" userId="S::uladzimir_litvinau@epam.com::7c780bef-f8d3-4d23-a35d-3c7004030c64" providerId="AD" clId="Web-{CB5EF99A-E087-A60F-DC3B-5A879136EAF4}"/>
    <pc:docChg chg="modSld">
      <pc:chgData name="Uladzimir Litvinau" userId="S::uladzimir_litvinau@epam.com::7c780bef-f8d3-4d23-a35d-3c7004030c64" providerId="AD" clId="Web-{CB5EF99A-E087-A60F-DC3B-5A879136EAF4}" dt="2023-11-13T08:06:57.452" v="131"/>
      <pc:docMkLst>
        <pc:docMk/>
      </pc:docMkLst>
      <pc:sldChg chg="modNotes">
        <pc:chgData name="Uladzimir Litvinau" userId="S::uladzimir_litvinau@epam.com::7c780bef-f8d3-4d23-a35d-3c7004030c64" providerId="AD" clId="Web-{CB5EF99A-E087-A60F-DC3B-5A879136EAF4}" dt="2023-11-13T07:04:37.273" v="47"/>
        <pc:sldMkLst>
          <pc:docMk/>
          <pc:sldMk cId="2849265882" sldId="2142532923"/>
        </pc:sldMkLst>
      </pc:sldChg>
      <pc:sldChg chg="modNotes">
        <pc:chgData name="Uladzimir Litvinau" userId="S::uladzimir_litvinau@epam.com::7c780bef-f8d3-4d23-a35d-3c7004030c64" providerId="AD" clId="Web-{CB5EF99A-E087-A60F-DC3B-5A879136EAF4}" dt="2023-11-13T08:06:57.452" v="131"/>
        <pc:sldMkLst>
          <pc:docMk/>
          <pc:sldMk cId="96084815" sldId="2147473753"/>
        </pc:sldMkLst>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DE08D0B5-BF3A-554F-80FC-A074450C3E2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A"/>
          </a:p>
        </p:txBody>
      </p:sp>
      <p:sp>
        <p:nvSpPr>
          <p:cNvPr id="3" name="Date Placeholder 2">
            <a:extLst>
              <a:ext uri="{FF2B5EF4-FFF2-40B4-BE49-F238E27FC236}">
                <a16:creationId xmlns:a16="http://schemas.microsoft.com/office/drawing/2014/main" id="{E347ED76-2BF9-364D-B606-CED888933239}"/>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D93D15F2-AF1D-174A-8EBC-18F72BB20644}" type="datetimeFigureOut">
              <a:rPr lang="en-UA" smtClean="0"/>
              <a:t>08/18/2024</a:t>
            </a:fld>
            <a:endParaRPr lang="en-UA"/>
          </a:p>
        </p:txBody>
      </p:sp>
      <p:sp>
        <p:nvSpPr>
          <p:cNvPr id="4" name="Footer Placeholder 3">
            <a:extLst>
              <a:ext uri="{FF2B5EF4-FFF2-40B4-BE49-F238E27FC236}">
                <a16:creationId xmlns:a16="http://schemas.microsoft.com/office/drawing/2014/main" id="{93F599BA-0460-454B-B2F6-85704619C957}"/>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A"/>
          </a:p>
        </p:txBody>
      </p:sp>
      <p:sp>
        <p:nvSpPr>
          <p:cNvPr id="5" name="Slide Number Placeholder 4">
            <a:extLst>
              <a:ext uri="{FF2B5EF4-FFF2-40B4-BE49-F238E27FC236}">
                <a16:creationId xmlns:a16="http://schemas.microsoft.com/office/drawing/2014/main" id="{9FB1AD2A-CA2C-B540-A246-8C489C071545}"/>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F9393A6D-45B3-B841-B083-0C1C6E65BDBE}" type="slidenum">
              <a:rPr lang="en-UA" smtClean="0"/>
              <a:t>‹#›</a:t>
            </a:fld>
            <a:endParaRPr lang="en-UA"/>
          </a:p>
        </p:txBody>
      </p:sp>
    </p:spTree>
    <p:extLst>
      <p:ext uri="{BB962C8B-B14F-4D97-AF65-F5344CB8AC3E}">
        <p14:creationId xmlns:p14="http://schemas.microsoft.com/office/powerpoint/2010/main" val="1402965218"/>
      </p:ext>
    </p:extLst>
  </p:cSld>
  <p:clrMap bg1="lt1" tx1="dk1" bg2="lt2" tx2="dk2" accent1="accent1" accent2="accent2" accent3="accent3" accent4="accent4" accent5="accent5" accent6="accent6" hlink="hlink" folHlink="folHlink"/>
  <p:extLst>
    <p:ext uri="{56416CCD-93CA-4268-BC5B-53C4BB910035}">
      <p15:sldGuideLst xmlns:p15="http://schemas.microsoft.com/office/powerpoint/2012/main">
        <p15:guide id="1" orient="horz" pos="2880" userDrawn="1">
          <p15:clr>
            <a:srgbClr val="F26B43"/>
          </p15:clr>
        </p15:guide>
        <p15:guide id="2" pos="2160" userDrawn="1">
          <p15:clr>
            <a:srgbClr val="F26B43"/>
          </p15:clr>
        </p15:guide>
      </p15:sldGuideLst>
    </p:ext>
  </p:extLst>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A"/>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9C6FCFA-8F7E-D34F-97AA-B90D793A898C}" type="datetimeFigureOut">
              <a:rPr lang="en-UA" smtClean="0"/>
              <a:t>08/18/2024</a:t>
            </a:fld>
            <a:endParaRPr lang="en-UA"/>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A"/>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A"/>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A"/>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5DD4F66-B7F7-7041-8E00-958804099F79}" type="slidenum">
              <a:rPr lang="en-UA" smtClean="0"/>
              <a:t>‹#›</a:t>
            </a:fld>
            <a:endParaRPr lang="en-UA"/>
          </a:p>
        </p:txBody>
      </p:sp>
    </p:spTree>
    <p:extLst>
      <p:ext uri="{BB962C8B-B14F-4D97-AF65-F5344CB8AC3E}">
        <p14:creationId xmlns:p14="http://schemas.microsoft.com/office/powerpoint/2010/main" val="50098961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3" Type="http://schemas.openxmlformats.org/officeDocument/2006/relationships/hyperlink" Target="https://www.imd.org/reflections/leadership-skills/" TargetMode="External"/><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3" Type="http://schemas.openxmlformats.org/officeDocument/2006/relationships/hyperlink" Target="https://www.imd.org/reflections/leadership-skills/" TargetMode="External"/><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3" Type="http://schemas.openxmlformats.org/officeDocument/2006/relationships/hyperlink" Target="https://www.freshbooks.com/hub/other/tuckmans-theory" TargetMode="External"/><Relationship Id="rId2" Type="http://schemas.openxmlformats.org/officeDocument/2006/relationships/slide" Target="../slides/slide12.xml"/><Relationship Id="rId1" Type="http://schemas.openxmlformats.org/officeDocument/2006/relationships/notesMaster" Target="../notesMasters/notesMaster1.xml"/><Relationship Id="rId6" Type="http://schemas.openxmlformats.org/officeDocument/2006/relationships/hyperlink" Target="https://en.wikipedia.org/wiki/Mental_model" TargetMode="External"/><Relationship Id="rId5" Type="http://schemas.openxmlformats.org/officeDocument/2006/relationships/hyperlink" Target="https://en.wikipedia.org/wiki/Tuckman%27s_stages_of_group_development#cite_note-:0-12" TargetMode="External"/><Relationship Id="rId4" Type="http://schemas.openxmlformats.org/officeDocument/2006/relationships/hyperlink" Target="https://www.wcupa.edu/coral/tuckmanStagesGroupDelvelopment.aspx" TargetMode="External"/></Relationships>
</file>

<file path=ppt/notesSlides/_rels/notesSlide13.xml.rels><?xml version="1.0" encoding="UTF-8" standalone="yes"?>
<Relationships xmlns="http://schemas.openxmlformats.org/package/2006/relationships"><Relationship Id="rId3" Type="http://schemas.openxmlformats.org/officeDocument/2006/relationships/hyperlink" Target="https://online.hbs.edu/blog/post/the-fundamental-attribution-error" TargetMode="External"/><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3" Type="http://schemas.openxmlformats.org/officeDocument/2006/relationships/hyperlink" Target="https://hbr.org/1993/03/the-discipline-of-teams-2" TargetMode="External"/><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f there is no objections, I’ll switch on recording of the session</a:t>
            </a:r>
          </a:p>
          <a:p>
            <a:r>
              <a:rPr lang="en-US" dirty="0"/>
              <a:t>Thank you for making the time to attend this session</a:t>
            </a:r>
          </a:p>
          <a:p>
            <a:endParaRPr lang="en-US" dirty="0">
              <a:ea typeface="Calibri"/>
              <a:cs typeface="Calibri"/>
            </a:endParaRPr>
          </a:p>
          <a:p>
            <a:r>
              <a:rPr lang="en-US" dirty="0">
                <a:ea typeface="Calibri"/>
                <a:cs typeface="Calibri"/>
              </a:rPr>
              <a:t>Goals – define who is </a:t>
            </a:r>
            <a:r>
              <a:rPr lang="en-US" dirty="0" err="1">
                <a:ea typeface="Calibri"/>
                <a:cs typeface="Calibri"/>
              </a:rPr>
              <a:t>teamlead</a:t>
            </a:r>
            <a:r>
              <a:rPr lang="en-US" dirty="0">
                <a:ea typeface="Calibri"/>
                <a:cs typeface="Calibri"/>
              </a:rPr>
              <a:t>, what is team and what are the main </a:t>
            </a:r>
            <a:r>
              <a:rPr lang="en-US" dirty="0" err="1">
                <a:ea typeface="Calibri"/>
                <a:cs typeface="Calibri"/>
              </a:rPr>
              <a:t>teamlead</a:t>
            </a:r>
            <a:r>
              <a:rPr lang="en-US" dirty="0">
                <a:ea typeface="Calibri"/>
                <a:cs typeface="Calibri"/>
              </a:rPr>
              <a:t> responsibilities and work areas.</a:t>
            </a:r>
          </a:p>
          <a:p>
            <a:r>
              <a:rPr lang="en-US" dirty="0">
                <a:ea typeface="Calibri"/>
                <a:cs typeface="Calibri"/>
              </a:rPr>
              <a:t>How to build and lead a team. </a:t>
            </a:r>
          </a:p>
        </p:txBody>
      </p:sp>
      <p:sp>
        <p:nvSpPr>
          <p:cNvPr id="4" name="Slide Number Placeholder 3"/>
          <p:cNvSpPr>
            <a:spLocks noGrp="1"/>
          </p:cNvSpPr>
          <p:nvPr>
            <p:ph type="sldNum" sz="quarter" idx="5"/>
          </p:nvPr>
        </p:nvSpPr>
        <p:spPr/>
        <p:txBody>
          <a:bodyPr/>
          <a:lstStyle/>
          <a:p>
            <a:fld id="{B172747E-5BCD-4334-93E7-ED225465B0DD}" type="slidenum">
              <a:rPr lang="en-US" smtClean="0"/>
              <a:pPr/>
              <a:t>1</a:t>
            </a:fld>
            <a:endParaRPr lang="en-US"/>
          </a:p>
        </p:txBody>
      </p:sp>
    </p:spTree>
    <p:extLst>
      <p:ext uri="{BB962C8B-B14F-4D97-AF65-F5344CB8AC3E}">
        <p14:creationId xmlns:p14="http://schemas.microsoft.com/office/powerpoint/2010/main" val="359348076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The 8 Key Leadership Skills You need to know in 2023 (imd.org)</a:t>
            </a:r>
            <a:endParaRPr lang="en-US" dirty="0"/>
          </a:p>
        </p:txBody>
      </p:sp>
      <p:sp>
        <p:nvSpPr>
          <p:cNvPr id="4" name="Slide Number Placeholder 3"/>
          <p:cNvSpPr>
            <a:spLocks noGrp="1"/>
          </p:cNvSpPr>
          <p:nvPr>
            <p:ph type="sldNum" sz="quarter" idx="5"/>
          </p:nvPr>
        </p:nvSpPr>
        <p:spPr/>
        <p:txBody>
          <a:bodyPr/>
          <a:lstStyle/>
          <a:p>
            <a:fld id="{95DD4F66-B7F7-7041-8E00-958804099F79}" type="slidenum">
              <a:rPr lang="en-UA" smtClean="0"/>
              <a:t>10</a:t>
            </a:fld>
            <a:endParaRPr lang="en-UA"/>
          </a:p>
        </p:txBody>
      </p:sp>
    </p:spTree>
    <p:extLst>
      <p:ext uri="{BB962C8B-B14F-4D97-AF65-F5344CB8AC3E}">
        <p14:creationId xmlns:p14="http://schemas.microsoft.com/office/powerpoint/2010/main" val="361523820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spcBef>
                <a:spcPts val="0"/>
              </a:spcBef>
              <a:spcAft>
                <a:spcPts val="0"/>
              </a:spcAft>
              <a:buFont typeface="Calibri" panose="020F0502020204030204" pitchFamily="34" charset="0"/>
              <a:buNone/>
              <a:tabLst>
                <a:tab pos="4298950" algn="l"/>
              </a:tabLst>
            </a:pPr>
            <a:r>
              <a:rPr lang="en-US" sz="2800" dirty="0">
                <a:hlinkClick r:id="rId3"/>
              </a:rPr>
              <a:t>The 8 Key Leadership Skills You need to know in 2023 (imd.org)</a:t>
            </a:r>
            <a:endParaRPr lang="en-US" sz="2800" dirty="0"/>
          </a:p>
          <a:p>
            <a:pPr marL="0" marR="0" lvl="0" indent="0">
              <a:spcBef>
                <a:spcPts val="0"/>
              </a:spcBef>
              <a:spcAft>
                <a:spcPts val="0"/>
              </a:spcAft>
              <a:buFont typeface="Calibri" panose="020F0502020204030204" pitchFamily="34" charset="0"/>
              <a:buNone/>
              <a:tabLst>
                <a:tab pos="4298950" algn="l"/>
              </a:tabLst>
            </a:pP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5"/>
          </p:nvPr>
        </p:nvSpPr>
        <p:spPr/>
        <p:txBody>
          <a:bodyPr/>
          <a:lstStyle/>
          <a:p>
            <a:fld id="{5A1FCF89-6DB3-9C4F-95AB-DF57473F9C3A}" type="slidenum">
              <a:rPr lang="en-GB" smtClean="0"/>
              <a:t>11</a:t>
            </a:fld>
            <a:endParaRPr lang="en-GB"/>
          </a:p>
        </p:txBody>
      </p:sp>
    </p:spTree>
    <p:extLst>
      <p:ext uri="{BB962C8B-B14F-4D97-AF65-F5344CB8AC3E}">
        <p14:creationId xmlns:p14="http://schemas.microsoft.com/office/powerpoint/2010/main" val="212538692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Message from FreshBooks</a:t>
            </a:r>
            <a:endParaRPr lang="en-US" dirty="0"/>
          </a:p>
          <a:p>
            <a:r>
              <a:rPr lang="en-US" dirty="0">
                <a:hlinkClick r:id="rId4"/>
              </a:rPr>
              <a:t>Tuckman's Stages of Group Development - WCU of PA (wcupa.edu)</a:t>
            </a:r>
            <a:endParaRPr lang="en-US" dirty="0"/>
          </a:p>
          <a:p>
            <a:r>
              <a:rPr lang="en-US" dirty="0"/>
              <a:t>Maybe add more slides for each step for takeaways</a:t>
            </a:r>
          </a:p>
          <a:p>
            <a:endParaRPr lang="en-US" dirty="0"/>
          </a:p>
          <a:p>
            <a:r>
              <a:rPr lang="en-US" dirty="0"/>
              <a:t>Team development </a:t>
            </a:r>
            <a:r>
              <a:rPr lang="en-US" dirty="0" err="1"/>
              <a:t>stageLeadership</a:t>
            </a:r>
            <a:r>
              <a:rPr lang="en-US" dirty="0"/>
              <a:t> strategies</a:t>
            </a:r>
          </a:p>
          <a:p>
            <a:r>
              <a:rPr lang="en-US" dirty="0"/>
              <a:t>Keys to </a:t>
            </a:r>
            <a:r>
              <a:rPr lang="en-US" dirty="0" err="1"/>
              <a:t>success</a:t>
            </a:r>
            <a:r>
              <a:rPr lang="en-US" i="1" dirty="0" err="1">
                <a:effectLst/>
              </a:rPr>
              <a:t>Forming</a:t>
            </a:r>
            <a:r>
              <a:rPr lang="en-US" dirty="0">
                <a:effectLst/>
              </a:rPr>
              <a:t> (setting the stage)</a:t>
            </a:r>
            <a:r>
              <a:rPr lang="en-US" b="0" i="0" u="none" strike="noStrike" baseline="30000" dirty="0">
                <a:solidFill>
                  <a:srgbClr val="3366CC"/>
                </a:solidFill>
                <a:effectLst/>
                <a:hlinkClick r:id="rId5"/>
              </a:rPr>
              <a:t>[12]</a:t>
            </a:r>
            <a:r>
              <a:rPr lang="en-US" dirty="0">
                <a:effectLst/>
              </a:rPr>
              <a:t>Coordinating behaviors– Purposefully picking the team– Facilitating team to identify goals</a:t>
            </a:r>
          </a:p>
          <a:p>
            <a:r>
              <a:rPr lang="en-US" dirty="0">
                <a:effectLst/>
              </a:rPr>
              <a:t>– Ensuring the team development of a </a:t>
            </a:r>
            <a:r>
              <a:rPr lang="en-US" u="none" strike="noStrike" dirty="0">
                <a:solidFill>
                  <a:srgbClr val="3366CC"/>
                </a:solidFill>
                <a:effectLst/>
                <a:hlinkClick r:id="rId6" tooltip="Mental model"/>
              </a:rPr>
              <a:t>shared mental model</a:t>
            </a:r>
            <a:endParaRPr lang="en-US" dirty="0">
              <a:effectLst/>
            </a:endParaRPr>
          </a:p>
          <a:p>
            <a:r>
              <a:rPr lang="en-US" i="1" dirty="0">
                <a:effectLst/>
              </a:rPr>
              <a:t>Storming</a:t>
            </a:r>
            <a:r>
              <a:rPr lang="en-US" dirty="0">
                <a:effectLst/>
              </a:rPr>
              <a:t> (resolving conflict and tension)</a:t>
            </a:r>
            <a:r>
              <a:rPr lang="en-US" b="0" i="0" u="none" strike="noStrike" baseline="30000" dirty="0">
                <a:solidFill>
                  <a:srgbClr val="3366CC"/>
                </a:solidFill>
                <a:effectLst/>
                <a:hlinkClick r:id="rId5"/>
              </a:rPr>
              <a:t>[12]</a:t>
            </a:r>
            <a:r>
              <a:rPr lang="en-US" dirty="0">
                <a:effectLst/>
              </a:rPr>
              <a:t>Coaching behaviors– Act as a resource person to the team– Develop mutual trust –focus on rational, not emotional </a:t>
            </a:r>
            <a:r>
              <a:rPr lang="en-US" dirty="0" err="1">
                <a:effectLst/>
              </a:rPr>
              <a:t>discussons</a:t>
            </a:r>
            <a:r>
              <a:rPr lang="en-US" dirty="0">
                <a:effectLst/>
              </a:rPr>
              <a:t> –no </a:t>
            </a:r>
            <a:r>
              <a:rPr lang="en-US" dirty="0" err="1">
                <a:effectLst/>
              </a:rPr>
              <a:t>teambildungs</a:t>
            </a:r>
            <a:endParaRPr lang="en-US" dirty="0">
              <a:effectLst/>
            </a:endParaRPr>
          </a:p>
          <a:p>
            <a:r>
              <a:rPr lang="en-US" dirty="0">
                <a:effectLst/>
              </a:rPr>
              <a:t>– Calm the work environment</a:t>
            </a:r>
          </a:p>
          <a:p>
            <a:r>
              <a:rPr lang="en-US" i="1" dirty="0">
                <a:effectLst/>
              </a:rPr>
              <a:t>Norming and performing</a:t>
            </a:r>
            <a:r>
              <a:rPr lang="en-US" dirty="0">
                <a:effectLst/>
              </a:rPr>
              <a:t> (successfully implementing and sustaining projects)</a:t>
            </a:r>
            <a:r>
              <a:rPr lang="en-US" b="0" i="0" u="none" strike="noStrike" baseline="30000" dirty="0">
                <a:solidFill>
                  <a:srgbClr val="3366CC"/>
                </a:solidFill>
                <a:effectLst/>
                <a:hlinkClick r:id="rId5"/>
              </a:rPr>
              <a:t>[12]</a:t>
            </a:r>
            <a:r>
              <a:rPr lang="en-US" dirty="0">
                <a:effectLst/>
              </a:rPr>
              <a:t>Empowering behaviors– Get feedback from staff– Allow for the transfer of leadership</a:t>
            </a:r>
          </a:p>
          <a:p>
            <a:r>
              <a:rPr lang="en-US" dirty="0">
                <a:effectLst/>
              </a:rPr>
              <a:t>– Set aside time for planning and engaging the team</a:t>
            </a:r>
          </a:p>
          <a:p>
            <a:r>
              <a:rPr lang="en-US" i="1" dirty="0">
                <a:effectLst/>
              </a:rPr>
              <a:t>Outperforming and adjourning</a:t>
            </a:r>
            <a:r>
              <a:rPr lang="en-US" dirty="0">
                <a:effectLst/>
              </a:rPr>
              <a:t> (expanding initiative and integrating new members)</a:t>
            </a:r>
            <a:r>
              <a:rPr lang="en-US" b="0" i="0" u="none" strike="noStrike" baseline="30000" dirty="0">
                <a:solidFill>
                  <a:srgbClr val="3366CC"/>
                </a:solidFill>
                <a:effectLst/>
                <a:hlinkClick r:id="rId5"/>
              </a:rPr>
              <a:t>[12]</a:t>
            </a:r>
            <a:r>
              <a:rPr lang="en-US" dirty="0">
                <a:effectLst/>
              </a:rPr>
              <a:t>Supporting behaviors– Allow for flexibility in team roles– Assist in the timing and selection of new member</a:t>
            </a:r>
          </a:p>
          <a:p>
            <a:r>
              <a:rPr lang="en-US" dirty="0">
                <a:effectLst/>
              </a:rPr>
              <a:t>– Create future leadership opportunities –make sure that team members are ready for a new challenges and working in new teams</a:t>
            </a:r>
          </a:p>
          <a:p>
            <a:endParaRPr lang="en-US" dirty="0"/>
          </a:p>
        </p:txBody>
      </p:sp>
      <p:sp>
        <p:nvSpPr>
          <p:cNvPr id="4" name="Slide Number Placeholder 3"/>
          <p:cNvSpPr>
            <a:spLocks noGrp="1"/>
          </p:cNvSpPr>
          <p:nvPr>
            <p:ph type="sldNum" sz="quarter" idx="5"/>
          </p:nvPr>
        </p:nvSpPr>
        <p:spPr/>
        <p:txBody>
          <a:bodyPr/>
          <a:lstStyle/>
          <a:p>
            <a:fld id="{95DD4F66-B7F7-7041-8E00-958804099F79}" type="slidenum">
              <a:rPr lang="en-UA" smtClean="0"/>
              <a:t>12</a:t>
            </a:fld>
            <a:endParaRPr lang="en-UA"/>
          </a:p>
        </p:txBody>
      </p:sp>
    </p:spTree>
    <p:extLst>
      <p:ext uri="{BB962C8B-B14F-4D97-AF65-F5344CB8AC3E}">
        <p14:creationId xmlns:p14="http://schemas.microsoft.com/office/powerpoint/2010/main" val="329741022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Fundamental Attribution Error: What It Is &amp; How to Avoid It (hbs.edu)</a:t>
            </a:r>
            <a:endParaRPr lang="en-US" dirty="0"/>
          </a:p>
          <a:p>
            <a:r>
              <a:rPr lang="en-US" dirty="0"/>
              <a:t>I think that I’m late because of traffic, my colleague thinks that happen because I’m not a disciplined person, and it works some in opposite situation</a:t>
            </a:r>
          </a:p>
          <a:p>
            <a:r>
              <a:rPr lang="en-US" dirty="0"/>
              <a:t>So – try to get more responsibility for your actions and </a:t>
            </a:r>
            <a:r>
              <a:rPr lang="en-US" b="0" i="0" dirty="0">
                <a:solidFill>
                  <a:srgbClr val="3C4043"/>
                </a:solidFill>
                <a:effectLst/>
                <a:latin typeface="Roboto" panose="02000000000000000000" pitchFamily="2" charset="0"/>
              </a:rPr>
              <a:t>give others the opportunity to separate the external situation from their meaningful actions.</a:t>
            </a:r>
          </a:p>
          <a:p>
            <a:endParaRPr lang="en-US" b="0" i="0" dirty="0">
              <a:solidFill>
                <a:srgbClr val="3C4043"/>
              </a:solidFill>
              <a:effectLst/>
              <a:latin typeface="Roboto" panose="02000000000000000000" pitchFamily="2" charset="0"/>
            </a:endParaRPr>
          </a:p>
          <a:p>
            <a:r>
              <a:rPr lang="en-US" b="0" i="0" dirty="0">
                <a:solidFill>
                  <a:srgbClr val="3C4043"/>
                </a:solidFill>
                <a:effectLst/>
                <a:latin typeface="Roboto" panose="02000000000000000000" pitchFamily="2" charset="0"/>
              </a:rPr>
              <a:t>I 'believe that everyone know about </a:t>
            </a:r>
            <a:r>
              <a:rPr lang="en-US" b="0" i="0" dirty="0" err="1">
                <a:solidFill>
                  <a:srgbClr val="3C4043"/>
                </a:solidFill>
                <a:effectLst/>
                <a:latin typeface="Roboto" panose="02000000000000000000" pitchFamily="2" charset="0"/>
              </a:rPr>
              <a:t>Maslou</a:t>
            </a:r>
            <a:r>
              <a:rPr lang="en-US" b="0" i="0" dirty="0">
                <a:solidFill>
                  <a:srgbClr val="3C4043"/>
                </a:solidFill>
                <a:effectLst/>
                <a:latin typeface="Roboto" panose="02000000000000000000" pitchFamily="2" charset="0"/>
              </a:rPr>
              <a:t> pyramid, so I didn’t mention it here</a:t>
            </a:r>
            <a:endParaRPr lang="en-US" dirty="0"/>
          </a:p>
        </p:txBody>
      </p:sp>
      <p:sp>
        <p:nvSpPr>
          <p:cNvPr id="4" name="Slide Number Placeholder 3"/>
          <p:cNvSpPr>
            <a:spLocks noGrp="1"/>
          </p:cNvSpPr>
          <p:nvPr>
            <p:ph type="sldNum" sz="quarter" idx="5"/>
          </p:nvPr>
        </p:nvSpPr>
        <p:spPr/>
        <p:txBody>
          <a:bodyPr/>
          <a:lstStyle/>
          <a:p>
            <a:fld id="{95DD4F66-B7F7-7041-8E00-958804099F79}" type="slidenum">
              <a:rPr lang="en-UA" smtClean="0"/>
              <a:t>13</a:t>
            </a:fld>
            <a:endParaRPr lang="en-UA"/>
          </a:p>
        </p:txBody>
      </p:sp>
    </p:spTree>
    <p:extLst>
      <p:ext uri="{BB962C8B-B14F-4D97-AF65-F5344CB8AC3E}">
        <p14:creationId xmlns:p14="http://schemas.microsoft.com/office/powerpoint/2010/main" val="187919989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Dialectical logic is an upgrade of a formal logic – a cutting edge technology from an ancient times</a:t>
            </a:r>
          </a:p>
          <a:p>
            <a:r>
              <a:rPr lang="en-US" dirty="0"/>
              <a:t>[</a:t>
            </a:r>
            <a:r>
              <a:rPr lang="en-US" dirty="0" err="1"/>
              <a:t>thIsis</a:t>
            </a:r>
            <a:r>
              <a:rPr lang="en-US" dirty="0"/>
              <a:t> and </a:t>
            </a:r>
            <a:r>
              <a:rPr lang="en-US" dirty="0" err="1"/>
              <a:t>antithIsis</a:t>
            </a:r>
            <a:r>
              <a:rPr lang="en-US" dirty="0"/>
              <a:t>]</a:t>
            </a:r>
          </a:p>
          <a:p>
            <a:r>
              <a:rPr lang="en-US" dirty="0"/>
              <a:t>There are some additional interesting rules, but main takeaway is to analyze situation in many dimensions including time – how we get here, and what will be the </a:t>
            </a:r>
            <a:r>
              <a:rPr lang="en-US" b="0" i="0" dirty="0">
                <a:solidFill>
                  <a:srgbClr val="3C4043"/>
                </a:solidFill>
                <a:effectLst/>
                <a:latin typeface="Roboto" panose="02000000000000000000" pitchFamily="2" charset="0"/>
              </a:rPr>
              <a:t>consequences (results) in the future.</a:t>
            </a:r>
          </a:p>
          <a:p>
            <a:r>
              <a:rPr lang="en-US" b="0" i="0" dirty="0">
                <a:solidFill>
                  <a:srgbClr val="3C4043"/>
                </a:solidFill>
                <a:effectLst/>
                <a:latin typeface="Roboto" panose="02000000000000000000" pitchFamily="2" charset="0"/>
              </a:rPr>
              <a:t> Even extremely good solution today, in long perspective could bring a terrible consequences, and it works and in reverse as well – not very good solution today may be the best one in long term.</a:t>
            </a:r>
            <a:r>
              <a:rPr lang="en-US" dirty="0"/>
              <a:t> </a:t>
            </a:r>
          </a:p>
          <a:p>
            <a:endParaRPr lang="en-US" b="0" i="0" dirty="0">
              <a:solidFill>
                <a:srgbClr val="3C4043"/>
              </a:solidFill>
              <a:effectLst/>
              <a:latin typeface="Roboto" panose="02000000000000000000" pitchFamily="2" charset="0"/>
            </a:endParaRPr>
          </a:p>
          <a:p>
            <a:r>
              <a:rPr lang="en-US" b="0" i="0" dirty="0">
                <a:solidFill>
                  <a:srgbClr val="3C4043"/>
                </a:solidFill>
                <a:effectLst/>
                <a:latin typeface="Roboto" panose="02000000000000000000" pitchFamily="2" charset="0"/>
              </a:rPr>
              <a:t>It’s very important to understand for B track – there is now ideal solution, your main task is to understand consequences and to be able to work with them, to hold the direction to the strategic goals.</a:t>
            </a:r>
          </a:p>
          <a:p>
            <a:endParaRPr lang="en-US" b="0" i="0" dirty="0">
              <a:solidFill>
                <a:srgbClr val="3C4043"/>
              </a:solidFill>
              <a:effectLst/>
              <a:latin typeface="Roboto" panose="02000000000000000000" pitchFamily="2" charset="0"/>
            </a:endParaRPr>
          </a:p>
          <a:p>
            <a:endParaRPr lang="en-US" b="0" i="0" dirty="0">
              <a:solidFill>
                <a:srgbClr val="3C4043"/>
              </a:solidFill>
              <a:effectLst/>
              <a:latin typeface="Roboto" panose="02000000000000000000" pitchFamily="2" charset="0"/>
            </a:endParaRPr>
          </a:p>
          <a:p>
            <a:endParaRPr lang="en-US" dirty="0"/>
          </a:p>
        </p:txBody>
      </p:sp>
      <p:sp>
        <p:nvSpPr>
          <p:cNvPr id="4" name="Slide Number Placeholder 3"/>
          <p:cNvSpPr>
            <a:spLocks noGrp="1"/>
          </p:cNvSpPr>
          <p:nvPr>
            <p:ph type="sldNum" sz="quarter" idx="5"/>
          </p:nvPr>
        </p:nvSpPr>
        <p:spPr/>
        <p:txBody>
          <a:bodyPr/>
          <a:lstStyle/>
          <a:p>
            <a:fld id="{95DD4F66-B7F7-7041-8E00-958804099F79}" type="slidenum">
              <a:rPr lang="en-UA" smtClean="0"/>
              <a:t>14</a:t>
            </a:fld>
            <a:endParaRPr lang="en-UA"/>
          </a:p>
        </p:txBody>
      </p:sp>
    </p:spTree>
    <p:extLst>
      <p:ext uri="{BB962C8B-B14F-4D97-AF65-F5344CB8AC3E}">
        <p14:creationId xmlns:p14="http://schemas.microsoft.com/office/powerpoint/2010/main" val="311868744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5DD4F66-B7F7-7041-8E00-958804099F79}" type="slidenum">
              <a:rPr lang="en-UA" smtClean="0"/>
              <a:t>15</a:t>
            </a:fld>
            <a:endParaRPr lang="en-UA"/>
          </a:p>
        </p:txBody>
      </p:sp>
    </p:spTree>
    <p:extLst>
      <p:ext uri="{BB962C8B-B14F-4D97-AF65-F5344CB8AC3E}">
        <p14:creationId xmlns:p14="http://schemas.microsoft.com/office/powerpoint/2010/main" val="329651491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keaways are bold, good solution today may bring a very bad </a:t>
            </a:r>
            <a:r>
              <a:rPr lang="en-US" b="0" i="0" dirty="0">
                <a:solidFill>
                  <a:srgbClr val="3C4043"/>
                </a:solidFill>
                <a:effectLst/>
                <a:latin typeface="Roboto" panose="02000000000000000000" pitchFamily="2" charset="0"/>
              </a:rPr>
              <a:t>consequences tomorrow</a:t>
            </a:r>
            <a:endParaRPr lang="en-US" dirty="0"/>
          </a:p>
        </p:txBody>
      </p:sp>
      <p:sp>
        <p:nvSpPr>
          <p:cNvPr id="4" name="Slide Number Placeholder 3"/>
          <p:cNvSpPr>
            <a:spLocks noGrp="1"/>
          </p:cNvSpPr>
          <p:nvPr>
            <p:ph type="sldNum" sz="quarter" idx="5"/>
          </p:nvPr>
        </p:nvSpPr>
        <p:spPr/>
        <p:txBody>
          <a:bodyPr/>
          <a:lstStyle/>
          <a:p>
            <a:fld id="{95DD4F66-B7F7-7041-8E00-958804099F79}" type="slidenum">
              <a:rPr lang="en-UA" smtClean="0"/>
              <a:t>16</a:t>
            </a:fld>
            <a:endParaRPr lang="en-UA"/>
          </a:p>
        </p:txBody>
      </p:sp>
    </p:spTree>
    <p:extLst>
      <p:ext uri="{BB962C8B-B14F-4D97-AF65-F5344CB8AC3E}">
        <p14:creationId xmlns:p14="http://schemas.microsoft.com/office/powerpoint/2010/main" val="53772285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Tx/>
              <a:buNone/>
            </a:pPr>
            <a:r>
              <a:rPr lang="en-US" dirty="0"/>
              <a:t>Start with individual one-on-one meetings to understand each team member’s expectations, strengths, and areas for growth. Follow up with a team meeting to outline project goals, roles, and responsibilities, fostering an open environment for questions and clarifications.</a:t>
            </a:r>
            <a:endParaRPr lang="ru-RU" dirty="0"/>
          </a:p>
          <a:p>
            <a:pPr marL="0" indent="0">
              <a:buFontTx/>
              <a:buNone/>
            </a:pPr>
            <a:endParaRPr lang="ru-RU" dirty="0"/>
          </a:p>
          <a:p>
            <a:pPr marL="171450" indent="-171450">
              <a:buFontTx/>
              <a:buChar char="-"/>
            </a:pPr>
            <a:r>
              <a:rPr lang="en-US" dirty="0"/>
              <a:t>Basic rules and ceremonies</a:t>
            </a:r>
          </a:p>
          <a:p>
            <a:pPr marL="171450" indent="-171450">
              <a:buFontTx/>
              <a:buChar char="-"/>
            </a:pPr>
            <a:r>
              <a:rPr lang="en-US" dirty="0"/>
              <a:t>One on ones (gathering the information from previous slide)</a:t>
            </a:r>
          </a:p>
          <a:p>
            <a:pPr marL="171450" indent="-171450">
              <a:buFontTx/>
              <a:buChar char="-"/>
            </a:pPr>
            <a:r>
              <a:rPr lang="en-US" dirty="0"/>
              <a:t>Environment setting up (quality gates and pipelines)</a:t>
            </a:r>
          </a:p>
          <a:p>
            <a:pPr marL="171450" indent="-171450">
              <a:buFontTx/>
              <a:buChar char="-"/>
            </a:pPr>
            <a:r>
              <a:rPr lang="en-US" dirty="0"/>
              <a:t>Using of expertise</a:t>
            </a:r>
          </a:p>
          <a:p>
            <a:pPr marL="171450" indent="-171450">
              <a:buFontTx/>
              <a:buChar char="-"/>
            </a:pPr>
            <a:r>
              <a:rPr lang="en-US" dirty="0"/>
              <a:t>Creating a PDPs and Successors plans</a:t>
            </a:r>
          </a:p>
          <a:p>
            <a:pPr marL="171450" indent="-171450">
              <a:buFontTx/>
              <a:buChar char="-"/>
            </a:pPr>
            <a:r>
              <a:rPr lang="en-US" dirty="0"/>
              <a:t>Pair programming and KS sessions</a:t>
            </a:r>
          </a:p>
          <a:p>
            <a:pPr marL="171450" indent="-171450">
              <a:buFontTx/>
              <a:buChar char="-"/>
            </a:pPr>
            <a:r>
              <a:rPr lang="en-US" dirty="0"/>
              <a:t>RACI matrix</a:t>
            </a:r>
          </a:p>
          <a:p>
            <a:pPr marL="171450" indent="-171450">
              <a:buFontTx/>
              <a:buChar char="-"/>
            </a:pPr>
            <a:r>
              <a:rPr lang="en-US" dirty="0"/>
              <a:t>Team building is fine</a:t>
            </a:r>
          </a:p>
          <a:p>
            <a:pPr marL="171450" indent="-171450">
              <a:buFontTx/>
              <a:buChar char="-"/>
            </a:pPr>
            <a:endParaRPr lang="en-US" dirty="0"/>
          </a:p>
          <a:p>
            <a:pPr algn="l">
              <a:buFont typeface="Arial" panose="020B0604020202020204" pitchFamily="34" charset="0"/>
              <a:buChar char="•"/>
            </a:pPr>
            <a:r>
              <a:rPr lang="en-US" b="1" i="0" dirty="0">
                <a:solidFill>
                  <a:srgbClr val="111111"/>
                </a:solidFill>
                <a:effectLst/>
                <a:latin typeface="-apple-system"/>
              </a:rPr>
              <a:t>R</a:t>
            </a:r>
            <a:r>
              <a:rPr lang="en-US" b="0" i="0" dirty="0">
                <a:solidFill>
                  <a:srgbClr val="111111"/>
                </a:solidFill>
                <a:effectLst/>
                <a:latin typeface="-apple-system"/>
              </a:rPr>
              <a:t>: Responsible. The person who is responsible for completing the task.</a:t>
            </a:r>
          </a:p>
          <a:p>
            <a:pPr algn="l">
              <a:buFont typeface="Arial" panose="020B0604020202020204" pitchFamily="34" charset="0"/>
              <a:buChar char="•"/>
            </a:pPr>
            <a:r>
              <a:rPr lang="en-US" b="1" i="0" dirty="0">
                <a:solidFill>
                  <a:srgbClr val="111111"/>
                </a:solidFill>
                <a:effectLst/>
                <a:latin typeface="-apple-system"/>
              </a:rPr>
              <a:t>A</a:t>
            </a:r>
            <a:r>
              <a:rPr lang="en-US" b="0" i="0" dirty="0">
                <a:solidFill>
                  <a:srgbClr val="111111"/>
                </a:solidFill>
                <a:effectLst/>
                <a:latin typeface="-apple-system"/>
              </a:rPr>
              <a:t>: Accountable. The person who is accountable for the task. This person has the ultimate responsibility and authority.</a:t>
            </a:r>
          </a:p>
          <a:p>
            <a:pPr algn="l">
              <a:buFont typeface="Arial" panose="020B0604020202020204" pitchFamily="34" charset="0"/>
              <a:buChar char="•"/>
            </a:pPr>
            <a:r>
              <a:rPr lang="en-US" b="1" i="0" dirty="0">
                <a:solidFill>
                  <a:srgbClr val="111111"/>
                </a:solidFill>
                <a:effectLst/>
                <a:latin typeface="-apple-system"/>
              </a:rPr>
              <a:t>C</a:t>
            </a:r>
            <a:r>
              <a:rPr lang="en-US" b="0" i="0" dirty="0">
                <a:solidFill>
                  <a:srgbClr val="111111"/>
                </a:solidFill>
                <a:effectLst/>
                <a:latin typeface="-apple-system"/>
              </a:rPr>
              <a:t>: Consulted. The person who is consulted before a decision or action is taken.</a:t>
            </a:r>
          </a:p>
          <a:p>
            <a:pPr algn="l">
              <a:buFont typeface="Arial" panose="020B0604020202020204" pitchFamily="34" charset="0"/>
              <a:buChar char="•"/>
            </a:pPr>
            <a:r>
              <a:rPr lang="en-US" b="1" i="0" dirty="0">
                <a:solidFill>
                  <a:srgbClr val="111111"/>
                </a:solidFill>
                <a:effectLst/>
                <a:latin typeface="-apple-system"/>
              </a:rPr>
              <a:t>I</a:t>
            </a:r>
            <a:r>
              <a:rPr lang="en-US" b="0" i="0" dirty="0">
                <a:solidFill>
                  <a:srgbClr val="111111"/>
                </a:solidFill>
                <a:effectLst/>
                <a:latin typeface="-apple-system"/>
              </a:rPr>
              <a:t>: Informed. The person who is informed after a decision or action has been taken.</a:t>
            </a:r>
          </a:p>
          <a:p>
            <a:pPr marL="171450" indent="-171450">
              <a:buFontTx/>
              <a:buChar char="-"/>
            </a:pPr>
            <a:endParaRPr lang="en-US" dirty="0"/>
          </a:p>
        </p:txBody>
      </p:sp>
      <p:sp>
        <p:nvSpPr>
          <p:cNvPr id="4" name="Slide Number Placeholder 3"/>
          <p:cNvSpPr>
            <a:spLocks noGrp="1"/>
          </p:cNvSpPr>
          <p:nvPr>
            <p:ph type="sldNum" sz="quarter" idx="5"/>
          </p:nvPr>
        </p:nvSpPr>
        <p:spPr/>
        <p:txBody>
          <a:bodyPr/>
          <a:lstStyle/>
          <a:p>
            <a:fld id="{95DD4F66-B7F7-7041-8E00-958804099F79}" type="slidenum">
              <a:rPr lang="en-UA" smtClean="0"/>
              <a:t>17</a:t>
            </a:fld>
            <a:endParaRPr lang="en-UA"/>
          </a:p>
        </p:txBody>
      </p:sp>
    </p:spTree>
    <p:extLst>
      <p:ext uri="{BB962C8B-B14F-4D97-AF65-F5344CB8AC3E}">
        <p14:creationId xmlns:p14="http://schemas.microsoft.com/office/powerpoint/2010/main" val="70366180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Tx/>
              <a:buNone/>
            </a:pPr>
            <a:r>
              <a:rPr lang="en-US" dirty="0"/>
              <a:t>Conduct a workshop where both the mandatory and optional frameworks are discussed. Allow team members, especially technical experts like Adam and Bob, to present their views and lead a structured discussion to reach a consensus.</a:t>
            </a:r>
            <a:endParaRPr lang="ru-RU" dirty="0"/>
          </a:p>
          <a:p>
            <a:pPr marL="171450" indent="-171450">
              <a:buFontTx/>
              <a:buChar char="-"/>
            </a:pPr>
            <a:endParaRPr lang="ru-RU" dirty="0"/>
          </a:p>
          <a:p>
            <a:pPr marL="171450" indent="-171450">
              <a:buFontTx/>
              <a:buChar char="-"/>
            </a:pPr>
            <a:r>
              <a:rPr lang="en-US" dirty="0"/>
              <a:t>Experience</a:t>
            </a:r>
          </a:p>
          <a:p>
            <a:pPr marL="171450" indent="-171450">
              <a:buFontTx/>
              <a:buChar char="-"/>
            </a:pPr>
            <a:r>
              <a:rPr lang="en-US" dirty="0"/>
              <a:t>Technologies support and popularity</a:t>
            </a:r>
          </a:p>
          <a:p>
            <a:pPr marL="171450" indent="-171450">
              <a:buFontTx/>
              <a:buChar char="-"/>
            </a:pPr>
            <a:r>
              <a:rPr lang="en-US" dirty="0"/>
              <a:t>Team desires</a:t>
            </a:r>
          </a:p>
          <a:p>
            <a:pPr marL="171450" indent="-171450">
              <a:buFontTx/>
              <a:buChar char="-"/>
            </a:pPr>
            <a:r>
              <a:rPr lang="en-US" dirty="0"/>
              <a:t>Your authority </a:t>
            </a:r>
          </a:p>
        </p:txBody>
      </p:sp>
      <p:sp>
        <p:nvSpPr>
          <p:cNvPr id="4" name="Slide Number Placeholder 3"/>
          <p:cNvSpPr>
            <a:spLocks noGrp="1"/>
          </p:cNvSpPr>
          <p:nvPr>
            <p:ph type="sldNum" sz="quarter" idx="5"/>
          </p:nvPr>
        </p:nvSpPr>
        <p:spPr/>
        <p:txBody>
          <a:bodyPr/>
          <a:lstStyle/>
          <a:p>
            <a:fld id="{95DD4F66-B7F7-7041-8E00-958804099F79}" type="slidenum">
              <a:rPr lang="en-UA" smtClean="0"/>
              <a:t>18</a:t>
            </a:fld>
            <a:endParaRPr lang="en-UA"/>
          </a:p>
        </p:txBody>
      </p:sp>
    </p:spTree>
    <p:extLst>
      <p:ext uri="{BB962C8B-B14F-4D97-AF65-F5344CB8AC3E}">
        <p14:creationId xmlns:p14="http://schemas.microsoft.com/office/powerpoint/2010/main" val="171867431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Tx/>
              <a:buNone/>
            </a:pPr>
            <a:r>
              <a:rPr lang="en-US" dirty="0"/>
              <a:t>Use planning poker or another consensus-based estimation technique to involve all team members in the process. This ensures that different perspectives and expertise are considered, balancing out biases and leading to more accurate estimations.</a:t>
            </a:r>
          </a:p>
          <a:p>
            <a:pPr marL="171450" indent="-171450">
              <a:buFontTx/>
              <a:buChar char="-"/>
            </a:pPr>
            <a:endParaRPr lang="ru-RU" dirty="0"/>
          </a:p>
          <a:p>
            <a:pPr marL="171450" indent="-171450">
              <a:buFontTx/>
              <a:buChar char="-"/>
            </a:pPr>
            <a:endParaRPr lang="ru-RU" dirty="0"/>
          </a:p>
          <a:p>
            <a:pPr marL="171450" indent="-171450">
              <a:buFontTx/>
              <a:buChar char="-"/>
            </a:pPr>
            <a:r>
              <a:rPr lang="en-US" dirty="0"/>
              <a:t>Man hours or story points – what is the difference</a:t>
            </a:r>
          </a:p>
          <a:p>
            <a:pPr marL="171450" indent="-171450">
              <a:buFontTx/>
              <a:buChar char="-"/>
            </a:pPr>
            <a:r>
              <a:rPr lang="en-US" dirty="0"/>
              <a:t>Measure of complexity, which is individual for the team, and depends from SP definition – for example controller + simple service + </a:t>
            </a:r>
            <a:r>
              <a:rPr lang="en-US" dirty="0" err="1"/>
              <a:t>db</a:t>
            </a:r>
            <a:r>
              <a:rPr lang="en-US" dirty="0"/>
              <a:t> access class is good for the beginning, but you should change it when you’ll have an examples from current project</a:t>
            </a:r>
          </a:p>
          <a:p>
            <a:pPr marL="171450" indent="-171450">
              <a:buFontTx/>
              <a:buChar char="-"/>
            </a:pPr>
            <a:endParaRPr lang="en-US" dirty="0"/>
          </a:p>
          <a:p>
            <a:pPr marL="171450" indent="-171450">
              <a:buFontTx/>
              <a:buChar char="-"/>
            </a:pPr>
            <a:r>
              <a:rPr lang="en-US" dirty="0"/>
              <a:t>Don’t forget about well formulated definition of done – task isn’t finished until it isn’t deployed and tested</a:t>
            </a:r>
          </a:p>
          <a:p>
            <a:pPr marL="171450" indent="-171450">
              <a:buFontTx/>
              <a:buChar char="-"/>
            </a:pPr>
            <a:r>
              <a:rPr lang="en-US" dirty="0"/>
              <a:t>SMART</a:t>
            </a:r>
          </a:p>
        </p:txBody>
      </p:sp>
      <p:sp>
        <p:nvSpPr>
          <p:cNvPr id="4" name="Slide Number Placeholder 3"/>
          <p:cNvSpPr>
            <a:spLocks noGrp="1"/>
          </p:cNvSpPr>
          <p:nvPr>
            <p:ph type="sldNum" sz="quarter" idx="5"/>
          </p:nvPr>
        </p:nvSpPr>
        <p:spPr/>
        <p:txBody>
          <a:bodyPr/>
          <a:lstStyle/>
          <a:p>
            <a:fld id="{95DD4F66-B7F7-7041-8E00-958804099F79}" type="slidenum">
              <a:rPr lang="en-UA" smtClean="0"/>
              <a:t>19</a:t>
            </a:fld>
            <a:endParaRPr lang="en-UA"/>
          </a:p>
        </p:txBody>
      </p:sp>
    </p:spTree>
    <p:extLst>
      <p:ext uri="{BB962C8B-B14F-4D97-AF65-F5344CB8AC3E}">
        <p14:creationId xmlns:p14="http://schemas.microsoft.com/office/powerpoint/2010/main" val="291950317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cs typeface="Calibri" panose="020F0502020204030204"/>
              </a:rPr>
              <a:t>So just to run you through what I'd like to cover today (take normal temp, don’t start to speed upping the speech)</a:t>
            </a:r>
          </a:p>
          <a:p>
            <a:pPr marL="228600" indent="-228600">
              <a:buAutoNum type="arabicParenR"/>
            </a:pPr>
            <a:r>
              <a:rPr lang="en-US" dirty="0"/>
              <a:t>Speaker – this is the most important part</a:t>
            </a:r>
            <a:endParaRPr lang="en-US" dirty="0">
              <a:cs typeface="Calibri"/>
            </a:endParaRPr>
          </a:p>
          <a:p>
            <a:pPr marL="228600" indent="-228600">
              <a:buAutoNum type="arabicParenR"/>
            </a:pPr>
            <a:r>
              <a:rPr lang="en-US" dirty="0"/>
              <a:t>Rules – how we’ll work TOGETHER today</a:t>
            </a:r>
          </a:p>
          <a:p>
            <a:pPr marL="228600" indent="-228600">
              <a:buAutoNum type="arabicParenR"/>
            </a:pPr>
            <a:r>
              <a:rPr lang="en-US" dirty="0"/>
              <a:t>How to learn? – if you don’t know, or even if you think that you know – it will be helpful to remind it</a:t>
            </a:r>
          </a:p>
          <a:p>
            <a:pPr marL="228600" indent="-228600">
              <a:buAutoNum type="arabicParenR" startAt="7"/>
            </a:pPr>
            <a:r>
              <a:rPr lang="en-US" dirty="0"/>
              <a:t>Use cases – our main activity for today, we’ll play a virtual team leading path with new team – from it’s start, till the end, and we’ll try to find a solutions for a different situations and problems</a:t>
            </a:r>
          </a:p>
          <a:p>
            <a:pPr marL="0" indent="0">
              <a:buNone/>
            </a:pPr>
            <a:endParaRPr lang="en-US" dirty="0"/>
          </a:p>
        </p:txBody>
      </p:sp>
      <p:sp>
        <p:nvSpPr>
          <p:cNvPr id="4" name="Slide Number Placeholder 3"/>
          <p:cNvSpPr>
            <a:spLocks noGrp="1"/>
          </p:cNvSpPr>
          <p:nvPr>
            <p:ph type="sldNum" sz="quarter" idx="5"/>
          </p:nvPr>
        </p:nvSpPr>
        <p:spPr/>
        <p:txBody>
          <a:bodyPr/>
          <a:lstStyle/>
          <a:p>
            <a:fld id="{B172747E-5BCD-4334-93E7-ED225465B0DD}" type="slidenum">
              <a:rPr lang="en-US" smtClean="0"/>
              <a:pPr/>
              <a:t>2</a:t>
            </a:fld>
            <a:endParaRPr lang="en-US"/>
          </a:p>
        </p:txBody>
      </p:sp>
    </p:spTree>
    <p:extLst>
      <p:ext uri="{BB962C8B-B14F-4D97-AF65-F5344CB8AC3E}">
        <p14:creationId xmlns:p14="http://schemas.microsoft.com/office/powerpoint/2010/main" val="74235146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Tx/>
              <a:buNone/>
            </a:pPr>
            <a:r>
              <a:rPr lang="en-US" dirty="0"/>
              <a:t>Offer additional training or a one-on-one session to explain the estimation process in detail to Eva. Emphasize that speed differences are expected and estimations often involve learning curves and adjustments.</a:t>
            </a:r>
            <a:endParaRPr lang="ru-RU" dirty="0"/>
          </a:p>
          <a:p>
            <a:pPr marL="171450" indent="-171450">
              <a:buFontTx/>
              <a:buChar char="-"/>
            </a:pPr>
            <a:endParaRPr lang="ru-RU" dirty="0"/>
          </a:p>
          <a:p>
            <a:pPr marL="171450" indent="-171450">
              <a:buFontTx/>
              <a:buChar char="-"/>
            </a:pPr>
            <a:r>
              <a:rPr lang="en-US" dirty="0"/>
              <a:t>From the very beginning you and your future team members are spiking on a different languages, same words have a different meaning for you, that’s why you should define and speak over and over again basic, obvious staff – you should teach your team to understand you and your style of explanation, and to give a possibility for team members try to explain such stuff, you’ll listen, learn more about your team, and will help to set up the communication</a:t>
            </a:r>
          </a:p>
          <a:p>
            <a:pPr marL="171450" indent="-171450">
              <a:buFontTx/>
              <a:buChar char="-"/>
            </a:pPr>
            <a:r>
              <a:rPr lang="en-US" dirty="0"/>
              <a:t>Plus – as soon you’ll find contradictions, as easy and fast you’ll go through storming phase</a:t>
            </a:r>
          </a:p>
        </p:txBody>
      </p:sp>
      <p:sp>
        <p:nvSpPr>
          <p:cNvPr id="4" name="Slide Number Placeholder 3"/>
          <p:cNvSpPr>
            <a:spLocks noGrp="1"/>
          </p:cNvSpPr>
          <p:nvPr>
            <p:ph type="sldNum" sz="quarter" idx="5"/>
          </p:nvPr>
        </p:nvSpPr>
        <p:spPr/>
        <p:txBody>
          <a:bodyPr/>
          <a:lstStyle/>
          <a:p>
            <a:fld id="{95DD4F66-B7F7-7041-8E00-958804099F79}" type="slidenum">
              <a:rPr lang="en-UA" smtClean="0"/>
              <a:t>20</a:t>
            </a:fld>
            <a:endParaRPr lang="en-UA"/>
          </a:p>
        </p:txBody>
      </p:sp>
    </p:spTree>
    <p:extLst>
      <p:ext uri="{BB962C8B-B14F-4D97-AF65-F5344CB8AC3E}">
        <p14:creationId xmlns:p14="http://schemas.microsoft.com/office/powerpoint/2010/main" val="25458797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Tx/>
              <a:buNone/>
            </a:pPr>
            <a:r>
              <a:rPr lang="en-US" dirty="0"/>
              <a:t>Share the rationale behind each estimate with Mary, including the complexity and risks involved. Consider revising the estimates if new information is provided, or propose a reevaluation after an initial phase of the project to validate assumptions.</a:t>
            </a:r>
            <a:endParaRPr lang="ru-RU" dirty="0"/>
          </a:p>
          <a:p>
            <a:pPr marL="171450" indent="-171450">
              <a:buFontTx/>
              <a:buChar char="-"/>
            </a:pPr>
            <a:endParaRPr lang="ru-RU" dirty="0"/>
          </a:p>
          <a:p>
            <a:pPr marL="171450" indent="-171450">
              <a:buFontTx/>
              <a:buChar char="-"/>
            </a:pPr>
            <a:r>
              <a:rPr lang="en-US" dirty="0"/>
              <a:t>RACI and zones of responsibility should be defined from the start</a:t>
            </a:r>
          </a:p>
          <a:p>
            <a:pPr marL="171450" indent="-171450">
              <a:buFontTx/>
              <a:buChar char="-"/>
            </a:pPr>
            <a:r>
              <a:rPr lang="en-US" dirty="0"/>
              <a:t>Mail that it won’t work but you and your team will do their best</a:t>
            </a:r>
          </a:p>
        </p:txBody>
      </p:sp>
      <p:sp>
        <p:nvSpPr>
          <p:cNvPr id="4" name="Slide Number Placeholder 3"/>
          <p:cNvSpPr>
            <a:spLocks noGrp="1"/>
          </p:cNvSpPr>
          <p:nvPr>
            <p:ph type="sldNum" sz="quarter" idx="5"/>
          </p:nvPr>
        </p:nvSpPr>
        <p:spPr/>
        <p:txBody>
          <a:bodyPr/>
          <a:lstStyle/>
          <a:p>
            <a:fld id="{95DD4F66-B7F7-7041-8E00-958804099F79}" type="slidenum">
              <a:rPr lang="en-UA" smtClean="0"/>
              <a:t>21</a:t>
            </a:fld>
            <a:endParaRPr lang="en-UA"/>
          </a:p>
        </p:txBody>
      </p:sp>
    </p:spTree>
    <p:extLst>
      <p:ext uri="{BB962C8B-B14F-4D97-AF65-F5344CB8AC3E}">
        <p14:creationId xmlns:p14="http://schemas.microsoft.com/office/powerpoint/2010/main" val="376735328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Tx/>
              <a:buNone/>
            </a:pPr>
            <a:r>
              <a:rPr lang="en-US" dirty="0"/>
              <a:t>Initiate a mediation session where Adam and Bob can express their concerns in a controlled environment. Facilitate a discussion to understand their perspectives, and guide them towards a professional understanding or compromise.</a:t>
            </a:r>
            <a:endParaRPr lang="ru-RU" dirty="0"/>
          </a:p>
          <a:p>
            <a:pPr marL="171450" indent="-171450">
              <a:buFontTx/>
              <a:buChar char="-"/>
            </a:pPr>
            <a:endParaRPr lang="ru-RU" dirty="0"/>
          </a:p>
          <a:p>
            <a:pPr marL="171450" indent="-171450">
              <a:buFontTx/>
              <a:buChar char="-"/>
            </a:pPr>
            <a:r>
              <a:rPr lang="en-US" dirty="0"/>
              <a:t>Successors plan</a:t>
            </a:r>
          </a:p>
        </p:txBody>
      </p:sp>
      <p:sp>
        <p:nvSpPr>
          <p:cNvPr id="4" name="Slide Number Placeholder 3"/>
          <p:cNvSpPr>
            <a:spLocks noGrp="1"/>
          </p:cNvSpPr>
          <p:nvPr>
            <p:ph type="sldNum" sz="quarter" idx="5"/>
          </p:nvPr>
        </p:nvSpPr>
        <p:spPr/>
        <p:txBody>
          <a:bodyPr/>
          <a:lstStyle/>
          <a:p>
            <a:fld id="{95DD4F66-B7F7-7041-8E00-958804099F79}" type="slidenum">
              <a:rPr lang="en-UA" smtClean="0"/>
              <a:t>22</a:t>
            </a:fld>
            <a:endParaRPr lang="en-UA"/>
          </a:p>
        </p:txBody>
      </p:sp>
    </p:spTree>
    <p:extLst>
      <p:ext uri="{BB962C8B-B14F-4D97-AF65-F5344CB8AC3E}">
        <p14:creationId xmlns:p14="http://schemas.microsoft.com/office/powerpoint/2010/main" val="323782314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Tx/>
              <a:buNone/>
            </a:pPr>
            <a:r>
              <a:rPr lang="en-US" dirty="0"/>
              <a:t>Implement a more robust regression testing strategy. Encourage Diana's growth in automation testing by integrating automated regression tests, which helps catch breaking changes earlier.</a:t>
            </a:r>
            <a:endParaRPr lang="ru-RU" dirty="0"/>
          </a:p>
          <a:p>
            <a:pPr marL="171450" indent="-171450">
              <a:buFontTx/>
              <a:buChar char="-"/>
            </a:pPr>
            <a:endParaRPr lang="ru-RU" dirty="0"/>
          </a:p>
          <a:p>
            <a:pPr marL="171450" indent="-171450">
              <a:buFontTx/>
              <a:buChar char="-"/>
            </a:pPr>
            <a:r>
              <a:rPr lang="en-US" dirty="0"/>
              <a:t>RACI and zones of responsibility should be defined from the start</a:t>
            </a:r>
          </a:p>
          <a:p>
            <a:pPr marL="171450" indent="-171450">
              <a:buFontTx/>
              <a:buChar char="-"/>
            </a:pPr>
            <a:r>
              <a:rPr lang="en-US" dirty="0"/>
              <a:t>Quality Gates</a:t>
            </a:r>
          </a:p>
          <a:p>
            <a:pPr marL="171450" indent="-171450">
              <a:buFontTx/>
              <a:buChar char="-"/>
            </a:pPr>
            <a:r>
              <a:rPr lang="en-US" dirty="0"/>
              <a:t>Root Cause investigation</a:t>
            </a:r>
          </a:p>
          <a:p>
            <a:pPr marL="171450" indent="-171450">
              <a:buFontTx/>
              <a:buChar char="-"/>
            </a:pPr>
            <a:r>
              <a:rPr lang="en-US" dirty="0"/>
              <a:t>Definition of done</a:t>
            </a:r>
          </a:p>
        </p:txBody>
      </p:sp>
      <p:sp>
        <p:nvSpPr>
          <p:cNvPr id="4" name="Slide Number Placeholder 3"/>
          <p:cNvSpPr>
            <a:spLocks noGrp="1"/>
          </p:cNvSpPr>
          <p:nvPr>
            <p:ph type="sldNum" sz="quarter" idx="5"/>
          </p:nvPr>
        </p:nvSpPr>
        <p:spPr/>
        <p:txBody>
          <a:bodyPr/>
          <a:lstStyle/>
          <a:p>
            <a:fld id="{95DD4F66-B7F7-7041-8E00-958804099F79}" type="slidenum">
              <a:rPr lang="en-UA" smtClean="0"/>
              <a:t>23</a:t>
            </a:fld>
            <a:endParaRPr lang="en-UA"/>
          </a:p>
        </p:txBody>
      </p:sp>
    </p:spTree>
    <p:extLst>
      <p:ext uri="{BB962C8B-B14F-4D97-AF65-F5344CB8AC3E}">
        <p14:creationId xmlns:p14="http://schemas.microsoft.com/office/powerpoint/2010/main" val="180966416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Tx/>
              <a:buNone/>
            </a:pPr>
            <a:r>
              <a:rPr lang="en-US" dirty="0"/>
              <a:t>Address Bob's non-compliance in a one-on-one meeting, emphasizing team standards and the influence of his actions. Reinforce the importance of adhering to team decisions through regular reminders and by setting clear expectations.</a:t>
            </a:r>
          </a:p>
        </p:txBody>
      </p:sp>
      <p:sp>
        <p:nvSpPr>
          <p:cNvPr id="4" name="Slide Number Placeholder 3"/>
          <p:cNvSpPr>
            <a:spLocks noGrp="1"/>
          </p:cNvSpPr>
          <p:nvPr>
            <p:ph type="sldNum" sz="quarter" idx="5"/>
          </p:nvPr>
        </p:nvSpPr>
        <p:spPr/>
        <p:txBody>
          <a:bodyPr/>
          <a:lstStyle/>
          <a:p>
            <a:fld id="{95DD4F66-B7F7-7041-8E00-958804099F79}" type="slidenum">
              <a:rPr lang="en-UA" smtClean="0"/>
              <a:t>24</a:t>
            </a:fld>
            <a:endParaRPr lang="en-UA"/>
          </a:p>
        </p:txBody>
      </p:sp>
    </p:spTree>
    <p:extLst>
      <p:ext uri="{BB962C8B-B14F-4D97-AF65-F5344CB8AC3E}">
        <p14:creationId xmlns:p14="http://schemas.microsoft.com/office/powerpoint/2010/main" val="310682203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Tx/>
              <a:buNone/>
            </a:pPr>
            <a:r>
              <a:rPr lang="en-US" dirty="0"/>
              <a:t>Analyze the workload distribution and identify tasks that can be reallocated from Bob to other team members like Eva and Pavel, who may benefit from the learning opportunity. This helps in skill building and reduces the single-point dependency on Bob.</a:t>
            </a:r>
          </a:p>
        </p:txBody>
      </p:sp>
      <p:sp>
        <p:nvSpPr>
          <p:cNvPr id="4" name="Slide Number Placeholder 3"/>
          <p:cNvSpPr>
            <a:spLocks noGrp="1"/>
          </p:cNvSpPr>
          <p:nvPr>
            <p:ph type="sldNum" sz="quarter" idx="5"/>
          </p:nvPr>
        </p:nvSpPr>
        <p:spPr/>
        <p:txBody>
          <a:bodyPr/>
          <a:lstStyle/>
          <a:p>
            <a:fld id="{95DD4F66-B7F7-7041-8E00-958804099F79}" type="slidenum">
              <a:rPr lang="en-UA" smtClean="0"/>
              <a:t>25</a:t>
            </a:fld>
            <a:endParaRPr lang="en-UA"/>
          </a:p>
        </p:txBody>
      </p:sp>
    </p:spTree>
    <p:extLst>
      <p:ext uri="{BB962C8B-B14F-4D97-AF65-F5344CB8AC3E}">
        <p14:creationId xmlns:p14="http://schemas.microsoft.com/office/powerpoint/2010/main" val="94564039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Tx/>
              <a:buNone/>
            </a:pPr>
            <a:r>
              <a:rPr lang="en-US" dirty="0"/>
              <a:t>If Bob’s absence was unforeseen and no backup plan was in place, quickly identify team members who can temporarily take over his responsibilities. For future, develop a knowledge-sharing plan that includes regular documentation and cross-training sessions to mitigate such risks.</a:t>
            </a:r>
          </a:p>
        </p:txBody>
      </p:sp>
      <p:sp>
        <p:nvSpPr>
          <p:cNvPr id="4" name="Slide Number Placeholder 3"/>
          <p:cNvSpPr>
            <a:spLocks noGrp="1"/>
          </p:cNvSpPr>
          <p:nvPr>
            <p:ph type="sldNum" sz="quarter" idx="5"/>
          </p:nvPr>
        </p:nvSpPr>
        <p:spPr/>
        <p:txBody>
          <a:bodyPr/>
          <a:lstStyle/>
          <a:p>
            <a:fld id="{95DD4F66-B7F7-7041-8E00-958804099F79}" type="slidenum">
              <a:rPr lang="en-UA" smtClean="0"/>
              <a:t>26</a:t>
            </a:fld>
            <a:endParaRPr lang="en-UA"/>
          </a:p>
        </p:txBody>
      </p:sp>
    </p:spTree>
    <p:extLst>
      <p:ext uri="{BB962C8B-B14F-4D97-AF65-F5344CB8AC3E}">
        <p14:creationId xmlns:p14="http://schemas.microsoft.com/office/powerpoint/2010/main" val="27887227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Tx/>
              <a:buNone/>
            </a:pPr>
            <a:r>
              <a:rPr lang="en-US" dirty="0"/>
              <a:t>Assess the urgency and impact of the request. Propose an alternative approach to include the task in the next sprint to maintain the current sprint's focus and commitments. Negotiate with Mary to balance client demands with sustainable development practices.</a:t>
            </a:r>
          </a:p>
          <a:p>
            <a:pPr marL="0" indent="0">
              <a:buFontTx/>
              <a:buNone/>
            </a:pPr>
            <a:endParaRPr lang="en-US" dirty="0"/>
          </a:p>
        </p:txBody>
      </p:sp>
      <p:sp>
        <p:nvSpPr>
          <p:cNvPr id="4" name="Slide Number Placeholder 3"/>
          <p:cNvSpPr>
            <a:spLocks noGrp="1"/>
          </p:cNvSpPr>
          <p:nvPr>
            <p:ph type="sldNum" sz="quarter" idx="5"/>
          </p:nvPr>
        </p:nvSpPr>
        <p:spPr/>
        <p:txBody>
          <a:bodyPr/>
          <a:lstStyle/>
          <a:p>
            <a:fld id="{95DD4F66-B7F7-7041-8E00-958804099F79}" type="slidenum">
              <a:rPr lang="en-UA" smtClean="0"/>
              <a:t>27</a:t>
            </a:fld>
            <a:endParaRPr lang="en-UA"/>
          </a:p>
        </p:txBody>
      </p:sp>
    </p:spTree>
    <p:extLst>
      <p:ext uri="{BB962C8B-B14F-4D97-AF65-F5344CB8AC3E}">
        <p14:creationId xmlns:p14="http://schemas.microsoft.com/office/powerpoint/2010/main" val="313989250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Tx/>
              <a:buNone/>
            </a:pPr>
            <a:r>
              <a:rPr lang="en-US" dirty="0"/>
              <a:t>Clearly explain the resource-intensity of the tasks to Mary and the client, providing a detailed breakdown of the efforts required. Offer alternatives that achieve similar goals with possibly lower effort if practical.</a:t>
            </a:r>
            <a:endParaRPr lang="ru-RU" dirty="0"/>
          </a:p>
          <a:p>
            <a:pPr marL="171450" indent="-171450">
              <a:buFontTx/>
              <a:buChar char="-"/>
            </a:pPr>
            <a:endParaRPr lang="ru-RU" dirty="0"/>
          </a:p>
          <a:p>
            <a:pPr marL="171450" indent="-171450">
              <a:buFontTx/>
              <a:buChar char="-"/>
            </a:pPr>
            <a:r>
              <a:rPr lang="en-US" dirty="0"/>
              <a:t>Sometimes only you is the one who could provide information about effort measure</a:t>
            </a:r>
          </a:p>
        </p:txBody>
      </p:sp>
      <p:sp>
        <p:nvSpPr>
          <p:cNvPr id="4" name="Slide Number Placeholder 3"/>
          <p:cNvSpPr>
            <a:spLocks noGrp="1"/>
          </p:cNvSpPr>
          <p:nvPr>
            <p:ph type="sldNum" sz="quarter" idx="5"/>
          </p:nvPr>
        </p:nvSpPr>
        <p:spPr/>
        <p:txBody>
          <a:bodyPr/>
          <a:lstStyle/>
          <a:p>
            <a:fld id="{95DD4F66-B7F7-7041-8E00-958804099F79}" type="slidenum">
              <a:rPr lang="en-UA" smtClean="0"/>
              <a:t>28</a:t>
            </a:fld>
            <a:endParaRPr lang="en-UA"/>
          </a:p>
        </p:txBody>
      </p:sp>
    </p:spTree>
    <p:extLst>
      <p:ext uri="{BB962C8B-B14F-4D97-AF65-F5344CB8AC3E}">
        <p14:creationId xmlns:p14="http://schemas.microsoft.com/office/powerpoint/2010/main" val="3254819175"/>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Tx/>
              <a:buNone/>
            </a:pPr>
            <a:r>
              <a:rPr lang="en-US" dirty="0"/>
              <a:t>Organize a requirement clarification session with the BA and all relevant stakeholders. Use visual aids like flowcharts or diagrams to map out requirements and resolve discrepancies practically and visually.</a:t>
            </a:r>
            <a:endParaRPr lang="ru-RU" dirty="0"/>
          </a:p>
          <a:p>
            <a:pPr marL="171450" indent="-171450">
              <a:buFontTx/>
              <a:buChar char="-"/>
            </a:pPr>
            <a:endParaRPr lang="ru-RU" dirty="0"/>
          </a:p>
          <a:p>
            <a:pPr marL="171450" indent="-171450">
              <a:buFontTx/>
              <a:buChar char="-"/>
            </a:pPr>
            <a:r>
              <a:rPr lang="en-US" dirty="0"/>
              <a:t>Idea is to provide a situation when you need to change a style of working of team member not from your technical pool</a:t>
            </a:r>
          </a:p>
        </p:txBody>
      </p:sp>
      <p:sp>
        <p:nvSpPr>
          <p:cNvPr id="4" name="Slide Number Placeholder 3"/>
          <p:cNvSpPr>
            <a:spLocks noGrp="1"/>
          </p:cNvSpPr>
          <p:nvPr>
            <p:ph type="sldNum" sz="quarter" idx="5"/>
          </p:nvPr>
        </p:nvSpPr>
        <p:spPr/>
        <p:txBody>
          <a:bodyPr/>
          <a:lstStyle/>
          <a:p>
            <a:fld id="{95DD4F66-B7F7-7041-8E00-958804099F79}" type="slidenum">
              <a:rPr lang="en-UA" smtClean="0"/>
              <a:t>29</a:t>
            </a:fld>
            <a:endParaRPr lang="en-UA"/>
          </a:p>
        </p:txBody>
      </p:sp>
    </p:spTree>
    <p:extLst>
      <p:ext uri="{BB962C8B-B14F-4D97-AF65-F5344CB8AC3E}">
        <p14:creationId xmlns:p14="http://schemas.microsoft.com/office/powerpoint/2010/main" val="406819445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I’m truly leading enjoyer, my area of interest is to be able to build production from scratch </a:t>
            </a:r>
            <a:r>
              <a:rPr lang="en-US" b="0" i="0" dirty="0">
                <a:solidFill>
                  <a:srgbClr val="3C4043"/>
                </a:solidFill>
                <a:effectLst/>
                <a:latin typeface="Roboto" panose="02000000000000000000" pitchFamily="2" charset="0"/>
              </a:rPr>
              <a:t>both from a technological point of view and from the point of view of people.</a:t>
            </a:r>
            <a:endParaRPr lang="en-US" dirty="0"/>
          </a:p>
          <a:p>
            <a:endParaRPr lang="en-US" dirty="0"/>
          </a:p>
          <a:p>
            <a:r>
              <a:rPr lang="en-US" dirty="0"/>
              <a:t>On WALG-CORE project I’ve been executing many roles – team lead, NFR stream lead, and the most important is BE Guild lead – you can say that it was team lead of team leads role. My main task were to help to build an agile teams, and to build a big distributed team from those agile teams and their leads. </a:t>
            </a:r>
          </a:p>
          <a:p>
            <a:r>
              <a:rPr lang="en-US" dirty="0"/>
              <a:t>Very interesting, very challenging job – and regarding feedbacks I was able to do it.</a:t>
            </a:r>
          </a:p>
          <a:p>
            <a:endParaRPr lang="en-US" dirty="0"/>
          </a:p>
          <a:p>
            <a:r>
              <a:rPr lang="en-US" dirty="0"/>
              <a:t>With growing responsibilities.</a:t>
            </a:r>
          </a:p>
        </p:txBody>
      </p:sp>
      <p:sp>
        <p:nvSpPr>
          <p:cNvPr id="4" name="Slide Number Placeholder 3"/>
          <p:cNvSpPr>
            <a:spLocks noGrp="1"/>
          </p:cNvSpPr>
          <p:nvPr>
            <p:ph type="sldNum" sz="quarter" idx="5"/>
          </p:nvPr>
        </p:nvSpPr>
        <p:spPr/>
        <p:txBody>
          <a:bodyPr/>
          <a:lstStyle/>
          <a:p>
            <a:fld id="{95DD4F66-B7F7-7041-8E00-958804099F79}" type="slidenum">
              <a:rPr lang="en-UA" smtClean="0"/>
              <a:t>3</a:t>
            </a:fld>
            <a:endParaRPr lang="en-UA"/>
          </a:p>
        </p:txBody>
      </p:sp>
    </p:spTree>
    <p:extLst>
      <p:ext uri="{BB962C8B-B14F-4D97-AF65-F5344CB8AC3E}">
        <p14:creationId xmlns:p14="http://schemas.microsoft.com/office/powerpoint/2010/main" val="2925953832"/>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Tx/>
              <a:buNone/>
            </a:pPr>
            <a:r>
              <a:rPr lang="en-US" dirty="0"/>
              <a:t>Provide the aspiring leader with opportunities to lead small initiatives, offering guidance and constructive feedback. Gradually increase their responsibilities and include them in leadership meetings to gain experience.</a:t>
            </a:r>
          </a:p>
        </p:txBody>
      </p:sp>
      <p:sp>
        <p:nvSpPr>
          <p:cNvPr id="4" name="Slide Number Placeholder 3"/>
          <p:cNvSpPr>
            <a:spLocks noGrp="1"/>
          </p:cNvSpPr>
          <p:nvPr>
            <p:ph type="sldNum" sz="quarter" idx="5"/>
          </p:nvPr>
        </p:nvSpPr>
        <p:spPr/>
        <p:txBody>
          <a:bodyPr/>
          <a:lstStyle/>
          <a:p>
            <a:fld id="{95DD4F66-B7F7-7041-8E00-958804099F79}" type="slidenum">
              <a:rPr lang="en-UA" smtClean="0"/>
              <a:t>30</a:t>
            </a:fld>
            <a:endParaRPr lang="en-UA"/>
          </a:p>
        </p:txBody>
      </p:sp>
    </p:spTree>
    <p:extLst>
      <p:ext uri="{BB962C8B-B14F-4D97-AF65-F5344CB8AC3E}">
        <p14:creationId xmlns:p14="http://schemas.microsoft.com/office/powerpoint/2010/main" val="2665448759"/>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Tx/>
              <a:buNone/>
            </a:pPr>
            <a:r>
              <a:rPr lang="en-US" dirty="0"/>
              <a:t>Quickly troubleshoot the issue with the help of the development team, especially key technical members like Adam or Pavel. If a fix is not feasible, prepare to demonstrate an alternative part of the application or use a well-prepared mockup.</a:t>
            </a:r>
          </a:p>
        </p:txBody>
      </p:sp>
      <p:sp>
        <p:nvSpPr>
          <p:cNvPr id="4" name="Slide Number Placeholder 3"/>
          <p:cNvSpPr>
            <a:spLocks noGrp="1"/>
          </p:cNvSpPr>
          <p:nvPr>
            <p:ph type="sldNum" sz="quarter" idx="5"/>
          </p:nvPr>
        </p:nvSpPr>
        <p:spPr/>
        <p:txBody>
          <a:bodyPr/>
          <a:lstStyle/>
          <a:p>
            <a:fld id="{95DD4F66-B7F7-7041-8E00-958804099F79}" type="slidenum">
              <a:rPr lang="en-UA" smtClean="0"/>
              <a:t>31</a:t>
            </a:fld>
            <a:endParaRPr lang="en-UA"/>
          </a:p>
        </p:txBody>
      </p:sp>
    </p:spTree>
    <p:extLst>
      <p:ext uri="{BB962C8B-B14F-4D97-AF65-F5344CB8AC3E}">
        <p14:creationId xmlns:p14="http://schemas.microsoft.com/office/powerpoint/2010/main" val="1719761525"/>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Tx/>
              <a:buNone/>
            </a:pPr>
            <a:r>
              <a:rPr lang="en-US" dirty="0"/>
              <a:t>Discuss future opportunities with the team, seeking feedback on their next preferred roles or projects. Facilitate transition plans that align with their career goals and maintain team morale by celebrating the project’s success and acknowledging individual contributions.</a:t>
            </a:r>
          </a:p>
        </p:txBody>
      </p:sp>
      <p:sp>
        <p:nvSpPr>
          <p:cNvPr id="4" name="Slide Number Placeholder 3"/>
          <p:cNvSpPr>
            <a:spLocks noGrp="1"/>
          </p:cNvSpPr>
          <p:nvPr>
            <p:ph type="sldNum" sz="quarter" idx="5"/>
          </p:nvPr>
        </p:nvSpPr>
        <p:spPr/>
        <p:txBody>
          <a:bodyPr/>
          <a:lstStyle/>
          <a:p>
            <a:fld id="{95DD4F66-B7F7-7041-8E00-958804099F79}" type="slidenum">
              <a:rPr lang="en-UA" smtClean="0"/>
              <a:t>32</a:t>
            </a:fld>
            <a:endParaRPr lang="en-UA"/>
          </a:p>
        </p:txBody>
      </p:sp>
    </p:spTree>
    <p:extLst>
      <p:ext uri="{BB962C8B-B14F-4D97-AF65-F5344CB8AC3E}">
        <p14:creationId xmlns:p14="http://schemas.microsoft.com/office/powerpoint/2010/main" val="2952748733"/>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ll be very grateful for detailed feedback </a:t>
            </a:r>
            <a:r>
              <a:rPr lang="en-US" b="0" i="0" dirty="0">
                <a:solidFill>
                  <a:srgbClr val="3C4043"/>
                </a:solidFill>
                <a:effectLst/>
                <a:latin typeface="Roboto" panose="02000000000000000000" pitchFamily="2" charset="0"/>
              </a:rPr>
              <a:t>to understand what worked well and what can be improved</a:t>
            </a:r>
            <a:r>
              <a:rPr lang="en-US" dirty="0"/>
              <a:t> in future runs.</a:t>
            </a:r>
          </a:p>
          <a:p>
            <a:r>
              <a:rPr lang="en-US" dirty="0"/>
              <a:t>Sent badges to course creators and speakers, and express your opinion about course, session and your takeaways in the chat – it takes 1 minute for you but gives a good motivation for us for a long time!</a:t>
            </a:r>
          </a:p>
        </p:txBody>
      </p:sp>
      <p:sp>
        <p:nvSpPr>
          <p:cNvPr id="4" name="Slide Number Placeholder 3"/>
          <p:cNvSpPr>
            <a:spLocks noGrp="1"/>
          </p:cNvSpPr>
          <p:nvPr>
            <p:ph type="sldNum" sz="quarter" idx="5"/>
          </p:nvPr>
        </p:nvSpPr>
        <p:spPr/>
        <p:txBody>
          <a:bodyPr/>
          <a:lstStyle/>
          <a:p>
            <a:fld id="{95DD4F66-B7F7-7041-8E00-958804099F79}" type="slidenum">
              <a:rPr lang="en-UA" smtClean="0"/>
              <a:t>35</a:t>
            </a:fld>
            <a:endParaRPr lang="en-UA"/>
          </a:p>
        </p:txBody>
      </p:sp>
    </p:spTree>
    <p:extLst>
      <p:ext uri="{BB962C8B-B14F-4D97-AF65-F5344CB8AC3E}">
        <p14:creationId xmlns:p14="http://schemas.microsoft.com/office/powerpoint/2010/main" val="4221618888"/>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5DD4F66-B7F7-7041-8E00-958804099F79}" type="slidenum">
              <a:rPr lang="en-UA" smtClean="0"/>
              <a:t>36</a:t>
            </a:fld>
            <a:endParaRPr lang="en-UA"/>
          </a:p>
        </p:txBody>
      </p:sp>
    </p:spTree>
    <p:extLst>
      <p:ext uri="{BB962C8B-B14F-4D97-AF65-F5344CB8AC3E}">
        <p14:creationId xmlns:p14="http://schemas.microsoft.com/office/powerpoint/2010/main" val="191843185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rocesses and known rules</a:t>
            </a:r>
          </a:p>
          <a:p>
            <a:endParaRPr lang="en-US" dirty="0"/>
          </a:p>
          <a:p>
            <a:r>
              <a:rPr lang="en-US" dirty="0"/>
              <a:t>Even if you think that you have nothing to say, from my practice, you actually do, and it could be very interesting and unusual vision of situation</a:t>
            </a:r>
          </a:p>
          <a:p>
            <a:r>
              <a:rPr lang="en-US" dirty="0"/>
              <a:t>Listen to a different opinions and to extracting the knowledge from them – this is one of our goals for today.</a:t>
            </a:r>
          </a:p>
          <a:p>
            <a:endParaRPr lang="en-US" dirty="0">
              <a:cs typeface="Calibri" panose="020F0502020204030204"/>
            </a:endParaRPr>
          </a:p>
          <a:p>
            <a:r>
              <a:rPr lang="en-US" dirty="0">
                <a:cs typeface="Calibri" panose="020F0502020204030204"/>
              </a:rPr>
              <a:t>If you'd like me to elaborate on any </a:t>
            </a:r>
            <a:r>
              <a:rPr lang="en-US" dirty="0" err="1">
                <a:cs typeface="Calibri" panose="020F0502020204030204"/>
              </a:rPr>
              <a:t>poing</a:t>
            </a:r>
            <a:r>
              <a:rPr lang="en-US" dirty="0">
                <a:cs typeface="Calibri" panose="020F0502020204030204"/>
              </a:rPr>
              <a:t> please ask</a:t>
            </a:r>
          </a:p>
          <a:p>
            <a:endParaRPr lang="en-US" dirty="0"/>
          </a:p>
          <a:p>
            <a:r>
              <a:rPr lang="en-US" dirty="0"/>
              <a:t>Ask to raise hands those who are ready to work today</a:t>
            </a:r>
          </a:p>
          <a:p>
            <a:endParaRPr lang="en-US" dirty="0">
              <a:cs typeface="Calibri" panose="020F0502020204030204"/>
            </a:endParaRPr>
          </a:p>
          <a:p>
            <a:r>
              <a:rPr lang="en-US" dirty="0">
                <a:cs typeface="Calibri" panose="020F0502020204030204"/>
              </a:rPr>
              <a:t>By the end of my talk you'll have a clear plan of how to build a team and how to act if different situations.</a:t>
            </a:r>
          </a:p>
          <a:p>
            <a:endParaRPr lang="en-US" dirty="0">
              <a:cs typeface="Calibri" panose="020F0502020204030204"/>
            </a:endParaRPr>
          </a:p>
          <a:p>
            <a:endParaRPr lang="en-US" dirty="0">
              <a:cs typeface="Calibri" panose="020F0502020204030204"/>
            </a:endParaRPr>
          </a:p>
        </p:txBody>
      </p:sp>
      <p:sp>
        <p:nvSpPr>
          <p:cNvPr id="4" name="Slide Number Placeholder 3"/>
          <p:cNvSpPr>
            <a:spLocks noGrp="1"/>
          </p:cNvSpPr>
          <p:nvPr>
            <p:ph type="sldNum" sz="quarter" idx="5"/>
          </p:nvPr>
        </p:nvSpPr>
        <p:spPr/>
        <p:txBody>
          <a:bodyPr/>
          <a:lstStyle/>
          <a:p>
            <a:fld id="{95DD4F66-B7F7-7041-8E00-958804099F79}" type="slidenum">
              <a:rPr lang="en-UA" smtClean="0"/>
              <a:t>4</a:t>
            </a:fld>
            <a:endParaRPr lang="en-UA"/>
          </a:p>
        </p:txBody>
      </p:sp>
    </p:spTree>
    <p:extLst>
      <p:ext uri="{BB962C8B-B14F-4D97-AF65-F5344CB8AC3E}">
        <p14:creationId xmlns:p14="http://schemas.microsoft.com/office/powerpoint/2010/main" val="407285282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t’s ok to try and to understand that it’s not yours – I’ll say more, it anyway will be a very valuable experience, that will help you to work as a developer too.</a:t>
            </a:r>
          </a:p>
        </p:txBody>
      </p:sp>
      <p:sp>
        <p:nvSpPr>
          <p:cNvPr id="4" name="Slide Number Placeholder 3"/>
          <p:cNvSpPr>
            <a:spLocks noGrp="1"/>
          </p:cNvSpPr>
          <p:nvPr>
            <p:ph type="sldNum" sz="quarter" idx="5"/>
          </p:nvPr>
        </p:nvSpPr>
        <p:spPr/>
        <p:txBody>
          <a:bodyPr/>
          <a:lstStyle/>
          <a:p>
            <a:fld id="{95DD4F66-B7F7-7041-8E00-958804099F79}" type="slidenum">
              <a:rPr lang="en-UA" smtClean="0"/>
              <a:t>5</a:t>
            </a:fld>
            <a:endParaRPr lang="en-UA"/>
          </a:p>
        </p:txBody>
      </p:sp>
    </p:spTree>
    <p:extLst>
      <p:ext uri="{BB962C8B-B14F-4D97-AF65-F5344CB8AC3E}">
        <p14:creationId xmlns:p14="http://schemas.microsoft.com/office/powerpoint/2010/main" val="262773265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hy are we talking about it? Because I need to teach you today, you need to learn today, and as a leads you’ll need to teach your team all the time during your work – that’s why! </a:t>
            </a:r>
          </a:p>
          <a:p>
            <a:endParaRPr lang="en-US" dirty="0"/>
          </a:p>
          <a:p>
            <a:r>
              <a:rPr lang="en-US" dirty="0"/>
              <a:t>Authority – java script is just an improved java, child will just take my point of view, but an adult has his own experience, and such approach won’t work.</a:t>
            </a:r>
          </a:p>
          <a:p>
            <a:endParaRPr lang="en-US" dirty="0"/>
          </a:p>
          <a:p>
            <a:r>
              <a:rPr lang="en-US" dirty="0"/>
              <a:t>Children</a:t>
            </a:r>
          </a:p>
          <a:p>
            <a:r>
              <a:rPr lang="en-US" dirty="0"/>
              <a:t>Adults – 90% is self education</a:t>
            </a:r>
          </a:p>
          <a:p>
            <a:r>
              <a:rPr lang="en-US" dirty="0"/>
              <a:t>1. Rely on others to decide what’s to be learned.</a:t>
            </a:r>
            <a:endParaRPr lang="en-US" dirty="0">
              <a:cs typeface="Calibri"/>
            </a:endParaRPr>
          </a:p>
          <a:p>
            <a:r>
              <a:rPr lang="en-US" dirty="0"/>
              <a:t>1. Decide for themselves what they want to learn.</a:t>
            </a:r>
            <a:endParaRPr lang="en-US" dirty="0">
              <a:cs typeface="Calibri"/>
            </a:endParaRPr>
          </a:p>
          <a:p>
            <a:r>
              <a:rPr lang="en-US" dirty="0"/>
              <a:t>Not always or necessarily. It depends on what children: age, gender, socio-economic and cultural background, teaching and learning experience at home, in school, etc.</a:t>
            </a:r>
            <a:endParaRPr lang="en-US" dirty="0">
              <a:cs typeface="Calibri"/>
            </a:endParaRPr>
          </a:p>
          <a:p>
            <a:r>
              <a:rPr lang="en-US" dirty="0"/>
              <a:t>Not always. It depends on what adults: age, gender, socio-economic and cultural background, educational level, etc.</a:t>
            </a:r>
            <a:endParaRPr lang="en-US" dirty="0">
              <a:cs typeface="Calibri"/>
            </a:endParaRPr>
          </a:p>
          <a:p>
            <a:r>
              <a:rPr lang="en-US" dirty="0"/>
              <a:t>2. Accept information at face value.</a:t>
            </a:r>
            <a:endParaRPr lang="en-US" dirty="0">
              <a:cs typeface="Calibri"/>
            </a:endParaRPr>
          </a:p>
          <a:p>
            <a:r>
              <a:rPr lang="en-US" dirty="0"/>
              <a:t>2. Question information, need to validate.</a:t>
            </a:r>
            <a:endParaRPr lang="en-US" dirty="0">
              <a:cs typeface="Calibri"/>
            </a:endParaRPr>
          </a:p>
          <a:p>
            <a:r>
              <a:rPr lang="en-US" dirty="0"/>
              <a:t>Not necessarily. Same as 1.</a:t>
            </a:r>
            <a:endParaRPr lang="en-US" dirty="0">
              <a:cs typeface="Calibri"/>
            </a:endParaRPr>
          </a:p>
          <a:p>
            <a:r>
              <a:rPr lang="en-US" dirty="0"/>
              <a:t>Not necessarily. Same as 1.</a:t>
            </a:r>
            <a:endParaRPr lang="en-US" dirty="0">
              <a:cs typeface="Calibri"/>
            </a:endParaRPr>
          </a:p>
          <a:p>
            <a:r>
              <a:rPr lang="en-US" dirty="0"/>
              <a:t>3. Expect learned information to be useful in the future.</a:t>
            </a:r>
            <a:endParaRPr lang="en-US" dirty="0">
              <a:cs typeface="Calibri"/>
            </a:endParaRPr>
          </a:p>
          <a:p>
            <a:r>
              <a:rPr lang="en-US" dirty="0"/>
              <a:t>Expect information to be useful now.</a:t>
            </a:r>
            <a:endParaRPr lang="en-US" dirty="0">
              <a:cs typeface="Calibri"/>
            </a:endParaRPr>
          </a:p>
          <a:p>
            <a:r>
              <a:rPr lang="en-US" dirty="0"/>
              <a:t>Not necessarily.</a:t>
            </a:r>
            <a:endParaRPr lang="en-US" dirty="0">
              <a:cs typeface="Calibri"/>
            </a:endParaRPr>
          </a:p>
          <a:p>
            <a:r>
              <a:rPr lang="en-US" dirty="0"/>
              <a:t>Many children (i.e. older children, the poor) would expect to learn something that they see useful and relevant now.</a:t>
            </a:r>
            <a:endParaRPr lang="en-US" dirty="0">
              <a:cs typeface="Calibri"/>
            </a:endParaRPr>
          </a:p>
          <a:p>
            <a:r>
              <a:rPr lang="en-US" dirty="0"/>
              <a:t>Are clean slates with little or no experience.</a:t>
            </a:r>
            <a:endParaRPr lang="en-US" dirty="0">
              <a:cs typeface="Calibri"/>
            </a:endParaRPr>
          </a:p>
          <a:p>
            <a:r>
              <a:rPr lang="en-US" dirty="0"/>
              <a:t>Are full slates with lots of experience.</a:t>
            </a:r>
            <a:endParaRPr lang="en-US" dirty="0">
              <a:cs typeface="Calibri"/>
            </a:endParaRPr>
          </a:p>
          <a:p>
            <a:r>
              <a:rPr lang="en-US" dirty="0"/>
              <a:t>Children are never clean slates. They have knowledge and experience no matter their age.</a:t>
            </a:r>
            <a:endParaRPr lang="en-US" dirty="0">
              <a:cs typeface="Calibri"/>
            </a:endParaRPr>
          </a:p>
          <a:p>
            <a:r>
              <a:rPr lang="en-US" dirty="0"/>
              <a:t>No one is ever a full slate. Adult learners may have no experience (knowledge and skills) in some specific areas.</a:t>
            </a:r>
            <a:endParaRPr lang="en-US" dirty="0">
              <a:cs typeface="Calibri"/>
            </a:endParaRPr>
          </a:p>
          <a:p>
            <a:r>
              <a:rPr lang="en-US" dirty="0"/>
              <a:t>Have limited ability to be a resources to classmates.</a:t>
            </a:r>
            <a:endParaRPr lang="en-US" dirty="0">
              <a:cs typeface="Calibri"/>
            </a:endParaRPr>
          </a:p>
          <a:p>
            <a:r>
              <a:rPr lang="en-US" dirty="0"/>
              <a:t>Significant ability to serve as resource to others.</a:t>
            </a:r>
            <a:endParaRPr lang="en-US" dirty="0">
              <a:cs typeface="Calibri"/>
            </a:endParaRPr>
          </a:p>
          <a:p>
            <a:r>
              <a:rPr lang="en-US" dirty="0"/>
              <a:t>Children have great abilities to help others, not only peers but also young people and adults.</a:t>
            </a:r>
            <a:endParaRPr lang="en-US" dirty="0">
              <a:cs typeface="Calibri"/>
            </a:endParaRPr>
          </a:p>
          <a:p>
            <a:r>
              <a:rPr lang="en-US" dirty="0"/>
              <a:t>Are content-centered.</a:t>
            </a:r>
            <a:endParaRPr lang="en-US" dirty="0">
              <a:cs typeface="Calibri"/>
            </a:endParaRPr>
          </a:p>
          <a:p>
            <a:r>
              <a:rPr lang="en-US" dirty="0"/>
              <a:t>Are process or problem-centered.</a:t>
            </a:r>
            <a:endParaRPr lang="en-US" dirty="0">
              <a:cs typeface="Calibri"/>
            </a:endParaRPr>
          </a:p>
          <a:p>
            <a:r>
              <a:rPr lang="en-US" dirty="0"/>
              <a:t>If given the chance, they also enjoy problem-solving and are interested in understanding the methodology and the process.</a:t>
            </a:r>
            <a:endParaRPr lang="en-US" dirty="0">
              <a:cs typeface="Calibri"/>
            </a:endParaRPr>
          </a:p>
          <a:p>
            <a:r>
              <a:rPr lang="en-US" dirty="0"/>
              <a:t>Many adults are also keen on information and content. It also depends on the content taught.</a:t>
            </a:r>
            <a:endParaRPr lang="en-US" dirty="0">
              <a:cs typeface="Calibri"/>
            </a:endParaRPr>
          </a:p>
          <a:p>
            <a:r>
              <a:rPr lang="en-US" dirty="0"/>
              <a:t>Are passively involved in learning.</a:t>
            </a:r>
            <a:endParaRPr lang="en-US" dirty="0">
              <a:cs typeface="Calibri"/>
            </a:endParaRPr>
          </a:p>
          <a:p>
            <a:r>
              <a:rPr lang="en-US" dirty="0"/>
              <a:t>Are actively involved in learning.</a:t>
            </a:r>
            <a:endParaRPr lang="en-US" dirty="0">
              <a:cs typeface="Calibri"/>
            </a:endParaRPr>
          </a:p>
          <a:p>
            <a:r>
              <a:rPr lang="en-US" dirty="0"/>
              <a:t>Because the school system often sets such rules. Children prefer to engage actively in learning.</a:t>
            </a:r>
            <a:endParaRPr lang="en-US" dirty="0">
              <a:cs typeface="Calibri"/>
            </a:endParaRPr>
          </a:p>
          <a:p>
            <a:r>
              <a:rPr lang="en-US" dirty="0"/>
              <a:t>Not necessarily, not always. Very often adults are also passive learners, conditioned by conventional education and training practices in and out of the school system.</a:t>
            </a:r>
            <a:endParaRPr lang="en-US" dirty="0">
              <a:cs typeface="Calibri"/>
            </a:endParaRPr>
          </a:p>
          <a:p>
            <a:r>
              <a:rPr lang="en-US" dirty="0"/>
              <a:t>Learning requires active involvement.</a:t>
            </a:r>
            <a:endParaRPr lang="en-US" dirty="0">
              <a:cs typeface="Calibri"/>
            </a:endParaRPr>
          </a:p>
          <a:p>
            <a:r>
              <a:rPr lang="en-US" dirty="0"/>
              <a:t> </a:t>
            </a:r>
            <a:endParaRPr lang="en-US" dirty="0">
              <a:cs typeface="Calibri"/>
            </a:endParaRPr>
          </a:p>
          <a:p>
            <a:r>
              <a:rPr lang="en-US" dirty="0"/>
              <a:t>Learn best in an authoritative environment.</a:t>
            </a:r>
            <a:endParaRPr lang="en-US" dirty="0">
              <a:cs typeface="Calibri"/>
            </a:endParaRPr>
          </a:p>
          <a:p>
            <a:r>
              <a:rPr lang="en-US" dirty="0"/>
              <a:t>Learn best in a collaborative environment.</a:t>
            </a:r>
            <a:endParaRPr lang="en-US" dirty="0">
              <a:cs typeface="Calibri"/>
            </a:endParaRPr>
          </a:p>
          <a:p>
            <a:r>
              <a:rPr lang="en-US" dirty="0"/>
              <a:t>Not generalizable.</a:t>
            </a:r>
            <a:endParaRPr lang="en-US" dirty="0">
              <a:cs typeface="Calibri"/>
            </a:endParaRPr>
          </a:p>
          <a:p>
            <a:r>
              <a:rPr lang="en-US" dirty="0"/>
              <a:t>Not generalizable.</a:t>
            </a:r>
            <a:endParaRPr lang="en-US" dirty="0">
              <a:cs typeface="Calibri"/>
            </a:endParaRPr>
          </a:p>
          <a:p>
            <a:r>
              <a:rPr lang="en-US" dirty="0"/>
              <a:t>If given the chance, children enjoy learning in flexible, non-fear environments.</a:t>
            </a:r>
            <a:endParaRPr lang="en-US" dirty="0">
              <a:cs typeface="Calibri"/>
            </a:endParaRPr>
          </a:p>
          <a:p>
            <a:r>
              <a:rPr lang="en-US" dirty="0"/>
              <a:t>Many adult learners prefer more structured, authoritative environments.</a:t>
            </a:r>
            <a:endParaRPr lang="en-US" dirty="0">
              <a:cs typeface="Calibri"/>
            </a:endParaRPr>
          </a:p>
          <a:p>
            <a:r>
              <a:rPr lang="en-US" dirty="0"/>
              <a:t>Are motivated by external rewards: grades, advancement, avoidance of punishment.</a:t>
            </a:r>
            <a:endParaRPr lang="en-US" dirty="0">
              <a:cs typeface="Calibri"/>
            </a:endParaRPr>
          </a:p>
          <a:p>
            <a:r>
              <a:rPr lang="en-US" dirty="0"/>
              <a:t>Are motivated internally: self-esteem, curiosity, love of learning, self-improvement.</a:t>
            </a:r>
            <a:endParaRPr lang="en-US" dirty="0">
              <a:cs typeface="Calibri"/>
            </a:endParaRPr>
          </a:p>
          <a:p>
            <a:r>
              <a:rPr lang="en-US" dirty="0"/>
              <a:t>Children may be also internally motivated - the best way to learn.</a:t>
            </a:r>
            <a:endParaRPr lang="en-US" dirty="0">
              <a:cs typeface="Calibri"/>
            </a:endParaRPr>
          </a:p>
          <a:p>
            <a:r>
              <a:rPr lang="en-US" dirty="0"/>
              <a:t>Adults are often also externally motivated. (Teacher training is often a typical example of institutionalized externally motivated learning).</a:t>
            </a:r>
            <a:endParaRPr lang="en-US" dirty="0">
              <a:cs typeface="Calibri"/>
            </a:endParaRPr>
          </a:p>
          <a:p>
            <a:endParaRPr lang="en-US" sz="800" dirty="0">
              <a:cs typeface="Calibri"/>
            </a:endParaRPr>
          </a:p>
          <a:p>
            <a:endParaRPr lang="en-US" dirty="0"/>
          </a:p>
        </p:txBody>
      </p:sp>
      <p:sp>
        <p:nvSpPr>
          <p:cNvPr id="4" name="Slide Number Placeholder 3"/>
          <p:cNvSpPr>
            <a:spLocks noGrp="1"/>
          </p:cNvSpPr>
          <p:nvPr>
            <p:ph type="sldNum" sz="quarter" idx="5"/>
          </p:nvPr>
        </p:nvSpPr>
        <p:spPr/>
        <p:txBody>
          <a:bodyPr/>
          <a:lstStyle/>
          <a:p>
            <a:fld id="{95DD4F66-B7F7-7041-8E00-958804099F79}" type="slidenum">
              <a:rPr lang="en-UA" smtClean="0"/>
              <a:t>6</a:t>
            </a:fld>
            <a:endParaRPr lang="en-UA"/>
          </a:p>
        </p:txBody>
      </p:sp>
    </p:spTree>
    <p:extLst>
      <p:ext uri="{BB962C8B-B14F-4D97-AF65-F5344CB8AC3E}">
        <p14:creationId xmlns:p14="http://schemas.microsoft.com/office/powerpoint/2010/main" val="262287058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t’s foundation for learning styles</a:t>
            </a:r>
          </a:p>
          <a:p>
            <a:r>
              <a:rPr lang="en-US" dirty="0"/>
              <a:t>All of you already have some experience and open cases, that’s why I can do a short overview of some theory that will be helpful for our use cases, but the main learning part will be when you’ll work on your homework after working on use cases today, and learning theory a more deep by your own</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BC1A5C0-E623-43AB-A512-CEFEA1371CF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8488736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5DD4F66-B7F7-7041-8E00-958804099F79}" type="slidenum">
              <a:rPr lang="en-UA" smtClean="0"/>
              <a:t>8</a:t>
            </a:fld>
            <a:endParaRPr lang="en-UA"/>
          </a:p>
        </p:txBody>
      </p:sp>
    </p:spTree>
    <p:extLst>
      <p:ext uri="{BB962C8B-B14F-4D97-AF65-F5344CB8AC3E}">
        <p14:creationId xmlns:p14="http://schemas.microsoft.com/office/powerpoint/2010/main" val="104004246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The Discipline of Teams (hbr.org)</a:t>
            </a:r>
          </a:p>
          <a:p>
            <a:r>
              <a:rPr lang="en-US" dirty="0">
                <a:ea typeface="Calibri" panose="020F0502020204030204"/>
                <a:cs typeface="Calibri" panose="020F0502020204030204"/>
              </a:rPr>
              <a:t>You have </a:t>
            </a:r>
            <a:r>
              <a:rPr lang="en-US" dirty="0"/>
              <a:t>responsibility </a:t>
            </a:r>
            <a:r>
              <a:rPr lang="en-US" dirty="0">
                <a:ea typeface="Calibri" panose="020F0502020204030204"/>
                <a:cs typeface="Calibri" panose="020F0502020204030204"/>
              </a:rPr>
              <a:t>among team</a:t>
            </a:r>
          </a:p>
          <a:p>
            <a:endParaRPr lang="en-US" dirty="0">
              <a:ea typeface="Calibri" panose="020F0502020204030204"/>
              <a:cs typeface="Calibri" panose="020F0502020204030204"/>
            </a:endParaRPr>
          </a:p>
          <a:p>
            <a:r>
              <a:rPr lang="en-US" dirty="0">
                <a:ea typeface="Calibri" panose="020F0502020204030204"/>
                <a:cs typeface="Calibri" panose="020F0502020204030204"/>
              </a:rPr>
              <a:t>Name what things make team – team, not just a group of random people</a:t>
            </a:r>
          </a:p>
        </p:txBody>
      </p:sp>
      <p:sp>
        <p:nvSpPr>
          <p:cNvPr id="4" name="Slide Number Placeholder 3"/>
          <p:cNvSpPr>
            <a:spLocks noGrp="1"/>
          </p:cNvSpPr>
          <p:nvPr>
            <p:ph type="sldNum" sz="quarter" idx="5"/>
          </p:nvPr>
        </p:nvSpPr>
        <p:spPr/>
        <p:txBody>
          <a:bodyPr/>
          <a:lstStyle/>
          <a:p>
            <a:fld id="{95DD4F66-B7F7-7041-8E00-958804099F79}" type="slidenum">
              <a:rPr lang="en-UA" smtClean="0"/>
              <a:t>9</a:t>
            </a:fld>
            <a:endParaRPr lang="en-UA"/>
          </a:p>
        </p:txBody>
      </p:sp>
    </p:spTree>
    <p:extLst>
      <p:ext uri="{BB962C8B-B14F-4D97-AF65-F5344CB8AC3E}">
        <p14:creationId xmlns:p14="http://schemas.microsoft.com/office/powerpoint/2010/main" val="17892565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0.emf"/><Relationship Id="rId1" Type="http://schemas.openxmlformats.org/officeDocument/2006/relationships/slideMaster" Target="../slideMasters/slideMaster1.xml"/><Relationship Id="rId4" Type="http://schemas.openxmlformats.org/officeDocument/2006/relationships/image" Target="../media/image7.svg"/></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1.png"/><Relationship Id="rId1" Type="http://schemas.openxmlformats.org/officeDocument/2006/relationships/slideMaster" Target="../slideMasters/slideMaster1.xml"/><Relationship Id="rId4" Type="http://schemas.openxmlformats.org/officeDocument/2006/relationships/image" Target="../media/image7.svg"/></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1.xml"/><Relationship Id="rId5" Type="http://schemas.openxmlformats.org/officeDocument/2006/relationships/image" Target="../media/image2.svg"/><Relationship Id="rId4" Type="http://schemas.openxmlformats.org/officeDocument/2006/relationships/image" Target="../media/image1.png"/></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Master" Target="../slideMasters/slideMaster1.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Cover_Light">
    <p:bg>
      <p:bgPr>
        <a:solidFill>
          <a:schemeClr val="bg1"/>
        </a:solidFill>
        <a:effectLst/>
      </p:bgPr>
    </p:bg>
    <p:spTree>
      <p:nvGrpSpPr>
        <p:cNvPr id="1" name=""/>
        <p:cNvGrpSpPr/>
        <p:nvPr/>
      </p:nvGrpSpPr>
      <p:grpSpPr>
        <a:xfrm>
          <a:off x="0" y="0"/>
          <a:ext cx="0" cy="0"/>
          <a:chOff x="0" y="0"/>
          <a:chExt cx="0" cy="0"/>
        </a:xfrm>
      </p:grpSpPr>
      <p:sp>
        <p:nvSpPr>
          <p:cNvPr id="13" name="Text Placeholder 4">
            <a:extLst>
              <a:ext uri="{FF2B5EF4-FFF2-40B4-BE49-F238E27FC236}">
                <a16:creationId xmlns:a16="http://schemas.microsoft.com/office/drawing/2014/main" id="{B8E369A2-FC86-4140-9080-E549260B9180}"/>
              </a:ext>
            </a:extLst>
          </p:cNvPr>
          <p:cNvSpPr>
            <a:spLocks noGrp="1"/>
          </p:cNvSpPr>
          <p:nvPr>
            <p:ph type="body" sz="quarter" idx="11" hasCustomPrompt="1"/>
          </p:nvPr>
        </p:nvSpPr>
        <p:spPr>
          <a:xfrm>
            <a:off x="639074" y="4670399"/>
            <a:ext cx="7068944" cy="455381"/>
          </a:xfrm>
          <a:prstGeom prst="rect">
            <a:avLst/>
          </a:prstGeom>
        </p:spPr>
        <p:txBody>
          <a:bodyPr wrap="square">
            <a:spAutoFit/>
          </a:bodyPr>
          <a:lstStyle>
            <a:lvl1pPr>
              <a:lnSpc>
                <a:spcPct val="150000"/>
              </a:lnSpc>
              <a:spcBef>
                <a:spcPts val="0"/>
              </a:spcBef>
              <a:defRPr sz="2200">
                <a:solidFill>
                  <a:schemeClr val="tx1"/>
                </a:solidFill>
                <a:latin typeface="Calibri Light" panose="020F0302020204030204" pitchFamily="34" charset="0"/>
                <a:cs typeface="Calibri Light" panose="020F0302020204030204" pitchFamily="34" charset="0"/>
              </a:defRPr>
            </a:lvl1pPr>
            <a:lvl2pPr>
              <a:buNone/>
              <a:defRPr/>
            </a:lvl2pPr>
          </a:lstStyle>
          <a:p>
            <a:pPr lvl="0"/>
            <a:r>
              <a:rPr lang="en-US">
                <a:effectLst/>
              </a:rPr>
              <a:t>Sub-description text goes here over one or two lines</a:t>
            </a:r>
            <a:endParaRPr lang="en-US"/>
          </a:p>
        </p:txBody>
      </p:sp>
      <p:sp>
        <p:nvSpPr>
          <p:cNvPr id="14" name="Text Placeholder 4">
            <a:extLst>
              <a:ext uri="{FF2B5EF4-FFF2-40B4-BE49-F238E27FC236}">
                <a16:creationId xmlns:a16="http://schemas.microsoft.com/office/drawing/2014/main" id="{2F6A18E7-9305-4C6B-A5A3-4962D30A22A2}"/>
              </a:ext>
            </a:extLst>
          </p:cNvPr>
          <p:cNvSpPr>
            <a:spLocks noGrp="1"/>
          </p:cNvSpPr>
          <p:nvPr>
            <p:ph type="body" sz="quarter" idx="12" hasCustomPrompt="1"/>
          </p:nvPr>
        </p:nvSpPr>
        <p:spPr>
          <a:xfrm>
            <a:off x="639074" y="5393921"/>
            <a:ext cx="6489700" cy="200055"/>
          </a:xfrm>
          <a:prstGeom prst="rect">
            <a:avLst/>
          </a:prstGeom>
        </p:spPr>
        <p:txBody>
          <a:bodyPr>
            <a:spAutoFit/>
          </a:bodyPr>
          <a:lstStyle>
            <a:lvl1pPr>
              <a:lnSpc>
                <a:spcPct val="100000"/>
              </a:lnSpc>
              <a:spcBef>
                <a:spcPts val="0"/>
              </a:spcBef>
              <a:defRPr sz="1300" b="1" i="0" spc="400" baseline="0">
                <a:solidFill>
                  <a:schemeClr val="accent6"/>
                </a:solidFill>
                <a:latin typeface="Calibri" panose="020F0502020204030204" pitchFamily="34" charset="0"/>
                <a:cs typeface="Calibri" panose="020F0502020204030204" pitchFamily="34" charset="0"/>
              </a:defRPr>
            </a:lvl1pPr>
            <a:lvl2pPr>
              <a:buNone/>
              <a:defRPr/>
            </a:lvl2pPr>
          </a:lstStyle>
          <a:p>
            <a:pPr lvl="0"/>
            <a:r>
              <a:rPr lang="en-US">
                <a:effectLst/>
              </a:rPr>
              <a:t>DECEMBER 2022</a:t>
            </a:r>
            <a:endParaRPr lang="en-US"/>
          </a:p>
        </p:txBody>
      </p:sp>
      <p:sp>
        <p:nvSpPr>
          <p:cNvPr id="2" name="Footer Placeholder 5">
            <a:extLst>
              <a:ext uri="{FF2B5EF4-FFF2-40B4-BE49-F238E27FC236}">
                <a16:creationId xmlns:a16="http://schemas.microsoft.com/office/drawing/2014/main" id="{88D4788E-EE52-507E-7D71-0F24A4DBD2C0}"/>
              </a:ext>
            </a:extLst>
          </p:cNvPr>
          <p:cNvSpPr>
            <a:spLocks noGrp="1"/>
          </p:cNvSpPr>
          <p:nvPr>
            <p:ph type="ftr" sz="quarter" idx="3"/>
          </p:nvPr>
        </p:nvSpPr>
        <p:spPr>
          <a:xfrm>
            <a:off x="639074" y="6403340"/>
            <a:ext cx="1645920" cy="226060"/>
          </a:xfrm>
          <a:prstGeom prst="rect">
            <a:avLst/>
          </a:prstGeom>
        </p:spPr>
        <p:txBody>
          <a:bodyPr vert="horz" lIns="0" tIns="0" rIns="0" bIns="0" rtlCol="0" anchor="ctr"/>
          <a:lstStyle>
            <a:lvl1pPr algn="l">
              <a:defRPr kumimoji="0" lang="en-US" sz="600" b="0" i="0" u="none" strike="noStrike" cap="none" spc="0" normalizeH="0" baseline="0" dirty="0" smtClean="0">
                <a:ln>
                  <a:noFill/>
                </a:ln>
                <a:solidFill>
                  <a:schemeClr val="tx2"/>
                </a:solidFill>
                <a:effectLst/>
                <a:uLnTx/>
                <a:uFillTx/>
                <a:ea typeface="Calibri" panose="020F0502020204030204" pitchFamily="34" charset="0"/>
                <a:cs typeface="Calibri" panose="020F0502020204030204" pitchFamily="34" charset="0"/>
              </a:defRPr>
            </a:lvl1pPr>
          </a:lstStyle>
          <a:p>
            <a:r>
              <a:rPr lang="en-US"/>
              <a:t>EPAM Proprietary &amp; Confidential.</a:t>
            </a:r>
          </a:p>
        </p:txBody>
      </p:sp>
      <p:sp>
        <p:nvSpPr>
          <p:cNvPr id="8" name="Text Placeholder 4">
            <a:extLst>
              <a:ext uri="{FF2B5EF4-FFF2-40B4-BE49-F238E27FC236}">
                <a16:creationId xmlns:a16="http://schemas.microsoft.com/office/drawing/2014/main" id="{DF86B7FC-77D7-4734-103B-B7BEE343FE4C}"/>
              </a:ext>
            </a:extLst>
          </p:cNvPr>
          <p:cNvSpPr>
            <a:spLocks noGrp="1"/>
          </p:cNvSpPr>
          <p:nvPr>
            <p:ph type="body" sz="quarter" idx="10" hasCustomPrompt="1"/>
          </p:nvPr>
        </p:nvSpPr>
        <p:spPr>
          <a:xfrm>
            <a:off x="639074" y="1653938"/>
            <a:ext cx="8060366" cy="2103140"/>
          </a:xfrm>
          <a:prstGeom prst="rect">
            <a:avLst/>
          </a:prstGeom>
        </p:spPr>
        <p:txBody>
          <a:bodyPr wrap="square">
            <a:spAutoFit/>
          </a:bodyPr>
          <a:lstStyle>
            <a:lvl1pPr>
              <a:lnSpc>
                <a:spcPts val="8200"/>
              </a:lnSpc>
              <a:spcBef>
                <a:spcPts val="0"/>
              </a:spcBef>
              <a:defRPr sz="8000" b="0" i="0">
                <a:solidFill>
                  <a:schemeClr val="tx1"/>
                </a:solidFill>
                <a:latin typeface="Calibri Light" panose="020F0302020204030204" pitchFamily="34" charset="0"/>
                <a:cs typeface="Calibri Light" panose="020F0302020204030204" pitchFamily="34" charset="0"/>
              </a:defRPr>
            </a:lvl1pPr>
            <a:lvl2pPr>
              <a:buNone/>
              <a:defRPr/>
            </a:lvl2pPr>
          </a:lstStyle>
          <a:p>
            <a:pPr lvl="0"/>
            <a:r>
              <a:rPr lang="en-US"/>
              <a:t>Presentation Cover with Longer Title</a:t>
            </a:r>
          </a:p>
        </p:txBody>
      </p:sp>
      <p:pic>
        <p:nvPicPr>
          <p:cNvPr id="5" name="Picture 4">
            <a:extLst>
              <a:ext uri="{FF2B5EF4-FFF2-40B4-BE49-F238E27FC236}">
                <a16:creationId xmlns:a16="http://schemas.microsoft.com/office/drawing/2014/main" id="{4B2CBA10-B1F8-6997-AD70-9626FD79743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47699" y="716555"/>
            <a:ext cx="646663" cy="237744"/>
          </a:xfrm>
          <a:prstGeom prst="rect">
            <a:avLst/>
          </a:prstGeom>
        </p:spPr>
      </p:pic>
      <p:pic>
        <p:nvPicPr>
          <p:cNvPr id="3" name="Graphic 2">
            <a:extLst>
              <a:ext uri="{FF2B5EF4-FFF2-40B4-BE49-F238E27FC236}">
                <a16:creationId xmlns:a16="http://schemas.microsoft.com/office/drawing/2014/main" id="{D386FE87-AFD8-9B86-DD02-6589FDEBFA4F}"/>
              </a:ext>
            </a:extLst>
          </p:cNvPr>
          <p:cNvPicPr>
            <a:picLocks noChangeAspect="1"/>
          </p:cNvPicPr>
          <p:nvPr userDrawn="1"/>
        </p:nvPicPr>
        <p:blipFill>
          <a:blip r:embed="rId3"/>
          <a:srcRect/>
          <a:stretch/>
        </p:blipFill>
        <p:spPr>
          <a:xfrm>
            <a:off x="1677511" y="692958"/>
            <a:ext cx="908033" cy="245472"/>
          </a:xfrm>
          <a:prstGeom prst="rect">
            <a:avLst/>
          </a:prstGeom>
        </p:spPr>
      </p:pic>
    </p:spTree>
    <p:extLst>
      <p:ext uri="{BB962C8B-B14F-4D97-AF65-F5344CB8AC3E}">
        <p14:creationId xmlns:p14="http://schemas.microsoft.com/office/powerpoint/2010/main" val="721078347"/>
      </p:ext>
    </p:extLst>
  </p:cSld>
  <p:clrMapOvr>
    <a:masterClrMapping/>
  </p:clrMapOvr>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x_Section_Header_Cool">
    <p:bg>
      <p:bgPr>
        <a:solidFill>
          <a:schemeClr val="bg1"/>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92E69851-6AAB-66EC-0A76-12B276F29DA9}"/>
              </a:ext>
            </a:extLst>
          </p:cNvPr>
          <p:cNvSpPr/>
          <p:nvPr userDrawn="1"/>
        </p:nvSpPr>
        <p:spPr bwMode="auto">
          <a:xfrm>
            <a:off x="627063" y="647700"/>
            <a:ext cx="10929937" cy="5562600"/>
          </a:xfrm>
          <a:prstGeom prst="rect">
            <a:avLst/>
          </a:prstGeom>
          <a:solidFill>
            <a:schemeClr val="bg2"/>
          </a:solidFill>
          <a:ln>
            <a:noFill/>
          </a:ln>
          <a:effectLst/>
        </p:spPr>
        <p:txBody>
          <a:bodyPr wrap="none"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err="1">
              <a:ln>
                <a:noFill/>
              </a:ln>
              <a:solidFill>
                <a:srgbClr val="FFFFFF"/>
              </a:solidFill>
              <a:effectLst/>
              <a:uLnTx/>
              <a:uFillTx/>
              <a:latin typeface="Calibri Light" panose="020F0302020204030204" pitchFamily="34" charset="0"/>
              <a:ea typeface="Human Sans ExtraLight" charset="0"/>
              <a:cs typeface="Human Sans ExtraLight" charset="0"/>
            </a:endParaRPr>
          </a:p>
        </p:txBody>
      </p:sp>
      <p:sp>
        <p:nvSpPr>
          <p:cNvPr id="15" name="Title 8">
            <a:extLst>
              <a:ext uri="{FF2B5EF4-FFF2-40B4-BE49-F238E27FC236}">
                <a16:creationId xmlns:a16="http://schemas.microsoft.com/office/drawing/2014/main" id="{64E2BBBC-80DF-5104-E076-20FB99B4648C}"/>
              </a:ext>
            </a:extLst>
          </p:cNvPr>
          <p:cNvSpPr>
            <a:spLocks noGrp="1"/>
          </p:cNvSpPr>
          <p:nvPr>
            <p:ph type="title" hasCustomPrompt="1"/>
          </p:nvPr>
        </p:nvSpPr>
        <p:spPr>
          <a:xfrm>
            <a:off x="1285240" y="1723225"/>
            <a:ext cx="9601200" cy="1746522"/>
          </a:xfrm>
          <a:prstGeom prst="rect">
            <a:avLst/>
          </a:prstGeom>
        </p:spPr>
        <p:txBody>
          <a:bodyPr/>
          <a:lstStyle>
            <a:lvl1pPr>
              <a:defRPr sz="6000" b="0" i="0">
                <a:solidFill>
                  <a:srgbClr val="000000"/>
                </a:solidFill>
                <a:latin typeface="Calibri Light" panose="020F0302020204030204" pitchFamily="34" charset="0"/>
                <a:cs typeface="Calibri Light" panose="020F0302020204030204" pitchFamily="34" charset="0"/>
              </a:defRPr>
            </a:lvl1pPr>
          </a:lstStyle>
          <a:p>
            <a:r>
              <a:rPr lang="en-US"/>
              <a:t>Sometimes You Want to Use a </a:t>
            </a:r>
            <a:br>
              <a:rPr lang="en-US"/>
            </a:br>
            <a:r>
              <a:rPr lang="en-US"/>
              <a:t>Subsection Divider</a:t>
            </a:r>
          </a:p>
        </p:txBody>
      </p:sp>
      <p:sp>
        <p:nvSpPr>
          <p:cNvPr id="16" name="Text Placeholder 4">
            <a:extLst>
              <a:ext uri="{FF2B5EF4-FFF2-40B4-BE49-F238E27FC236}">
                <a16:creationId xmlns:a16="http://schemas.microsoft.com/office/drawing/2014/main" id="{12E0E19A-C3CC-AE13-1EF9-7E889ADFCBFE}"/>
              </a:ext>
            </a:extLst>
          </p:cNvPr>
          <p:cNvSpPr>
            <a:spLocks noGrp="1"/>
          </p:cNvSpPr>
          <p:nvPr>
            <p:ph type="body" sz="quarter" idx="11" hasCustomPrompt="1"/>
          </p:nvPr>
        </p:nvSpPr>
        <p:spPr>
          <a:xfrm>
            <a:off x="1295400" y="1328420"/>
            <a:ext cx="498928" cy="321627"/>
          </a:xfrm>
          <a:prstGeom prst="rect">
            <a:avLst/>
          </a:prstGeom>
        </p:spPr>
        <p:txBody>
          <a:bodyPr wrap="square" anchor="t" anchorCtr="0">
            <a:spAutoFit/>
          </a:bodyPr>
          <a:lstStyle>
            <a:lvl1pPr algn="l">
              <a:defRPr sz="2000" b="1" i="0">
                <a:solidFill>
                  <a:schemeClr val="accent6"/>
                </a:solidFill>
                <a:latin typeface="Calibri" panose="020F0502020204030204" pitchFamily="34" charset="0"/>
                <a:cs typeface="Calibri" panose="020F0502020204030204" pitchFamily="34" charset="0"/>
              </a:defRPr>
            </a:lvl1pPr>
          </a:lstStyle>
          <a:p>
            <a:pPr lvl="0"/>
            <a:r>
              <a:rPr lang="en-US"/>
              <a:t>01</a:t>
            </a:r>
          </a:p>
        </p:txBody>
      </p:sp>
      <p:sp>
        <p:nvSpPr>
          <p:cNvPr id="3" name="TextBox 2">
            <a:extLst>
              <a:ext uri="{FF2B5EF4-FFF2-40B4-BE49-F238E27FC236}">
                <a16:creationId xmlns:a16="http://schemas.microsoft.com/office/drawing/2014/main" id="{11CD4D7A-E1F5-9D4D-D7A8-763291C906C5}"/>
              </a:ext>
            </a:extLst>
          </p:cNvPr>
          <p:cNvSpPr txBox="1"/>
          <p:nvPr userDrawn="1"/>
        </p:nvSpPr>
        <p:spPr>
          <a:xfrm>
            <a:off x="1066800" y="985520"/>
            <a:ext cx="0" cy="0"/>
          </a:xfrm>
          <a:prstGeom prst="rect">
            <a:avLst/>
          </a:prstGeom>
          <a:noFill/>
        </p:spPr>
        <p:txBody>
          <a:bodyPr wrap="none" lIns="0" tIns="0" rIns="0" bIns="0" rtlCol="0">
            <a:noAutofit/>
          </a:bodyPr>
          <a:lstStyle/>
          <a:p>
            <a:pPr>
              <a:lnSpc>
                <a:spcPct val="110000"/>
              </a:lnSpc>
              <a:spcBef>
                <a:spcPts val="600"/>
              </a:spcBef>
            </a:pPr>
            <a:endParaRPr lang="en-US" sz="1200" err="1">
              <a:ea typeface="Human Sans" charset="0"/>
              <a:cs typeface="Human Sans" charset="0"/>
            </a:endParaRPr>
          </a:p>
        </p:txBody>
      </p:sp>
      <p:sp>
        <p:nvSpPr>
          <p:cNvPr id="5" name="Text Placeholder 4">
            <a:extLst>
              <a:ext uri="{FF2B5EF4-FFF2-40B4-BE49-F238E27FC236}">
                <a16:creationId xmlns:a16="http://schemas.microsoft.com/office/drawing/2014/main" id="{999BCF95-56F1-24C1-0241-7ECD1E24B8A1}"/>
              </a:ext>
            </a:extLst>
          </p:cNvPr>
          <p:cNvSpPr>
            <a:spLocks noGrp="1"/>
          </p:cNvSpPr>
          <p:nvPr>
            <p:ph type="body" sz="quarter" idx="16" hasCustomPrompt="1"/>
          </p:nvPr>
        </p:nvSpPr>
        <p:spPr>
          <a:xfrm>
            <a:off x="1285240" y="5014402"/>
            <a:ext cx="4757677" cy="528158"/>
          </a:xfrm>
          <a:prstGeom prst="rect">
            <a:avLst/>
          </a:prstGeom>
        </p:spPr>
        <p:txBody>
          <a:bodyPr wrap="square" anchor="t" anchorCtr="0">
            <a:spAutoFit/>
          </a:bodyPr>
          <a:lstStyle>
            <a:lvl1pPr>
              <a:defRPr sz="1600" b="0" i="0">
                <a:solidFill>
                  <a:schemeClr val="tx1"/>
                </a:solidFill>
                <a:latin typeface="Calibri Light" panose="020F0302020204030204" pitchFamily="34" charset="0"/>
                <a:cs typeface="Calibri Light" panose="020F0302020204030204" pitchFamily="34" charset="0"/>
              </a:defRPr>
            </a:lvl1pPr>
          </a:lstStyle>
          <a:p>
            <a:pPr lvl="0"/>
            <a:r>
              <a:rPr lang="en-US"/>
              <a:t>This slide can serve you well. It even has a space for a little something under the title.</a:t>
            </a:r>
          </a:p>
        </p:txBody>
      </p:sp>
    </p:spTree>
    <p:extLst>
      <p:ext uri="{BB962C8B-B14F-4D97-AF65-F5344CB8AC3E}">
        <p14:creationId xmlns:p14="http://schemas.microsoft.com/office/powerpoint/2010/main" val="2048036696"/>
      </p:ext>
    </p:extLst>
  </p:cSld>
  <p:clrMapOvr>
    <a:masterClrMapping/>
  </p:clrMapOvr>
  <p:extLst>
    <p:ext uri="{DCECCB84-F9BA-43D5-87BE-67443E8EF086}">
      <p15:sldGuideLst xmlns:p15="http://schemas.microsoft.com/office/powerpoint/2012/main">
        <p15:guide id="1" orient="horz" pos="408">
          <p15:clr>
            <a:srgbClr val="FBAE40"/>
          </p15:clr>
        </p15:guide>
        <p15:guide id="2" pos="3840">
          <p15:clr>
            <a:srgbClr val="FBAE40"/>
          </p15:clr>
        </p15:guide>
        <p15:guide id="4" orient="horz" pos="4128">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_x_Section_Header_Cool">
    <p:bg>
      <p:bgPr>
        <a:solidFill>
          <a:schemeClr val="bg1"/>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92E69851-6AAB-66EC-0A76-12B276F29DA9}"/>
              </a:ext>
            </a:extLst>
          </p:cNvPr>
          <p:cNvSpPr/>
          <p:nvPr userDrawn="1"/>
        </p:nvSpPr>
        <p:spPr bwMode="auto">
          <a:xfrm>
            <a:off x="627063" y="647700"/>
            <a:ext cx="10929937" cy="5562600"/>
          </a:xfrm>
          <a:prstGeom prst="rect">
            <a:avLst/>
          </a:prstGeom>
          <a:solidFill>
            <a:schemeClr val="bg2"/>
          </a:solidFill>
          <a:ln>
            <a:noFill/>
          </a:ln>
          <a:effectLst/>
        </p:spPr>
        <p:txBody>
          <a:bodyPr wrap="none"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err="1">
              <a:ln>
                <a:noFill/>
              </a:ln>
              <a:solidFill>
                <a:srgbClr val="FFFFFF"/>
              </a:solidFill>
              <a:effectLst/>
              <a:uLnTx/>
              <a:uFillTx/>
              <a:latin typeface="Calibri Light" panose="020F0302020204030204" pitchFamily="34" charset="0"/>
              <a:ea typeface="Human Sans ExtraLight" charset="0"/>
              <a:cs typeface="Human Sans ExtraLight" charset="0"/>
            </a:endParaRPr>
          </a:p>
        </p:txBody>
      </p:sp>
      <p:sp>
        <p:nvSpPr>
          <p:cNvPr id="15" name="Title 8">
            <a:extLst>
              <a:ext uri="{FF2B5EF4-FFF2-40B4-BE49-F238E27FC236}">
                <a16:creationId xmlns:a16="http://schemas.microsoft.com/office/drawing/2014/main" id="{64E2BBBC-80DF-5104-E076-20FB99B4648C}"/>
              </a:ext>
            </a:extLst>
          </p:cNvPr>
          <p:cNvSpPr>
            <a:spLocks noGrp="1"/>
          </p:cNvSpPr>
          <p:nvPr>
            <p:ph type="title" hasCustomPrompt="1"/>
          </p:nvPr>
        </p:nvSpPr>
        <p:spPr>
          <a:xfrm>
            <a:off x="1285240" y="1723225"/>
            <a:ext cx="9601200" cy="1746522"/>
          </a:xfrm>
          <a:prstGeom prst="rect">
            <a:avLst/>
          </a:prstGeom>
        </p:spPr>
        <p:txBody>
          <a:bodyPr/>
          <a:lstStyle>
            <a:lvl1pPr>
              <a:defRPr sz="6000" b="0" i="0">
                <a:solidFill>
                  <a:srgbClr val="000000"/>
                </a:solidFill>
                <a:latin typeface="Calibri Light" panose="020F0302020204030204" pitchFamily="34" charset="0"/>
                <a:cs typeface="Calibri Light" panose="020F0302020204030204" pitchFamily="34" charset="0"/>
              </a:defRPr>
            </a:lvl1pPr>
          </a:lstStyle>
          <a:p>
            <a:r>
              <a:rPr lang="en-US"/>
              <a:t>Sometimes You Want to Use a </a:t>
            </a:r>
            <a:br>
              <a:rPr lang="en-US"/>
            </a:br>
            <a:r>
              <a:rPr lang="en-US"/>
              <a:t>Subsection Divider</a:t>
            </a:r>
          </a:p>
        </p:txBody>
      </p:sp>
      <p:sp>
        <p:nvSpPr>
          <p:cNvPr id="16" name="Text Placeholder 4">
            <a:extLst>
              <a:ext uri="{FF2B5EF4-FFF2-40B4-BE49-F238E27FC236}">
                <a16:creationId xmlns:a16="http://schemas.microsoft.com/office/drawing/2014/main" id="{12E0E19A-C3CC-AE13-1EF9-7E889ADFCBFE}"/>
              </a:ext>
            </a:extLst>
          </p:cNvPr>
          <p:cNvSpPr>
            <a:spLocks noGrp="1"/>
          </p:cNvSpPr>
          <p:nvPr>
            <p:ph type="body" sz="quarter" idx="11" hasCustomPrompt="1"/>
          </p:nvPr>
        </p:nvSpPr>
        <p:spPr>
          <a:xfrm>
            <a:off x="1295400" y="1328420"/>
            <a:ext cx="498928" cy="321627"/>
          </a:xfrm>
          <a:prstGeom prst="rect">
            <a:avLst/>
          </a:prstGeom>
        </p:spPr>
        <p:txBody>
          <a:bodyPr wrap="square" anchor="t" anchorCtr="0">
            <a:spAutoFit/>
          </a:bodyPr>
          <a:lstStyle>
            <a:lvl1pPr algn="l">
              <a:defRPr sz="2000" b="1" i="0">
                <a:solidFill>
                  <a:schemeClr val="accent6"/>
                </a:solidFill>
                <a:latin typeface="Calibri" panose="020F0502020204030204" pitchFamily="34" charset="0"/>
                <a:cs typeface="Calibri" panose="020F0502020204030204" pitchFamily="34" charset="0"/>
              </a:defRPr>
            </a:lvl1pPr>
          </a:lstStyle>
          <a:p>
            <a:pPr lvl="0"/>
            <a:r>
              <a:rPr lang="en-US"/>
              <a:t>01</a:t>
            </a:r>
          </a:p>
        </p:txBody>
      </p:sp>
      <p:sp>
        <p:nvSpPr>
          <p:cNvPr id="3" name="TextBox 2">
            <a:extLst>
              <a:ext uri="{FF2B5EF4-FFF2-40B4-BE49-F238E27FC236}">
                <a16:creationId xmlns:a16="http://schemas.microsoft.com/office/drawing/2014/main" id="{11CD4D7A-E1F5-9D4D-D7A8-763291C906C5}"/>
              </a:ext>
            </a:extLst>
          </p:cNvPr>
          <p:cNvSpPr txBox="1"/>
          <p:nvPr userDrawn="1"/>
        </p:nvSpPr>
        <p:spPr>
          <a:xfrm>
            <a:off x="1066800" y="985520"/>
            <a:ext cx="0" cy="0"/>
          </a:xfrm>
          <a:prstGeom prst="rect">
            <a:avLst/>
          </a:prstGeom>
          <a:noFill/>
        </p:spPr>
        <p:txBody>
          <a:bodyPr wrap="none" lIns="0" tIns="0" rIns="0" bIns="0" rtlCol="0">
            <a:noAutofit/>
          </a:bodyPr>
          <a:lstStyle/>
          <a:p>
            <a:pPr>
              <a:lnSpc>
                <a:spcPct val="110000"/>
              </a:lnSpc>
              <a:spcBef>
                <a:spcPts val="600"/>
              </a:spcBef>
            </a:pPr>
            <a:endParaRPr lang="en-US" sz="1200" err="1">
              <a:ea typeface="Human Sans" charset="0"/>
              <a:cs typeface="Human Sans" charset="0"/>
            </a:endParaRPr>
          </a:p>
        </p:txBody>
      </p:sp>
      <p:sp>
        <p:nvSpPr>
          <p:cNvPr id="5" name="Text Placeholder 4">
            <a:extLst>
              <a:ext uri="{FF2B5EF4-FFF2-40B4-BE49-F238E27FC236}">
                <a16:creationId xmlns:a16="http://schemas.microsoft.com/office/drawing/2014/main" id="{999BCF95-56F1-24C1-0241-7ECD1E24B8A1}"/>
              </a:ext>
            </a:extLst>
          </p:cNvPr>
          <p:cNvSpPr>
            <a:spLocks noGrp="1"/>
          </p:cNvSpPr>
          <p:nvPr>
            <p:ph type="body" sz="quarter" idx="16" hasCustomPrompt="1"/>
          </p:nvPr>
        </p:nvSpPr>
        <p:spPr>
          <a:xfrm>
            <a:off x="1285240" y="5014402"/>
            <a:ext cx="4757677" cy="528158"/>
          </a:xfrm>
          <a:prstGeom prst="rect">
            <a:avLst/>
          </a:prstGeom>
        </p:spPr>
        <p:txBody>
          <a:bodyPr wrap="square" anchor="t" anchorCtr="0">
            <a:spAutoFit/>
          </a:bodyPr>
          <a:lstStyle>
            <a:lvl1pPr>
              <a:defRPr sz="1600" b="0" i="0">
                <a:solidFill>
                  <a:schemeClr val="tx1"/>
                </a:solidFill>
                <a:latin typeface="Calibri Light" panose="020F0302020204030204" pitchFamily="34" charset="0"/>
                <a:cs typeface="Calibri Light" panose="020F0302020204030204" pitchFamily="34" charset="0"/>
              </a:defRPr>
            </a:lvl1pPr>
          </a:lstStyle>
          <a:p>
            <a:pPr lvl="0"/>
            <a:r>
              <a:rPr lang="en-US"/>
              <a:t>This slide can serve you well. It even has a space for a little something under the title.</a:t>
            </a:r>
          </a:p>
        </p:txBody>
      </p:sp>
      <p:sp>
        <p:nvSpPr>
          <p:cNvPr id="31" name="Picture Placeholder 30">
            <a:extLst>
              <a:ext uri="{FF2B5EF4-FFF2-40B4-BE49-F238E27FC236}">
                <a16:creationId xmlns:a16="http://schemas.microsoft.com/office/drawing/2014/main" id="{FBC79B53-322E-9A4F-2F44-1DDBACABA091}"/>
              </a:ext>
            </a:extLst>
          </p:cNvPr>
          <p:cNvSpPr>
            <a:spLocks noGrp="1"/>
          </p:cNvSpPr>
          <p:nvPr>
            <p:ph type="pic" sz="quarter" idx="17"/>
          </p:nvPr>
        </p:nvSpPr>
        <p:spPr>
          <a:xfrm>
            <a:off x="8572499" y="3495491"/>
            <a:ext cx="2972117" cy="2713485"/>
          </a:xfrm>
        </p:spPr>
        <p:txBody>
          <a:bodyPr/>
          <a:lstStyle/>
          <a:p>
            <a:endParaRPr lang="en-CZ"/>
          </a:p>
        </p:txBody>
      </p:sp>
    </p:spTree>
    <p:extLst>
      <p:ext uri="{BB962C8B-B14F-4D97-AF65-F5344CB8AC3E}">
        <p14:creationId xmlns:p14="http://schemas.microsoft.com/office/powerpoint/2010/main" val="135039885"/>
      </p:ext>
    </p:extLst>
  </p:cSld>
  <p:clrMapOvr>
    <a:masterClrMapping/>
  </p:clrMapOvr>
  <p:extLst>
    <p:ext uri="{DCECCB84-F9BA-43D5-87BE-67443E8EF086}">
      <p15:sldGuideLst xmlns:p15="http://schemas.microsoft.com/office/powerpoint/2012/main">
        <p15:guide id="1" orient="horz" pos="408">
          <p15:clr>
            <a:srgbClr val="FBAE40"/>
          </p15:clr>
        </p15:guide>
        <p15:guide id="2" pos="3840">
          <p15:clr>
            <a:srgbClr val="FBAE40"/>
          </p15:clr>
        </p15:guide>
        <p15:guide id="4" orient="horz" pos="4128">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Divider-Black">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72D1CE3-09AB-4B8F-B4EA-802DA1F8168A}"/>
              </a:ext>
            </a:extLst>
          </p:cNvPr>
          <p:cNvSpPr/>
          <p:nvPr userDrawn="1"/>
        </p:nvSpPr>
        <p:spPr bwMode="auto">
          <a:xfrm>
            <a:off x="0" y="0"/>
            <a:ext cx="12192000" cy="6858000"/>
          </a:xfrm>
          <a:prstGeom prst="rect">
            <a:avLst/>
          </a:prstGeom>
          <a:solidFill>
            <a:schemeClr val="tx1"/>
          </a:solidFill>
          <a:ln>
            <a:noFill/>
          </a:ln>
          <a:effectLst/>
        </p:spPr>
        <p:txBody>
          <a:bodyPr wrap="none" rtlCol="0" anchor="ctr"/>
          <a:lstStyle/>
          <a:p>
            <a:pPr algn="ctr"/>
            <a:endParaRPr lang="en-US" sz="2400" err="1">
              <a:solidFill>
                <a:schemeClr val="bg1"/>
              </a:solidFill>
              <a:latin typeface="Calibri Light" panose="020F0302020204030204" pitchFamily="34" charset="0"/>
              <a:ea typeface="Human Sans ExtraLight" charset="0"/>
              <a:cs typeface="Human Sans ExtraLight" charset="0"/>
            </a:endParaRPr>
          </a:p>
        </p:txBody>
      </p:sp>
      <p:sp>
        <p:nvSpPr>
          <p:cNvPr id="3" name="Title 2">
            <a:extLst>
              <a:ext uri="{FF2B5EF4-FFF2-40B4-BE49-F238E27FC236}">
                <a16:creationId xmlns:a16="http://schemas.microsoft.com/office/drawing/2014/main" id="{CE78582B-61AA-6DE9-1521-DC2A977BE567}"/>
              </a:ext>
            </a:extLst>
          </p:cNvPr>
          <p:cNvSpPr>
            <a:spLocks noGrp="1"/>
          </p:cNvSpPr>
          <p:nvPr>
            <p:ph type="title" hasCustomPrompt="1"/>
          </p:nvPr>
        </p:nvSpPr>
        <p:spPr>
          <a:xfrm>
            <a:off x="623950" y="1968918"/>
            <a:ext cx="10869110" cy="2031325"/>
          </a:xfrm>
          <a:prstGeom prst="rect">
            <a:avLst/>
          </a:prstGeom>
        </p:spPr>
        <p:txBody>
          <a:bodyPr wrap="square">
            <a:spAutoFit/>
          </a:bodyPr>
          <a:lstStyle>
            <a:lvl1pPr>
              <a:defRPr sz="6600" b="0" i="0">
                <a:solidFill>
                  <a:schemeClr val="bg1"/>
                </a:solidFill>
                <a:latin typeface="Calibri Light" panose="020F0302020204030204" pitchFamily="34" charset="0"/>
                <a:cs typeface="Calibri Light" panose="020F0302020204030204" pitchFamily="34" charset="0"/>
              </a:defRPr>
            </a:lvl1pPr>
          </a:lstStyle>
          <a:p>
            <a:r>
              <a:rPr lang="en-US"/>
              <a:t>Sometimes You Want to Use a </a:t>
            </a:r>
            <a:br>
              <a:rPr lang="en-US"/>
            </a:br>
            <a:r>
              <a:rPr lang="en-US"/>
              <a:t>Subsection Divider</a:t>
            </a:r>
          </a:p>
        </p:txBody>
      </p:sp>
      <p:sp>
        <p:nvSpPr>
          <p:cNvPr id="4" name="Text Placeholder 4">
            <a:extLst>
              <a:ext uri="{FF2B5EF4-FFF2-40B4-BE49-F238E27FC236}">
                <a16:creationId xmlns:a16="http://schemas.microsoft.com/office/drawing/2014/main" id="{1BCBDE08-F9EC-9529-7729-0668F9BCEAB4}"/>
              </a:ext>
            </a:extLst>
          </p:cNvPr>
          <p:cNvSpPr>
            <a:spLocks noGrp="1"/>
          </p:cNvSpPr>
          <p:nvPr>
            <p:ph type="body" sz="quarter" idx="16" hasCustomPrompt="1"/>
          </p:nvPr>
        </p:nvSpPr>
        <p:spPr>
          <a:xfrm>
            <a:off x="634110" y="4784228"/>
            <a:ext cx="4757677" cy="528158"/>
          </a:xfrm>
          <a:prstGeom prst="rect">
            <a:avLst/>
          </a:prstGeom>
        </p:spPr>
        <p:txBody>
          <a:bodyPr wrap="square" anchor="t" anchorCtr="0">
            <a:spAutoFit/>
          </a:bodyPr>
          <a:lstStyle>
            <a:lvl1pPr>
              <a:defRPr sz="1600" b="0" i="0">
                <a:solidFill>
                  <a:schemeClr val="bg1"/>
                </a:solidFill>
                <a:latin typeface="Calibri Light" panose="020F0302020204030204" pitchFamily="34" charset="0"/>
                <a:cs typeface="Calibri Light" panose="020F0302020204030204" pitchFamily="34" charset="0"/>
              </a:defRPr>
            </a:lvl1pPr>
          </a:lstStyle>
          <a:p>
            <a:pPr lvl="0"/>
            <a:r>
              <a:rPr lang="en-US"/>
              <a:t>This slide can serve you well. It even has a space for a little something under the title.</a:t>
            </a:r>
          </a:p>
        </p:txBody>
      </p:sp>
      <p:sp>
        <p:nvSpPr>
          <p:cNvPr id="5" name="Text Placeholder 4">
            <a:extLst>
              <a:ext uri="{FF2B5EF4-FFF2-40B4-BE49-F238E27FC236}">
                <a16:creationId xmlns:a16="http://schemas.microsoft.com/office/drawing/2014/main" id="{085B4DAE-11ED-2957-B845-7C97B0B9EE6C}"/>
              </a:ext>
            </a:extLst>
          </p:cNvPr>
          <p:cNvSpPr>
            <a:spLocks noGrp="1"/>
          </p:cNvSpPr>
          <p:nvPr>
            <p:ph type="body" sz="quarter" idx="10" hasCustomPrompt="1"/>
          </p:nvPr>
        </p:nvSpPr>
        <p:spPr>
          <a:xfrm>
            <a:off x="634110" y="1071880"/>
            <a:ext cx="498928" cy="321627"/>
          </a:xfrm>
          <a:prstGeom prst="rect">
            <a:avLst/>
          </a:prstGeom>
        </p:spPr>
        <p:txBody>
          <a:bodyPr wrap="square" anchor="t" anchorCtr="0">
            <a:spAutoFit/>
          </a:bodyPr>
          <a:lstStyle>
            <a:lvl1pPr algn="l">
              <a:defRPr sz="2000" b="1" i="0">
                <a:solidFill>
                  <a:schemeClr val="accent5"/>
                </a:solidFill>
                <a:latin typeface="Calibri" panose="020F0502020204030204" pitchFamily="34" charset="0"/>
                <a:cs typeface="Calibri" panose="020F0502020204030204" pitchFamily="34" charset="0"/>
              </a:defRPr>
            </a:lvl1pPr>
          </a:lstStyle>
          <a:p>
            <a:pPr lvl="0"/>
            <a:r>
              <a:rPr lang="en-US"/>
              <a:t>01</a:t>
            </a:r>
          </a:p>
        </p:txBody>
      </p:sp>
      <p:sp>
        <p:nvSpPr>
          <p:cNvPr id="6" name="Text Placeholder 4">
            <a:extLst>
              <a:ext uri="{FF2B5EF4-FFF2-40B4-BE49-F238E27FC236}">
                <a16:creationId xmlns:a16="http://schemas.microsoft.com/office/drawing/2014/main" id="{132C7CF5-5226-6496-46C0-EF39911AF9B3}"/>
              </a:ext>
            </a:extLst>
          </p:cNvPr>
          <p:cNvSpPr>
            <a:spLocks noGrp="1"/>
          </p:cNvSpPr>
          <p:nvPr>
            <p:ph type="body" sz="quarter" idx="11" hasCustomPrompt="1"/>
          </p:nvPr>
        </p:nvSpPr>
        <p:spPr>
          <a:xfrm>
            <a:off x="634110" y="1563803"/>
            <a:ext cx="3732914" cy="153888"/>
          </a:xfrm>
          <a:prstGeom prst="rect">
            <a:avLst/>
          </a:prstGeom>
        </p:spPr>
        <p:txBody>
          <a:bodyPr wrap="square">
            <a:spAutoFit/>
          </a:bodyPr>
          <a:lstStyle>
            <a:lvl1pPr>
              <a:lnSpc>
                <a:spcPct val="100000"/>
              </a:lnSpc>
              <a:spcBef>
                <a:spcPts val="0"/>
              </a:spcBef>
              <a:defRPr sz="1000" b="0" i="0" spc="300">
                <a:solidFill>
                  <a:schemeClr val="bg1"/>
                </a:solidFill>
                <a:latin typeface="Calibri" panose="020F0502020204030204" pitchFamily="34" charset="0"/>
                <a:cs typeface="Calibri" panose="020F0502020204030204" pitchFamily="34" charset="0"/>
              </a:defRPr>
            </a:lvl1pPr>
            <a:lvl2pPr>
              <a:buNone/>
              <a:defRPr/>
            </a:lvl2pPr>
          </a:lstStyle>
          <a:p>
            <a:pPr lvl="0"/>
            <a:r>
              <a:rPr lang="en-US">
                <a:effectLst/>
              </a:rPr>
              <a:t>SECTION TITLE</a:t>
            </a:r>
            <a:endParaRPr lang="en-US"/>
          </a:p>
        </p:txBody>
      </p:sp>
      <p:sp>
        <p:nvSpPr>
          <p:cNvPr id="8" name="Footer Placeholder 14">
            <a:extLst>
              <a:ext uri="{FF2B5EF4-FFF2-40B4-BE49-F238E27FC236}">
                <a16:creationId xmlns:a16="http://schemas.microsoft.com/office/drawing/2014/main" id="{AE8B814E-7CFD-6C37-7CBA-8B3074D339E8}"/>
              </a:ext>
            </a:extLst>
          </p:cNvPr>
          <p:cNvSpPr txBox="1">
            <a:spLocks/>
          </p:cNvSpPr>
          <p:nvPr userDrawn="1"/>
        </p:nvSpPr>
        <p:spPr>
          <a:xfrm>
            <a:off x="1206203" y="6411603"/>
            <a:ext cx="2157779" cy="228599"/>
          </a:xfrm>
          <a:prstGeom prst="rect">
            <a:avLst/>
          </a:prstGeom>
        </p:spPr>
        <p:txBody>
          <a:bodyPr vert="horz" lIns="0" tIns="0" rIns="0" bIns="0" rtlCol="0" anchor="ctr"/>
          <a:lstStyle>
            <a:defPPr>
              <a:defRPr lang="en-US"/>
            </a:defPPr>
            <a:lvl1pPr marL="0" algn="r" defTabSz="914400" rtl="0" eaLnBrk="1" latinLnBrk="0" hangingPunct="1">
              <a:defRPr sz="600" b="0" i="0" kern="1200">
                <a:solidFill>
                  <a:schemeClr val="tx1"/>
                </a:solidFill>
                <a:latin typeface="+mn-lt"/>
                <a:ea typeface="Calibri" panose="020F0502020204030204" pitchFamily="34" charset="0"/>
                <a:cs typeface="Calibri" panose="020F050202020403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b="0" i="0">
                <a:solidFill>
                  <a:schemeClr val="bg1"/>
                </a:solidFill>
                <a:latin typeface="+mn-lt"/>
              </a:rPr>
              <a:t>EPAM Proprietary &amp; Confidential</a:t>
            </a:r>
            <a:r>
              <a:rPr lang="ru-RU" b="0" i="0">
                <a:solidFill>
                  <a:schemeClr val="bg1"/>
                </a:solidFill>
                <a:latin typeface="+mn-lt"/>
              </a:rPr>
              <a:t> </a:t>
            </a:r>
            <a:endParaRPr lang="en-US" b="0" i="0">
              <a:solidFill>
                <a:schemeClr val="bg1"/>
              </a:solidFill>
              <a:latin typeface="+mn-lt"/>
            </a:endParaRPr>
          </a:p>
        </p:txBody>
      </p:sp>
      <p:grpSp>
        <p:nvGrpSpPr>
          <p:cNvPr id="9" name="Group 8">
            <a:extLst>
              <a:ext uri="{FF2B5EF4-FFF2-40B4-BE49-F238E27FC236}">
                <a16:creationId xmlns:a16="http://schemas.microsoft.com/office/drawing/2014/main" id="{06BB6136-68EB-F506-13F1-452134FB4EA4}"/>
              </a:ext>
            </a:extLst>
          </p:cNvPr>
          <p:cNvGrpSpPr/>
          <p:nvPr userDrawn="1"/>
        </p:nvGrpSpPr>
        <p:grpSpPr>
          <a:xfrm>
            <a:off x="610888" y="6472556"/>
            <a:ext cx="372834" cy="131175"/>
            <a:chOff x="14288" y="2035175"/>
            <a:chExt cx="10039350" cy="3532188"/>
          </a:xfrm>
          <a:solidFill>
            <a:schemeClr val="bg1"/>
          </a:solidFill>
        </p:grpSpPr>
        <p:sp>
          <p:nvSpPr>
            <p:cNvPr id="10" name="Freeform 1">
              <a:extLst>
                <a:ext uri="{FF2B5EF4-FFF2-40B4-BE49-F238E27FC236}">
                  <a16:creationId xmlns:a16="http://schemas.microsoft.com/office/drawing/2014/main" id="{B3E5C627-622C-CAF1-F1C0-96E77237C4F5}"/>
                </a:ext>
              </a:extLst>
            </p:cNvPr>
            <p:cNvSpPr>
              <a:spLocks noChangeArrowheads="1"/>
            </p:cNvSpPr>
            <p:nvPr/>
          </p:nvSpPr>
          <p:spPr bwMode="auto">
            <a:xfrm>
              <a:off x="1519238" y="2035175"/>
              <a:ext cx="1336675" cy="2836863"/>
            </a:xfrm>
            <a:custGeom>
              <a:avLst/>
              <a:gdLst>
                <a:gd name="T0" fmla="*/ 390493 w 3714"/>
                <a:gd name="T1" fmla="*/ 1200682 h 7882"/>
                <a:gd name="T2" fmla="*/ 945462 w 3714"/>
                <a:gd name="T3" fmla="*/ 1200682 h 7882"/>
                <a:gd name="T4" fmla="*/ 945462 w 3714"/>
                <a:gd name="T5" fmla="*/ 611498 h 7882"/>
                <a:gd name="T6" fmla="*/ 698929 w 3714"/>
                <a:gd name="T7" fmla="*/ 364596 h 7882"/>
                <a:gd name="T8" fmla="*/ 637386 w 3714"/>
                <a:gd name="T9" fmla="*/ 364596 h 7882"/>
                <a:gd name="T10" fmla="*/ 390493 w 3714"/>
                <a:gd name="T11" fmla="*/ 611498 h 7882"/>
                <a:gd name="T12" fmla="*/ 390493 w 3714"/>
                <a:gd name="T13" fmla="*/ 1200682 h 7882"/>
                <a:gd name="T14" fmla="*/ 389414 w 3714"/>
                <a:gd name="T15" fmla="*/ 1576795 h 7882"/>
                <a:gd name="T16" fmla="*/ 390493 w 3714"/>
                <a:gd name="T17" fmla="*/ 2224645 h 7882"/>
                <a:gd name="T18" fmla="*/ 637386 w 3714"/>
                <a:gd name="T19" fmla="*/ 2471548 h 7882"/>
                <a:gd name="T20" fmla="*/ 709366 w 3714"/>
                <a:gd name="T21" fmla="*/ 2471548 h 7882"/>
                <a:gd name="T22" fmla="*/ 955899 w 3714"/>
                <a:gd name="T23" fmla="*/ 2224645 h 7882"/>
                <a:gd name="T24" fmla="*/ 955899 w 3714"/>
                <a:gd name="T25" fmla="*/ 1906119 h 7882"/>
                <a:gd name="T26" fmla="*/ 1336315 w 3714"/>
                <a:gd name="T27" fmla="*/ 1906119 h 7882"/>
                <a:gd name="T28" fmla="*/ 1336315 w 3714"/>
                <a:gd name="T29" fmla="*/ 2209528 h 7882"/>
                <a:gd name="T30" fmla="*/ 709366 w 3714"/>
                <a:gd name="T31" fmla="*/ 2836503 h 7882"/>
                <a:gd name="T32" fmla="*/ 626949 w 3714"/>
                <a:gd name="T33" fmla="*/ 2836503 h 7882"/>
                <a:gd name="T34" fmla="*/ 0 w 3714"/>
                <a:gd name="T35" fmla="*/ 2258117 h 7882"/>
                <a:gd name="T36" fmla="*/ 0 w 3714"/>
                <a:gd name="T37" fmla="*/ 675564 h 7882"/>
                <a:gd name="T38" fmla="*/ 626949 w 3714"/>
                <a:gd name="T39" fmla="*/ 0 h 7882"/>
                <a:gd name="T40" fmla="*/ 709366 w 3714"/>
                <a:gd name="T41" fmla="*/ 0 h 7882"/>
                <a:gd name="T42" fmla="*/ 1336315 w 3714"/>
                <a:gd name="T43" fmla="*/ 626975 h 7882"/>
                <a:gd name="T44" fmla="*/ 1334875 w 3714"/>
                <a:gd name="T45" fmla="*/ 1576795 h 7882"/>
                <a:gd name="T46" fmla="*/ 389414 w 3714"/>
                <a:gd name="T47" fmla="*/ 1576795 h 7882"/>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3714" h="7882">
                  <a:moveTo>
                    <a:pt x="1085" y="3336"/>
                  </a:moveTo>
                  <a:lnTo>
                    <a:pt x="2627" y="3336"/>
                  </a:lnTo>
                  <a:lnTo>
                    <a:pt x="2627" y="1699"/>
                  </a:lnTo>
                  <a:cubicBezTo>
                    <a:pt x="2627" y="1242"/>
                    <a:pt x="2399" y="1013"/>
                    <a:pt x="1942" y="1013"/>
                  </a:cubicBezTo>
                  <a:lnTo>
                    <a:pt x="1771" y="1013"/>
                  </a:lnTo>
                  <a:cubicBezTo>
                    <a:pt x="1314" y="1013"/>
                    <a:pt x="1085" y="1242"/>
                    <a:pt x="1085" y="1699"/>
                  </a:cubicBezTo>
                  <a:lnTo>
                    <a:pt x="1085" y="3336"/>
                  </a:lnTo>
                  <a:close/>
                  <a:moveTo>
                    <a:pt x="1082" y="4381"/>
                  </a:moveTo>
                  <a:lnTo>
                    <a:pt x="1085" y="6181"/>
                  </a:lnTo>
                  <a:cubicBezTo>
                    <a:pt x="1085" y="6638"/>
                    <a:pt x="1314" y="6867"/>
                    <a:pt x="1771" y="6867"/>
                  </a:cubicBezTo>
                  <a:lnTo>
                    <a:pt x="1971" y="6867"/>
                  </a:lnTo>
                  <a:cubicBezTo>
                    <a:pt x="2428" y="6867"/>
                    <a:pt x="2656" y="6638"/>
                    <a:pt x="2656" y="6181"/>
                  </a:cubicBezTo>
                  <a:lnTo>
                    <a:pt x="2656" y="5296"/>
                  </a:lnTo>
                  <a:lnTo>
                    <a:pt x="3713" y="5296"/>
                  </a:lnTo>
                  <a:lnTo>
                    <a:pt x="3713" y="6139"/>
                  </a:lnTo>
                  <a:cubicBezTo>
                    <a:pt x="3713" y="7295"/>
                    <a:pt x="3127" y="7881"/>
                    <a:pt x="1971" y="7881"/>
                  </a:cubicBezTo>
                  <a:lnTo>
                    <a:pt x="1742" y="7881"/>
                  </a:lnTo>
                  <a:cubicBezTo>
                    <a:pt x="585" y="7881"/>
                    <a:pt x="0" y="7295"/>
                    <a:pt x="0" y="6274"/>
                  </a:cubicBezTo>
                  <a:lnTo>
                    <a:pt x="0" y="1877"/>
                  </a:lnTo>
                  <a:cubicBezTo>
                    <a:pt x="0" y="585"/>
                    <a:pt x="585" y="0"/>
                    <a:pt x="1742" y="0"/>
                  </a:cubicBezTo>
                  <a:lnTo>
                    <a:pt x="1971" y="0"/>
                  </a:lnTo>
                  <a:cubicBezTo>
                    <a:pt x="3127" y="0"/>
                    <a:pt x="3713" y="585"/>
                    <a:pt x="3713" y="1742"/>
                  </a:cubicBezTo>
                  <a:lnTo>
                    <a:pt x="3709" y="4381"/>
                  </a:lnTo>
                  <a:lnTo>
                    <a:pt x="1082" y="4381"/>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endParaRPr lang="en-US"/>
            </a:p>
          </p:txBody>
        </p:sp>
        <p:sp>
          <p:nvSpPr>
            <p:cNvPr id="12" name="Freeform 2">
              <a:extLst>
                <a:ext uri="{FF2B5EF4-FFF2-40B4-BE49-F238E27FC236}">
                  <a16:creationId xmlns:a16="http://schemas.microsoft.com/office/drawing/2014/main" id="{9D629132-3A47-0EB4-F40C-52A25C83D41D}"/>
                </a:ext>
              </a:extLst>
            </p:cNvPr>
            <p:cNvSpPr>
              <a:spLocks noChangeArrowheads="1"/>
            </p:cNvSpPr>
            <p:nvPr/>
          </p:nvSpPr>
          <p:spPr bwMode="auto">
            <a:xfrm>
              <a:off x="3109913" y="2035175"/>
              <a:ext cx="1368425" cy="3532188"/>
            </a:xfrm>
            <a:custGeom>
              <a:avLst/>
              <a:gdLst>
                <a:gd name="T0" fmla="*/ 390721 w 3800"/>
                <a:gd name="T1" fmla="*/ 2322993 h 9812"/>
                <a:gd name="T2" fmla="*/ 750833 w 3800"/>
                <a:gd name="T3" fmla="*/ 2466628 h 9812"/>
                <a:gd name="T4" fmla="*/ 976983 w 3800"/>
                <a:gd name="T5" fmla="*/ 2240556 h 9812"/>
                <a:gd name="T6" fmla="*/ 976983 w 3800"/>
                <a:gd name="T7" fmla="*/ 596138 h 9812"/>
                <a:gd name="T8" fmla="*/ 750833 w 3800"/>
                <a:gd name="T9" fmla="*/ 370066 h 9812"/>
                <a:gd name="T10" fmla="*/ 390721 w 3800"/>
                <a:gd name="T11" fmla="*/ 514061 h 9812"/>
                <a:gd name="T12" fmla="*/ 390721 w 3800"/>
                <a:gd name="T13" fmla="*/ 2322993 h 9812"/>
                <a:gd name="T14" fmla="*/ 0 w 3800"/>
                <a:gd name="T15" fmla="*/ 30599 h 9812"/>
                <a:gd name="T16" fmla="*/ 390721 w 3800"/>
                <a:gd name="T17" fmla="*/ 30599 h 9812"/>
                <a:gd name="T18" fmla="*/ 390721 w 3800"/>
                <a:gd name="T19" fmla="*/ 210592 h 9812"/>
                <a:gd name="T20" fmla="*/ 868950 w 3800"/>
                <a:gd name="T21" fmla="*/ 0 h 9812"/>
                <a:gd name="T22" fmla="*/ 1368065 w 3800"/>
                <a:gd name="T23" fmla="*/ 549699 h 9812"/>
                <a:gd name="T24" fmla="*/ 1368065 w 3800"/>
                <a:gd name="T25" fmla="*/ 2286995 h 9812"/>
                <a:gd name="T26" fmla="*/ 868950 w 3800"/>
                <a:gd name="T27" fmla="*/ 2837054 h 9812"/>
                <a:gd name="T28" fmla="*/ 390721 w 3800"/>
                <a:gd name="T29" fmla="*/ 2636541 h 9812"/>
                <a:gd name="T30" fmla="*/ 390721 w 3800"/>
                <a:gd name="T31" fmla="*/ 3531828 h 9812"/>
                <a:gd name="T32" fmla="*/ 0 w 3800"/>
                <a:gd name="T33" fmla="*/ 3531828 h 9812"/>
                <a:gd name="T34" fmla="*/ 0 w 3800"/>
                <a:gd name="T35" fmla="*/ 30599 h 9812"/>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3800" h="9812">
                  <a:moveTo>
                    <a:pt x="1085" y="6453"/>
                  </a:moveTo>
                  <a:cubicBezTo>
                    <a:pt x="1385" y="6710"/>
                    <a:pt x="1728" y="6852"/>
                    <a:pt x="2085" y="6852"/>
                  </a:cubicBezTo>
                  <a:cubicBezTo>
                    <a:pt x="2485" y="6852"/>
                    <a:pt x="2713" y="6667"/>
                    <a:pt x="2713" y="6224"/>
                  </a:cubicBezTo>
                  <a:lnTo>
                    <a:pt x="2713" y="1656"/>
                  </a:lnTo>
                  <a:cubicBezTo>
                    <a:pt x="2713" y="1213"/>
                    <a:pt x="2485" y="1028"/>
                    <a:pt x="2085" y="1028"/>
                  </a:cubicBezTo>
                  <a:cubicBezTo>
                    <a:pt x="1728" y="1028"/>
                    <a:pt x="1385" y="1170"/>
                    <a:pt x="1085" y="1428"/>
                  </a:cubicBezTo>
                  <a:lnTo>
                    <a:pt x="1085" y="6453"/>
                  </a:lnTo>
                  <a:close/>
                  <a:moveTo>
                    <a:pt x="0" y="85"/>
                  </a:moveTo>
                  <a:lnTo>
                    <a:pt x="1085" y="85"/>
                  </a:lnTo>
                  <a:lnTo>
                    <a:pt x="1085" y="585"/>
                  </a:lnTo>
                  <a:cubicBezTo>
                    <a:pt x="1342" y="314"/>
                    <a:pt x="1785" y="0"/>
                    <a:pt x="2413" y="0"/>
                  </a:cubicBezTo>
                  <a:cubicBezTo>
                    <a:pt x="3342" y="0"/>
                    <a:pt x="3799" y="614"/>
                    <a:pt x="3799" y="1527"/>
                  </a:cubicBezTo>
                  <a:lnTo>
                    <a:pt x="3799" y="6353"/>
                  </a:lnTo>
                  <a:cubicBezTo>
                    <a:pt x="3799" y="7267"/>
                    <a:pt x="3342" y="7881"/>
                    <a:pt x="2413" y="7881"/>
                  </a:cubicBezTo>
                  <a:cubicBezTo>
                    <a:pt x="1785" y="7881"/>
                    <a:pt x="1342" y="7581"/>
                    <a:pt x="1085" y="7324"/>
                  </a:cubicBezTo>
                  <a:lnTo>
                    <a:pt x="1085" y="9811"/>
                  </a:lnTo>
                  <a:lnTo>
                    <a:pt x="0" y="9811"/>
                  </a:lnTo>
                  <a:lnTo>
                    <a:pt x="0" y="85"/>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endParaRPr lang="en-US"/>
            </a:p>
          </p:txBody>
        </p:sp>
        <p:sp>
          <p:nvSpPr>
            <p:cNvPr id="21" name="Freeform 3">
              <a:extLst>
                <a:ext uri="{FF2B5EF4-FFF2-40B4-BE49-F238E27FC236}">
                  <a16:creationId xmlns:a16="http://schemas.microsoft.com/office/drawing/2014/main" id="{7F467564-484B-B118-EBC0-A41FCB606D27}"/>
                </a:ext>
              </a:extLst>
            </p:cNvPr>
            <p:cNvSpPr>
              <a:spLocks noChangeArrowheads="1"/>
            </p:cNvSpPr>
            <p:nvPr/>
          </p:nvSpPr>
          <p:spPr bwMode="auto">
            <a:xfrm>
              <a:off x="4711700" y="2035175"/>
              <a:ext cx="1328738" cy="2836863"/>
            </a:xfrm>
            <a:custGeom>
              <a:avLst/>
              <a:gdLst>
                <a:gd name="T0" fmla="*/ 937679 w 3690"/>
                <a:gd name="T1" fmla="*/ 2338019 h 7882"/>
                <a:gd name="T2" fmla="*/ 937679 w 3690"/>
                <a:gd name="T3" fmla="*/ 1422750 h 7882"/>
                <a:gd name="T4" fmla="*/ 582988 w 3690"/>
                <a:gd name="T5" fmla="*/ 1556999 h 7882"/>
                <a:gd name="T6" fmla="*/ 392500 w 3690"/>
                <a:gd name="T7" fmla="*/ 1844573 h 7882"/>
                <a:gd name="T8" fmla="*/ 392500 w 3690"/>
                <a:gd name="T9" fmla="*/ 2266035 h 7882"/>
                <a:gd name="T10" fmla="*/ 582988 w 3690"/>
                <a:gd name="T11" fmla="*/ 2466149 h 7882"/>
                <a:gd name="T12" fmla="*/ 937679 w 3690"/>
                <a:gd name="T13" fmla="*/ 2338019 h 7882"/>
                <a:gd name="T14" fmla="*/ 2161 w 3690"/>
                <a:gd name="T15" fmla="*/ 1839174 h 7882"/>
                <a:gd name="T16" fmla="*/ 413025 w 3690"/>
                <a:gd name="T17" fmla="*/ 1253950 h 7882"/>
                <a:gd name="T18" fmla="*/ 937679 w 3690"/>
                <a:gd name="T19" fmla="*/ 1073991 h 7882"/>
                <a:gd name="T20" fmla="*/ 937679 w 3690"/>
                <a:gd name="T21" fmla="*/ 611498 h 7882"/>
                <a:gd name="T22" fmla="*/ 690656 w 3690"/>
                <a:gd name="T23" fmla="*/ 359557 h 7882"/>
                <a:gd name="T24" fmla="*/ 627280 w 3690"/>
                <a:gd name="T25" fmla="*/ 359557 h 7882"/>
                <a:gd name="T26" fmla="*/ 380257 w 3690"/>
                <a:gd name="T27" fmla="*/ 611498 h 7882"/>
                <a:gd name="T28" fmla="*/ 380257 w 3690"/>
                <a:gd name="T29" fmla="*/ 1004527 h 7882"/>
                <a:gd name="T30" fmla="*/ 0 w 3690"/>
                <a:gd name="T31" fmla="*/ 1004527 h 7882"/>
                <a:gd name="T32" fmla="*/ 0 w 3690"/>
                <a:gd name="T33" fmla="*/ 626975 h 7882"/>
                <a:gd name="T34" fmla="*/ 627280 w 3690"/>
                <a:gd name="T35" fmla="*/ 0 h 7882"/>
                <a:gd name="T36" fmla="*/ 701098 w 3690"/>
                <a:gd name="T37" fmla="*/ 0 h 7882"/>
                <a:gd name="T38" fmla="*/ 1328378 w 3690"/>
                <a:gd name="T39" fmla="*/ 626975 h 7882"/>
                <a:gd name="T40" fmla="*/ 1328378 w 3690"/>
                <a:gd name="T41" fmla="*/ 2805550 h 7882"/>
                <a:gd name="T42" fmla="*/ 937679 w 3690"/>
                <a:gd name="T43" fmla="*/ 2805550 h 7882"/>
                <a:gd name="T44" fmla="*/ 937679 w 3690"/>
                <a:gd name="T45" fmla="*/ 2630631 h 7882"/>
                <a:gd name="T46" fmla="*/ 459477 w 3690"/>
                <a:gd name="T47" fmla="*/ 2836503 h 7882"/>
                <a:gd name="T48" fmla="*/ 2161 w 3690"/>
                <a:gd name="T49" fmla="*/ 2348096 h 7882"/>
                <a:gd name="T50" fmla="*/ 2161 w 3690"/>
                <a:gd name="T51" fmla="*/ 1839174 h 7882"/>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3690" h="7882">
                  <a:moveTo>
                    <a:pt x="2604" y="6496"/>
                  </a:moveTo>
                  <a:lnTo>
                    <a:pt x="2604" y="3953"/>
                  </a:lnTo>
                  <a:lnTo>
                    <a:pt x="1619" y="4326"/>
                  </a:lnTo>
                  <a:cubicBezTo>
                    <a:pt x="1219" y="4483"/>
                    <a:pt x="1090" y="4683"/>
                    <a:pt x="1090" y="5125"/>
                  </a:cubicBezTo>
                  <a:lnTo>
                    <a:pt x="1090" y="6296"/>
                  </a:lnTo>
                  <a:cubicBezTo>
                    <a:pt x="1090" y="6667"/>
                    <a:pt x="1276" y="6852"/>
                    <a:pt x="1619" y="6852"/>
                  </a:cubicBezTo>
                  <a:cubicBezTo>
                    <a:pt x="1947" y="6852"/>
                    <a:pt x="2247" y="6738"/>
                    <a:pt x="2604" y="6496"/>
                  </a:cubicBezTo>
                  <a:close/>
                  <a:moveTo>
                    <a:pt x="6" y="5110"/>
                  </a:moveTo>
                  <a:cubicBezTo>
                    <a:pt x="6" y="4155"/>
                    <a:pt x="320" y="3769"/>
                    <a:pt x="1147" y="3484"/>
                  </a:cubicBezTo>
                  <a:lnTo>
                    <a:pt x="2604" y="2984"/>
                  </a:lnTo>
                  <a:lnTo>
                    <a:pt x="2604" y="1699"/>
                  </a:lnTo>
                  <a:cubicBezTo>
                    <a:pt x="2604" y="1242"/>
                    <a:pt x="2375" y="999"/>
                    <a:pt x="1918" y="999"/>
                  </a:cubicBezTo>
                  <a:lnTo>
                    <a:pt x="1742" y="999"/>
                  </a:lnTo>
                  <a:cubicBezTo>
                    <a:pt x="1285" y="999"/>
                    <a:pt x="1056" y="1242"/>
                    <a:pt x="1056" y="1699"/>
                  </a:cubicBezTo>
                  <a:lnTo>
                    <a:pt x="1056" y="2791"/>
                  </a:lnTo>
                  <a:lnTo>
                    <a:pt x="0" y="2791"/>
                  </a:lnTo>
                  <a:lnTo>
                    <a:pt x="0" y="1742"/>
                  </a:lnTo>
                  <a:cubicBezTo>
                    <a:pt x="0" y="585"/>
                    <a:pt x="586" y="0"/>
                    <a:pt x="1742" y="0"/>
                  </a:cubicBezTo>
                  <a:lnTo>
                    <a:pt x="1947" y="0"/>
                  </a:lnTo>
                  <a:cubicBezTo>
                    <a:pt x="3104" y="0"/>
                    <a:pt x="3689" y="585"/>
                    <a:pt x="3689" y="1742"/>
                  </a:cubicBezTo>
                  <a:lnTo>
                    <a:pt x="3689" y="7795"/>
                  </a:lnTo>
                  <a:lnTo>
                    <a:pt x="2604" y="7795"/>
                  </a:lnTo>
                  <a:lnTo>
                    <a:pt x="2604" y="7309"/>
                  </a:lnTo>
                  <a:cubicBezTo>
                    <a:pt x="2304" y="7595"/>
                    <a:pt x="1904" y="7881"/>
                    <a:pt x="1276" y="7881"/>
                  </a:cubicBezTo>
                  <a:cubicBezTo>
                    <a:pt x="406" y="7881"/>
                    <a:pt x="6" y="7381"/>
                    <a:pt x="6" y="6524"/>
                  </a:cubicBezTo>
                  <a:lnTo>
                    <a:pt x="6" y="5110"/>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endParaRPr lang="en-US"/>
            </a:p>
          </p:txBody>
        </p:sp>
        <p:sp>
          <p:nvSpPr>
            <p:cNvPr id="22" name="Freeform 4">
              <a:extLst>
                <a:ext uri="{FF2B5EF4-FFF2-40B4-BE49-F238E27FC236}">
                  <a16:creationId xmlns:a16="http://schemas.microsoft.com/office/drawing/2014/main" id="{72DD0C64-8355-4E87-EF3E-B0E4C59DFC75}"/>
                </a:ext>
              </a:extLst>
            </p:cNvPr>
            <p:cNvSpPr>
              <a:spLocks noChangeArrowheads="1"/>
            </p:cNvSpPr>
            <p:nvPr/>
          </p:nvSpPr>
          <p:spPr bwMode="auto">
            <a:xfrm>
              <a:off x="6292850" y="2035175"/>
              <a:ext cx="2262188" cy="2806700"/>
            </a:xfrm>
            <a:custGeom>
              <a:avLst/>
              <a:gdLst>
                <a:gd name="T0" fmla="*/ 1326358 w 6285"/>
                <a:gd name="T1" fmla="*/ 2806340 h 7796"/>
                <a:gd name="T2" fmla="*/ 935470 w 6285"/>
                <a:gd name="T3" fmla="*/ 2806340 h 7796"/>
                <a:gd name="T4" fmla="*/ 935470 w 6285"/>
                <a:gd name="T5" fmla="*/ 570628 h 7796"/>
                <a:gd name="T6" fmla="*/ 750463 w 6285"/>
                <a:gd name="T7" fmla="*/ 370098 h 7796"/>
                <a:gd name="T8" fmla="*/ 390889 w 6285"/>
                <a:gd name="T9" fmla="*/ 508705 h 7796"/>
                <a:gd name="T10" fmla="*/ 390889 w 6285"/>
                <a:gd name="T11" fmla="*/ 2806340 h 7796"/>
                <a:gd name="T12" fmla="*/ 0 w 6285"/>
                <a:gd name="T13" fmla="*/ 2806340 h 7796"/>
                <a:gd name="T14" fmla="*/ 0 w 6285"/>
                <a:gd name="T15" fmla="*/ 30602 h 7796"/>
                <a:gd name="T16" fmla="*/ 390889 w 6285"/>
                <a:gd name="T17" fmla="*/ 30602 h 7796"/>
                <a:gd name="T18" fmla="*/ 390889 w 6285"/>
                <a:gd name="T19" fmla="*/ 210611 h 7796"/>
                <a:gd name="T20" fmla="*/ 868882 w 6285"/>
                <a:gd name="T21" fmla="*/ 0 h 7796"/>
                <a:gd name="T22" fmla="*/ 1274888 w 6285"/>
                <a:gd name="T23" fmla="*/ 226091 h 7796"/>
                <a:gd name="T24" fmla="*/ 1804351 w 6285"/>
                <a:gd name="T25" fmla="*/ 0 h 7796"/>
                <a:gd name="T26" fmla="*/ 2261828 w 6285"/>
                <a:gd name="T27" fmla="*/ 488184 h 7796"/>
                <a:gd name="T28" fmla="*/ 2261828 w 6285"/>
                <a:gd name="T29" fmla="*/ 2806340 h 7796"/>
                <a:gd name="T30" fmla="*/ 1870939 w 6285"/>
                <a:gd name="T31" fmla="*/ 2806340 h 7796"/>
                <a:gd name="T32" fmla="*/ 1870939 w 6285"/>
                <a:gd name="T33" fmla="*/ 570628 h 7796"/>
                <a:gd name="T34" fmla="*/ 1685933 w 6285"/>
                <a:gd name="T35" fmla="*/ 370098 h 7796"/>
                <a:gd name="T36" fmla="*/ 1326358 w 6285"/>
                <a:gd name="T37" fmla="*/ 508705 h 7796"/>
                <a:gd name="T38" fmla="*/ 1326358 w 6285"/>
                <a:gd name="T39" fmla="*/ 2806340 h 779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6285" h="7796">
                  <a:moveTo>
                    <a:pt x="3685" y="7795"/>
                  </a:moveTo>
                  <a:lnTo>
                    <a:pt x="2599" y="7795"/>
                  </a:lnTo>
                  <a:lnTo>
                    <a:pt x="2599" y="1585"/>
                  </a:lnTo>
                  <a:cubicBezTo>
                    <a:pt x="2599" y="1199"/>
                    <a:pt x="2414" y="1028"/>
                    <a:pt x="2085" y="1028"/>
                  </a:cubicBezTo>
                  <a:cubicBezTo>
                    <a:pt x="1785" y="1028"/>
                    <a:pt x="1471" y="1142"/>
                    <a:pt x="1086" y="1413"/>
                  </a:cubicBezTo>
                  <a:lnTo>
                    <a:pt x="1086" y="7795"/>
                  </a:lnTo>
                  <a:lnTo>
                    <a:pt x="0" y="7795"/>
                  </a:lnTo>
                  <a:lnTo>
                    <a:pt x="0" y="85"/>
                  </a:lnTo>
                  <a:lnTo>
                    <a:pt x="1086" y="85"/>
                  </a:lnTo>
                  <a:lnTo>
                    <a:pt x="1086" y="585"/>
                  </a:lnTo>
                  <a:cubicBezTo>
                    <a:pt x="1400" y="285"/>
                    <a:pt x="1814" y="0"/>
                    <a:pt x="2414" y="0"/>
                  </a:cubicBezTo>
                  <a:cubicBezTo>
                    <a:pt x="2971" y="0"/>
                    <a:pt x="3342" y="228"/>
                    <a:pt x="3542" y="628"/>
                  </a:cubicBezTo>
                  <a:cubicBezTo>
                    <a:pt x="3928" y="299"/>
                    <a:pt x="4385" y="0"/>
                    <a:pt x="5013" y="0"/>
                  </a:cubicBezTo>
                  <a:cubicBezTo>
                    <a:pt x="5855" y="0"/>
                    <a:pt x="6284" y="514"/>
                    <a:pt x="6284" y="1356"/>
                  </a:cubicBezTo>
                  <a:lnTo>
                    <a:pt x="6284" y="7795"/>
                  </a:lnTo>
                  <a:lnTo>
                    <a:pt x="5198" y="7795"/>
                  </a:lnTo>
                  <a:lnTo>
                    <a:pt x="5198" y="1585"/>
                  </a:lnTo>
                  <a:cubicBezTo>
                    <a:pt x="5198" y="1199"/>
                    <a:pt x="5013" y="1028"/>
                    <a:pt x="4684" y="1028"/>
                  </a:cubicBezTo>
                  <a:cubicBezTo>
                    <a:pt x="4385" y="1028"/>
                    <a:pt x="4070" y="1142"/>
                    <a:pt x="3685" y="1413"/>
                  </a:cubicBezTo>
                  <a:lnTo>
                    <a:pt x="3685" y="7795"/>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endParaRPr lang="en-US"/>
            </a:p>
          </p:txBody>
        </p:sp>
        <p:sp>
          <p:nvSpPr>
            <p:cNvPr id="23" name="Freeform 5">
              <a:extLst>
                <a:ext uri="{FF2B5EF4-FFF2-40B4-BE49-F238E27FC236}">
                  <a16:creationId xmlns:a16="http://schemas.microsoft.com/office/drawing/2014/main" id="{AFDE9F45-0F31-C6C8-FA6A-A9D66E61DFAA}"/>
                </a:ext>
              </a:extLst>
            </p:cNvPr>
            <p:cNvSpPr>
              <a:spLocks noChangeArrowheads="1"/>
            </p:cNvSpPr>
            <p:nvPr/>
          </p:nvSpPr>
          <p:spPr bwMode="auto">
            <a:xfrm>
              <a:off x="14288" y="2322513"/>
              <a:ext cx="1004887" cy="2274887"/>
            </a:xfrm>
            <a:custGeom>
              <a:avLst/>
              <a:gdLst>
                <a:gd name="T0" fmla="*/ 1004527 w 2790"/>
                <a:gd name="T1" fmla="*/ 0 h 6317"/>
                <a:gd name="T2" fmla="*/ 1004527 w 2790"/>
                <a:gd name="T3" fmla="*/ 510652 h 6317"/>
                <a:gd name="T4" fmla="*/ 346488 w 2790"/>
                <a:gd name="T5" fmla="*/ 1137624 h 6317"/>
                <a:gd name="T6" fmla="*/ 1004527 w 2790"/>
                <a:gd name="T7" fmla="*/ 1752711 h 6317"/>
                <a:gd name="T8" fmla="*/ 1004527 w 2790"/>
                <a:gd name="T9" fmla="*/ 2274527 h 6317"/>
                <a:gd name="T10" fmla="*/ 0 w 2790"/>
                <a:gd name="T11" fmla="*/ 1331009 h 6317"/>
                <a:gd name="T12" fmla="*/ 0 w 2790"/>
                <a:gd name="T13" fmla="*/ 955042 h 6317"/>
                <a:gd name="T14" fmla="*/ 1004527 w 2790"/>
                <a:gd name="T15" fmla="*/ 0 h 6317"/>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2790" h="6317">
                  <a:moveTo>
                    <a:pt x="2789" y="0"/>
                  </a:moveTo>
                  <a:lnTo>
                    <a:pt x="2789" y="1418"/>
                  </a:lnTo>
                  <a:lnTo>
                    <a:pt x="962" y="3159"/>
                  </a:lnTo>
                  <a:lnTo>
                    <a:pt x="2789" y="4867"/>
                  </a:lnTo>
                  <a:lnTo>
                    <a:pt x="2789" y="6316"/>
                  </a:lnTo>
                  <a:lnTo>
                    <a:pt x="0" y="3696"/>
                  </a:lnTo>
                  <a:lnTo>
                    <a:pt x="0" y="2652"/>
                  </a:lnTo>
                  <a:lnTo>
                    <a:pt x="2789"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endParaRPr lang="en-US"/>
            </a:p>
          </p:txBody>
        </p:sp>
        <p:sp>
          <p:nvSpPr>
            <p:cNvPr id="24" name="Freeform 6">
              <a:extLst>
                <a:ext uri="{FF2B5EF4-FFF2-40B4-BE49-F238E27FC236}">
                  <a16:creationId xmlns:a16="http://schemas.microsoft.com/office/drawing/2014/main" id="{BE2F38F6-274B-EE5E-9476-5544F88C82DE}"/>
                </a:ext>
              </a:extLst>
            </p:cNvPr>
            <p:cNvSpPr>
              <a:spLocks noChangeArrowheads="1"/>
            </p:cNvSpPr>
            <p:nvPr/>
          </p:nvSpPr>
          <p:spPr bwMode="auto">
            <a:xfrm>
              <a:off x="9050338" y="2322513"/>
              <a:ext cx="1003300" cy="2274887"/>
            </a:xfrm>
            <a:custGeom>
              <a:avLst/>
              <a:gdLst>
                <a:gd name="T0" fmla="*/ 1002940 w 2789"/>
                <a:gd name="T1" fmla="*/ 955042 h 6317"/>
                <a:gd name="T2" fmla="*/ 1002940 w 2789"/>
                <a:gd name="T3" fmla="*/ 1331009 h 6317"/>
                <a:gd name="T4" fmla="*/ 0 w 2789"/>
                <a:gd name="T5" fmla="*/ 2274527 h 6317"/>
                <a:gd name="T6" fmla="*/ 0 w 2789"/>
                <a:gd name="T7" fmla="*/ 1752711 h 6317"/>
                <a:gd name="T8" fmla="*/ 656876 w 2789"/>
                <a:gd name="T9" fmla="*/ 1137624 h 6317"/>
                <a:gd name="T10" fmla="*/ 0 w 2789"/>
                <a:gd name="T11" fmla="*/ 510652 h 6317"/>
                <a:gd name="T12" fmla="*/ 0 w 2789"/>
                <a:gd name="T13" fmla="*/ 0 h 6317"/>
                <a:gd name="T14" fmla="*/ 1002940 w 2789"/>
                <a:gd name="T15" fmla="*/ 955042 h 6317"/>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2789" h="6317">
                  <a:moveTo>
                    <a:pt x="2788" y="2652"/>
                  </a:moveTo>
                  <a:lnTo>
                    <a:pt x="2788" y="3696"/>
                  </a:lnTo>
                  <a:lnTo>
                    <a:pt x="0" y="6316"/>
                  </a:lnTo>
                  <a:lnTo>
                    <a:pt x="0" y="4867"/>
                  </a:lnTo>
                  <a:lnTo>
                    <a:pt x="1826" y="3159"/>
                  </a:lnTo>
                  <a:lnTo>
                    <a:pt x="0" y="1418"/>
                  </a:lnTo>
                  <a:lnTo>
                    <a:pt x="0" y="0"/>
                  </a:lnTo>
                  <a:lnTo>
                    <a:pt x="2788" y="2652"/>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endParaRPr lang="en-US"/>
            </a:p>
          </p:txBody>
        </p:sp>
      </p:grpSp>
      <p:pic>
        <p:nvPicPr>
          <p:cNvPr id="11" name="Graphic 10">
            <a:extLst>
              <a:ext uri="{FF2B5EF4-FFF2-40B4-BE49-F238E27FC236}">
                <a16:creationId xmlns:a16="http://schemas.microsoft.com/office/drawing/2014/main" id="{26013B31-3199-EC60-6FF1-3DF7122186AF}"/>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820266" y="6419060"/>
            <a:ext cx="762921" cy="205636"/>
          </a:xfrm>
          <a:prstGeom prst="rect">
            <a:avLst/>
          </a:prstGeom>
        </p:spPr>
      </p:pic>
    </p:spTree>
    <p:extLst>
      <p:ext uri="{BB962C8B-B14F-4D97-AF65-F5344CB8AC3E}">
        <p14:creationId xmlns:p14="http://schemas.microsoft.com/office/powerpoint/2010/main" val="485584343"/>
      </p:ext>
    </p:extLst>
  </p:cSld>
  <p:clrMapOvr>
    <a:masterClrMapping/>
  </p:clrMapOvr>
  <p:extLst>
    <p:ext uri="{DCECCB84-F9BA-43D5-87BE-67443E8EF086}">
      <p15:sldGuideLst xmlns:p15="http://schemas.microsoft.com/office/powerpoint/2012/main"/>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ubsection_Divider">
    <p:spTree>
      <p:nvGrpSpPr>
        <p:cNvPr id="1" name=""/>
        <p:cNvGrpSpPr/>
        <p:nvPr/>
      </p:nvGrpSpPr>
      <p:grpSpPr>
        <a:xfrm>
          <a:off x="0" y="0"/>
          <a:ext cx="0" cy="0"/>
          <a:chOff x="0" y="0"/>
          <a:chExt cx="0" cy="0"/>
        </a:xfrm>
      </p:grpSpPr>
      <p:sp>
        <p:nvSpPr>
          <p:cNvPr id="8" name="Title 2">
            <a:extLst>
              <a:ext uri="{FF2B5EF4-FFF2-40B4-BE49-F238E27FC236}">
                <a16:creationId xmlns:a16="http://schemas.microsoft.com/office/drawing/2014/main" id="{0EFDF222-F5FF-C5FC-328A-D041866005E2}"/>
              </a:ext>
            </a:extLst>
          </p:cNvPr>
          <p:cNvSpPr>
            <a:spLocks noGrp="1"/>
          </p:cNvSpPr>
          <p:nvPr>
            <p:ph type="title" hasCustomPrompt="1"/>
          </p:nvPr>
        </p:nvSpPr>
        <p:spPr>
          <a:xfrm>
            <a:off x="639074" y="1968918"/>
            <a:ext cx="10917926" cy="2031325"/>
          </a:xfrm>
          <a:prstGeom prst="rect">
            <a:avLst/>
          </a:prstGeom>
        </p:spPr>
        <p:txBody>
          <a:bodyPr wrap="square">
            <a:spAutoFit/>
          </a:bodyPr>
          <a:lstStyle>
            <a:lvl1pPr>
              <a:defRPr sz="6600" b="0" i="0">
                <a:solidFill>
                  <a:schemeClr val="tx1"/>
                </a:solidFill>
                <a:latin typeface="Calibri Light" panose="020F0302020204030204" pitchFamily="34" charset="0"/>
                <a:cs typeface="Calibri Light" panose="020F0302020204030204" pitchFamily="34" charset="0"/>
              </a:defRPr>
            </a:lvl1pPr>
          </a:lstStyle>
          <a:p>
            <a:r>
              <a:rPr lang="en-US"/>
              <a:t>Sometimes You Want to Use a </a:t>
            </a:r>
            <a:br>
              <a:rPr lang="en-US"/>
            </a:br>
            <a:r>
              <a:rPr lang="en-US"/>
              <a:t>Subsection Divider</a:t>
            </a:r>
          </a:p>
        </p:txBody>
      </p:sp>
      <p:sp>
        <p:nvSpPr>
          <p:cNvPr id="26" name="Text Placeholder 4">
            <a:extLst>
              <a:ext uri="{FF2B5EF4-FFF2-40B4-BE49-F238E27FC236}">
                <a16:creationId xmlns:a16="http://schemas.microsoft.com/office/drawing/2014/main" id="{041C214B-0929-47F1-0881-0584DE92D4E2}"/>
              </a:ext>
            </a:extLst>
          </p:cNvPr>
          <p:cNvSpPr>
            <a:spLocks noGrp="1"/>
          </p:cNvSpPr>
          <p:nvPr>
            <p:ph type="body" sz="quarter" idx="16" hasCustomPrompt="1"/>
          </p:nvPr>
        </p:nvSpPr>
        <p:spPr>
          <a:xfrm>
            <a:off x="639074" y="4784228"/>
            <a:ext cx="4757677" cy="492443"/>
          </a:xfrm>
          <a:prstGeom prst="rect">
            <a:avLst/>
          </a:prstGeom>
        </p:spPr>
        <p:txBody>
          <a:bodyPr wrap="square" anchor="t" anchorCtr="0">
            <a:spAutoFit/>
          </a:bodyPr>
          <a:lstStyle>
            <a:lvl1pPr>
              <a:defRPr sz="1600" b="0" i="0">
                <a:latin typeface="Calibri Light" panose="020F0302020204030204" pitchFamily="34" charset="0"/>
                <a:cs typeface="Calibri Light" panose="020F0302020204030204" pitchFamily="34" charset="0"/>
              </a:defRPr>
            </a:lvl1pPr>
          </a:lstStyle>
          <a:p>
            <a:pPr lvl="0"/>
            <a:r>
              <a:rPr lang="en-US"/>
              <a:t>This slide can serve you well. It even has a space for a little something under the title.</a:t>
            </a:r>
          </a:p>
        </p:txBody>
      </p:sp>
      <p:sp>
        <p:nvSpPr>
          <p:cNvPr id="10" name="Text Placeholder 4">
            <a:extLst>
              <a:ext uri="{FF2B5EF4-FFF2-40B4-BE49-F238E27FC236}">
                <a16:creationId xmlns:a16="http://schemas.microsoft.com/office/drawing/2014/main" id="{00F545EE-05C3-C60B-A33C-54CA3165B80C}"/>
              </a:ext>
            </a:extLst>
          </p:cNvPr>
          <p:cNvSpPr>
            <a:spLocks noGrp="1"/>
          </p:cNvSpPr>
          <p:nvPr>
            <p:ph type="body" sz="quarter" idx="10" hasCustomPrompt="1"/>
          </p:nvPr>
        </p:nvSpPr>
        <p:spPr>
          <a:xfrm>
            <a:off x="639074" y="1071880"/>
            <a:ext cx="498928" cy="321627"/>
          </a:xfrm>
          <a:prstGeom prst="rect">
            <a:avLst/>
          </a:prstGeom>
        </p:spPr>
        <p:txBody>
          <a:bodyPr wrap="square" anchor="t" anchorCtr="0">
            <a:spAutoFit/>
          </a:bodyPr>
          <a:lstStyle>
            <a:lvl1pPr algn="l">
              <a:defRPr sz="2000" b="1" i="0">
                <a:solidFill>
                  <a:schemeClr val="accent6"/>
                </a:solidFill>
                <a:latin typeface="Calibri" panose="020F0502020204030204" pitchFamily="34" charset="0"/>
                <a:cs typeface="Calibri" panose="020F0502020204030204" pitchFamily="34" charset="0"/>
              </a:defRPr>
            </a:lvl1pPr>
          </a:lstStyle>
          <a:p>
            <a:pPr lvl="0"/>
            <a:r>
              <a:rPr lang="en-US"/>
              <a:t>01</a:t>
            </a:r>
          </a:p>
        </p:txBody>
      </p:sp>
      <p:sp>
        <p:nvSpPr>
          <p:cNvPr id="2" name="Text Placeholder 4">
            <a:extLst>
              <a:ext uri="{FF2B5EF4-FFF2-40B4-BE49-F238E27FC236}">
                <a16:creationId xmlns:a16="http://schemas.microsoft.com/office/drawing/2014/main" id="{38048DD2-9EC2-D0E6-390B-D6FEF7F7E08B}"/>
              </a:ext>
            </a:extLst>
          </p:cNvPr>
          <p:cNvSpPr>
            <a:spLocks noGrp="1"/>
          </p:cNvSpPr>
          <p:nvPr>
            <p:ph type="body" sz="quarter" idx="11" hasCustomPrompt="1"/>
          </p:nvPr>
        </p:nvSpPr>
        <p:spPr>
          <a:xfrm>
            <a:off x="639074" y="1563803"/>
            <a:ext cx="3732914" cy="153888"/>
          </a:xfrm>
          <a:prstGeom prst="rect">
            <a:avLst/>
          </a:prstGeom>
        </p:spPr>
        <p:txBody>
          <a:bodyPr wrap="square">
            <a:spAutoFit/>
          </a:bodyPr>
          <a:lstStyle>
            <a:lvl1pPr>
              <a:lnSpc>
                <a:spcPct val="100000"/>
              </a:lnSpc>
              <a:spcBef>
                <a:spcPts val="0"/>
              </a:spcBef>
              <a:defRPr sz="1000" b="0" i="0" spc="300">
                <a:solidFill>
                  <a:schemeClr val="tx1"/>
                </a:solidFill>
                <a:latin typeface="Calibri" panose="020F0502020204030204" pitchFamily="34" charset="0"/>
                <a:cs typeface="Calibri" panose="020F0502020204030204" pitchFamily="34" charset="0"/>
              </a:defRPr>
            </a:lvl1pPr>
            <a:lvl2pPr>
              <a:buNone/>
              <a:defRPr/>
            </a:lvl2pPr>
          </a:lstStyle>
          <a:p>
            <a:pPr lvl="0"/>
            <a:r>
              <a:rPr lang="en-US">
                <a:effectLst/>
              </a:rPr>
              <a:t>SECTION TITLE</a:t>
            </a:r>
            <a:endParaRPr lang="en-US"/>
          </a:p>
        </p:txBody>
      </p:sp>
    </p:spTree>
    <p:extLst>
      <p:ext uri="{BB962C8B-B14F-4D97-AF65-F5344CB8AC3E}">
        <p14:creationId xmlns:p14="http://schemas.microsoft.com/office/powerpoint/2010/main" val="605858589"/>
      </p:ext>
    </p:extLst>
  </p:cSld>
  <p:clrMapOvr>
    <a:masterClrMapping/>
  </p:clrMapOvr>
  <p:extLst>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267CC9CF-65E5-C8C5-9887-BA6C6F13F8FD}"/>
              </a:ext>
            </a:extLst>
          </p:cNvPr>
          <p:cNvSpPr>
            <a:spLocks noGrp="1"/>
          </p:cNvSpPr>
          <p:nvPr>
            <p:ph type="title" hasCustomPrompt="1"/>
          </p:nvPr>
        </p:nvSpPr>
        <p:spPr>
          <a:xfrm>
            <a:off x="633632" y="722843"/>
            <a:ext cx="10963056" cy="338554"/>
          </a:xfrm>
          <a:prstGeom prst="rect">
            <a:avLst/>
          </a:prstGeom>
        </p:spPr>
        <p:txBody>
          <a:bodyPr/>
          <a:lstStyle>
            <a:lvl1pPr>
              <a:defRPr lang="en-US" sz="2200" b="1" i="0" kern="1200" spc="0" dirty="0">
                <a:solidFill>
                  <a:schemeClr val="tx1"/>
                </a:solidFill>
                <a:effectLst/>
                <a:latin typeface="+mj-lt"/>
                <a:ea typeface="Calibri" panose="020F0502020204030204" pitchFamily="34" charset="0"/>
                <a:cs typeface="Calibri" panose="020F0502020204030204" pitchFamily="34" charset="0"/>
              </a:defRPr>
            </a:lvl1pPr>
          </a:lstStyle>
          <a:p>
            <a:pPr marL="0" lvl="0" indent="0" algn="l" defTabSz="914400" rtl="0" eaLnBrk="1" latinLnBrk="0" hangingPunct="1">
              <a:lnSpc>
                <a:spcPct val="100000"/>
              </a:lnSpc>
              <a:spcBef>
                <a:spcPts val="0"/>
              </a:spcBef>
              <a:spcAft>
                <a:spcPts val="0"/>
              </a:spcAft>
              <a:buFont typeface="Arial" panose="020B0604020202020204" pitchFamily="34" charset="0"/>
              <a:buNone/>
            </a:pPr>
            <a:r>
              <a:rPr lang="en-US">
                <a:effectLst/>
              </a:rPr>
              <a:t>Title Goes Here</a:t>
            </a:r>
            <a:endParaRPr lang="en-US"/>
          </a:p>
        </p:txBody>
      </p:sp>
      <p:sp>
        <p:nvSpPr>
          <p:cNvPr id="4" name="Text Placeholder 10">
            <a:extLst>
              <a:ext uri="{FF2B5EF4-FFF2-40B4-BE49-F238E27FC236}">
                <a16:creationId xmlns:a16="http://schemas.microsoft.com/office/drawing/2014/main" id="{F27AAB24-13CA-DAFE-1D0B-616A45B8781C}"/>
              </a:ext>
            </a:extLst>
          </p:cNvPr>
          <p:cNvSpPr>
            <a:spLocks noGrp="1"/>
          </p:cNvSpPr>
          <p:nvPr>
            <p:ph type="body" sz="quarter" idx="28" hasCustomPrompt="1"/>
          </p:nvPr>
        </p:nvSpPr>
        <p:spPr>
          <a:xfrm>
            <a:off x="633632" y="419100"/>
            <a:ext cx="3611880" cy="225706"/>
          </a:xfrm>
          <a:prstGeom prst="rect">
            <a:avLst/>
          </a:prstGeom>
        </p:spPr>
        <p:txBody>
          <a:bodyPr/>
          <a:lstStyle>
            <a:lvl1pPr>
              <a:spcBef>
                <a:spcPts val="0"/>
              </a:spcBef>
              <a:defRPr lang="en-US" sz="1000" b="0" i="0" kern="1200" cap="all" spc="300" baseline="0" dirty="0">
                <a:solidFill>
                  <a:schemeClr val="tx1"/>
                </a:solidFill>
                <a:latin typeface="Calibri" panose="020F0502020204030204" pitchFamily="34" charset="0"/>
                <a:ea typeface="Calibri" panose="020F0502020204030204" pitchFamily="34" charset="0"/>
                <a:cs typeface="Calibri" panose="020F0502020204030204" pitchFamily="34" charset="0"/>
              </a:defRPr>
            </a:lvl1pPr>
          </a:lstStyle>
          <a:p>
            <a:pPr marL="0" lvl="0" indent="0" algn="l" defTabSz="914400" rtl="0" eaLnBrk="1" latinLnBrk="0" hangingPunct="1">
              <a:lnSpc>
                <a:spcPct val="100000"/>
              </a:lnSpc>
              <a:spcBef>
                <a:spcPts val="600"/>
              </a:spcBef>
              <a:spcAft>
                <a:spcPts val="0"/>
              </a:spcAft>
              <a:buFont typeface="Arial" panose="020B0604020202020204" pitchFamily="34" charset="0"/>
              <a:buNone/>
            </a:pPr>
            <a:r>
              <a:rPr lang="en-US"/>
              <a:t>Click to add section title</a:t>
            </a:r>
          </a:p>
        </p:txBody>
      </p:sp>
    </p:spTree>
    <p:extLst>
      <p:ext uri="{BB962C8B-B14F-4D97-AF65-F5344CB8AC3E}">
        <p14:creationId xmlns:p14="http://schemas.microsoft.com/office/powerpoint/2010/main" val="112666671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Subtitle">
    <p:spTree>
      <p:nvGrpSpPr>
        <p:cNvPr id="1" name=""/>
        <p:cNvGrpSpPr/>
        <p:nvPr/>
      </p:nvGrpSpPr>
      <p:grpSpPr>
        <a:xfrm>
          <a:off x="0" y="0"/>
          <a:ext cx="0" cy="0"/>
          <a:chOff x="0" y="0"/>
          <a:chExt cx="0" cy="0"/>
        </a:xfrm>
      </p:grpSpPr>
      <p:sp>
        <p:nvSpPr>
          <p:cNvPr id="7" name="Text Placeholder 8">
            <a:extLst>
              <a:ext uri="{FF2B5EF4-FFF2-40B4-BE49-F238E27FC236}">
                <a16:creationId xmlns:a16="http://schemas.microsoft.com/office/drawing/2014/main" id="{AC0623E5-38D5-73F9-5E0E-38E1DE6CE32D}"/>
              </a:ext>
            </a:extLst>
          </p:cNvPr>
          <p:cNvSpPr>
            <a:spLocks noGrp="1"/>
          </p:cNvSpPr>
          <p:nvPr>
            <p:ph type="body" sz="quarter" idx="11" hasCustomPrompt="1"/>
          </p:nvPr>
        </p:nvSpPr>
        <p:spPr>
          <a:xfrm>
            <a:off x="633632" y="1211252"/>
            <a:ext cx="10896600" cy="480060"/>
          </a:xfrm>
          <a:prstGeom prst="rect">
            <a:avLst/>
          </a:prstGeom>
        </p:spPr>
        <p:txBody>
          <a:bodyPr wrap="square" lIns="0" tIns="0" rIns="0" bIns="0" anchor="t" anchorCtr="0">
            <a:normAutofit/>
          </a:bodyPr>
          <a:lstStyle>
            <a:lvl1pPr marL="0" indent="0" algn="l" defTabSz="914400" rtl="0" eaLnBrk="1" latinLnBrk="0" hangingPunct="1">
              <a:lnSpc>
                <a:spcPct val="100000"/>
              </a:lnSpc>
              <a:spcBef>
                <a:spcPts val="0"/>
              </a:spcBef>
              <a:spcAft>
                <a:spcPts val="0"/>
              </a:spcAft>
              <a:buFont typeface="Arial" panose="020B0604020202020204" pitchFamily="34" charset="0"/>
              <a:buNone/>
              <a:defRPr lang="en-US" sz="1400" b="1" i="0" kern="1200" dirty="0">
                <a:solidFill>
                  <a:schemeClr val="tx1"/>
                </a:solidFill>
                <a:latin typeface="Calibri" panose="020F0502020204030204" pitchFamily="34" charset="0"/>
                <a:ea typeface="Calibri" panose="020F0502020204030204" pitchFamily="34" charset="0"/>
                <a:cs typeface="Calibri" panose="020F0502020204030204" pitchFamily="34" charset="0"/>
              </a:defRPr>
            </a:lvl1pPr>
          </a:lstStyle>
          <a:p>
            <a:r>
              <a:rPr lang="en-US"/>
              <a:t>Lorem ipsum </a:t>
            </a:r>
            <a:r>
              <a:rPr lang="en-US" err="1"/>
              <a:t>nibh</a:t>
            </a:r>
            <a:r>
              <a:rPr lang="en-US"/>
              <a:t> </a:t>
            </a:r>
            <a:r>
              <a:rPr lang="en-US" err="1"/>
              <a:t>commodo</a:t>
            </a:r>
            <a:r>
              <a:rPr lang="en-US"/>
              <a:t> </a:t>
            </a:r>
            <a:r>
              <a:rPr lang="en-US" err="1"/>
              <a:t>aenean</a:t>
            </a:r>
            <a:r>
              <a:rPr lang="en-US"/>
              <a:t> </a:t>
            </a:r>
            <a:r>
              <a:rPr lang="en-US" err="1"/>
              <a:t>leo</a:t>
            </a:r>
            <a:r>
              <a:rPr lang="en-US"/>
              <a:t> porta </a:t>
            </a:r>
            <a:r>
              <a:rPr lang="en-US" err="1"/>
              <a:t>duis</a:t>
            </a:r>
            <a:r>
              <a:rPr lang="en-US"/>
              <a:t> magna </a:t>
            </a:r>
            <a:r>
              <a:rPr lang="en-US" err="1"/>
              <a:t>felis</a:t>
            </a:r>
            <a:r>
              <a:rPr lang="en-US"/>
              <a:t> </a:t>
            </a:r>
            <a:r>
              <a:rPr lang="en-US" err="1"/>
              <a:t>bibendum</a:t>
            </a:r>
            <a:r>
              <a:rPr lang="en-US"/>
              <a:t> </a:t>
            </a:r>
            <a:r>
              <a:rPr lang="en-US" err="1"/>
              <a:t>tempor</a:t>
            </a:r>
            <a:r>
              <a:rPr lang="en-US"/>
              <a:t>.</a:t>
            </a:r>
          </a:p>
        </p:txBody>
      </p:sp>
      <p:sp>
        <p:nvSpPr>
          <p:cNvPr id="8" name="Title 1">
            <a:extLst>
              <a:ext uri="{FF2B5EF4-FFF2-40B4-BE49-F238E27FC236}">
                <a16:creationId xmlns:a16="http://schemas.microsoft.com/office/drawing/2014/main" id="{2488F82B-2507-AEF1-458C-200FC5FC0815}"/>
              </a:ext>
            </a:extLst>
          </p:cNvPr>
          <p:cNvSpPr>
            <a:spLocks noGrp="1"/>
          </p:cNvSpPr>
          <p:nvPr>
            <p:ph type="title" hasCustomPrompt="1"/>
          </p:nvPr>
        </p:nvSpPr>
        <p:spPr>
          <a:xfrm>
            <a:off x="633632" y="722843"/>
            <a:ext cx="10963056" cy="338554"/>
          </a:xfrm>
          <a:prstGeom prst="rect">
            <a:avLst/>
          </a:prstGeom>
        </p:spPr>
        <p:txBody>
          <a:bodyPr/>
          <a:lstStyle>
            <a:lvl1pPr>
              <a:defRPr lang="en-US" sz="2200" b="1" i="0" kern="1200" spc="0" dirty="0">
                <a:solidFill>
                  <a:schemeClr val="tx1"/>
                </a:solidFill>
                <a:effectLst/>
                <a:latin typeface="+mj-lt"/>
                <a:ea typeface="Calibri" panose="020F0502020204030204" pitchFamily="34" charset="0"/>
                <a:cs typeface="Calibri" panose="020F0502020204030204" pitchFamily="34" charset="0"/>
              </a:defRPr>
            </a:lvl1pPr>
          </a:lstStyle>
          <a:p>
            <a:pPr marL="0" lvl="0" indent="0" algn="l" defTabSz="914400" rtl="0" eaLnBrk="1" latinLnBrk="0" hangingPunct="1">
              <a:lnSpc>
                <a:spcPct val="100000"/>
              </a:lnSpc>
              <a:spcBef>
                <a:spcPts val="0"/>
              </a:spcBef>
              <a:spcAft>
                <a:spcPts val="0"/>
              </a:spcAft>
              <a:buFont typeface="Arial" panose="020B0604020202020204" pitchFamily="34" charset="0"/>
              <a:buNone/>
            </a:pPr>
            <a:r>
              <a:rPr lang="en-US">
                <a:effectLst/>
              </a:rPr>
              <a:t>Title Goes Here</a:t>
            </a:r>
            <a:endParaRPr lang="en-US"/>
          </a:p>
        </p:txBody>
      </p:sp>
      <p:sp>
        <p:nvSpPr>
          <p:cNvPr id="9" name="Text Placeholder 10">
            <a:extLst>
              <a:ext uri="{FF2B5EF4-FFF2-40B4-BE49-F238E27FC236}">
                <a16:creationId xmlns:a16="http://schemas.microsoft.com/office/drawing/2014/main" id="{AD7C39A7-8E4B-23C9-CA4A-7228098D0F04}"/>
              </a:ext>
            </a:extLst>
          </p:cNvPr>
          <p:cNvSpPr>
            <a:spLocks noGrp="1"/>
          </p:cNvSpPr>
          <p:nvPr>
            <p:ph type="body" sz="quarter" idx="28" hasCustomPrompt="1"/>
          </p:nvPr>
        </p:nvSpPr>
        <p:spPr>
          <a:xfrm>
            <a:off x="633632" y="419100"/>
            <a:ext cx="3611880" cy="225706"/>
          </a:xfrm>
          <a:prstGeom prst="rect">
            <a:avLst/>
          </a:prstGeom>
        </p:spPr>
        <p:txBody>
          <a:bodyPr/>
          <a:lstStyle>
            <a:lvl1pPr>
              <a:spcBef>
                <a:spcPts val="0"/>
              </a:spcBef>
              <a:defRPr lang="en-US" sz="1000" b="0" i="0" kern="1200" cap="all" spc="300" baseline="0" dirty="0">
                <a:solidFill>
                  <a:schemeClr val="tx1"/>
                </a:solidFill>
                <a:latin typeface="Calibri" panose="020F0502020204030204" pitchFamily="34" charset="0"/>
                <a:ea typeface="Calibri" panose="020F0502020204030204" pitchFamily="34" charset="0"/>
                <a:cs typeface="Calibri" panose="020F0502020204030204" pitchFamily="34" charset="0"/>
              </a:defRPr>
            </a:lvl1pPr>
          </a:lstStyle>
          <a:p>
            <a:pPr marL="0" lvl="0" indent="0" algn="l" defTabSz="914400" rtl="0" eaLnBrk="1" latinLnBrk="0" hangingPunct="1">
              <a:lnSpc>
                <a:spcPct val="100000"/>
              </a:lnSpc>
              <a:spcBef>
                <a:spcPts val="600"/>
              </a:spcBef>
              <a:spcAft>
                <a:spcPts val="0"/>
              </a:spcAft>
              <a:buFont typeface="Arial" panose="020B0604020202020204" pitchFamily="34" charset="0"/>
              <a:buNone/>
            </a:pPr>
            <a:r>
              <a:rPr lang="en-US"/>
              <a:t>Click to add section title</a:t>
            </a:r>
          </a:p>
        </p:txBody>
      </p:sp>
    </p:spTree>
    <p:extLst>
      <p:ext uri="{BB962C8B-B14F-4D97-AF65-F5344CB8AC3E}">
        <p14:creationId xmlns:p14="http://schemas.microsoft.com/office/powerpoint/2010/main" val="1012236046"/>
      </p:ext>
    </p:extLst>
  </p:cSld>
  <p:clrMapOvr>
    <a:masterClrMapping/>
  </p:clrMapOvr>
  <p:extLst>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87040462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_Callout_Text_A">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5AB310E8-6618-FE08-E6DC-00BA11F812CC}"/>
              </a:ext>
            </a:extLst>
          </p:cNvPr>
          <p:cNvSpPr/>
          <p:nvPr userDrawn="1"/>
        </p:nvSpPr>
        <p:spPr bwMode="auto">
          <a:xfrm>
            <a:off x="6096000" y="0"/>
            <a:ext cx="6096000" cy="6858000"/>
          </a:xfrm>
          <a:prstGeom prst="rect">
            <a:avLst/>
          </a:prstGeom>
          <a:solidFill>
            <a:schemeClr val="bg1">
              <a:lumMod val="95000"/>
            </a:schemeClr>
          </a:solidFill>
          <a:ln>
            <a:noFill/>
          </a:ln>
          <a:effectLst/>
        </p:spPr>
        <p:txBody>
          <a:bodyPr wrap="none" rtlCol="0" anchor="ctr"/>
          <a:lstStyle/>
          <a:p>
            <a:pPr algn="ctr"/>
            <a:endParaRPr lang="en-US" sz="2400" err="1">
              <a:solidFill>
                <a:srgbClr val="FBFAFA"/>
              </a:solidFill>
              <a:latin typeface="Calibri Light" panose="020F0302020204030204" pitchFamily="34" charset="0"/>
              <a:ea typeface="Human Sans ExtraLight" charset="0"/>
              <a:cs typeface="Human Sans ExtraLight" charset="0"/>
            </a:endParaRPr>
          </a:p>
        </p:txBody>
      </p:sp>
      <p:sp>
        <p:nvSpPr>
          <p:cNvPr id="8" name="Title 2">
            <a:extLst>
              <a:ext uri="{FF2B5EF4-FFF2-40B4-BE49-F238E27FC236}">
                <a16:creationId xmlns:a16="http://schemas.microsoft.com/office/drawing/2014/main" id="{0EFDF222-F5FF-C5FC-328A-D041866005E2}"/>
              </a:ext>
            </a:extLst>
          </p:cNvPr>
          <p:cNvSpPr>
            <a:spLocks noGrp="1"/>
          </p:cNvSpPr>
          <p:nvPr>
            <p:ph type="title" hasCustomPrompt="1"/>
          </p:nvPr>
        </p:nvSpPr>
        <p:spPr>
          <a:xfrm>
            <a:off x="627063" y="1739153"/>
            <a:ext cx="5333999" cy="2769989"/>
          </a:xfrm>
          <a:prstGeom prst="rect">
            <a:avLst/>
          </a:prstGeom>
        </p:spPr>
        <p:txBody>
          <a:bodyPr wrap="square">
            <a:spAutoFit/>
          </a:bodyPr>
          <a:lstStyle>
            <a:lvl1pPr>
              <a:defRPr sz="6000" b="0" i="0">
                <a:solidFill>
                  <a:schemeClr val="tx1"/>
                </a:solidFill>
                <a:latin typeface="Calibri Light" panose="020F0302020204030204" pitchFamily="34" charset="0"/>
                <a:cs typeface="Calibri Light" panose="020F0302020204030204" pitchFamily="34" charset="0"/>
              </a:defRPr>
            </a:lvl1pPr>
          </a:lstStyle>
          <a:p>
            <a:r>
              <a:rPr lang="en-US"/>
              <a:t>When You Have a Big Thought That is Paired…</a:t>
            </a:r>
          </a:p>
        </p:txBody>
      </p:sp>
      <p:sp>
        <p:nvSpPr>
          <p:cNvPr id="3" name="Text Placeholder 4">
            <a:extLst>
              <a:ext uri="{FF2B5EF4-FFF2-40B4-BE49-F238E27FC236}">
                <a16:creationId xmlns:a16="http://schemas.microsoft.com/office/drawing/2014/main" id="{B9BE9A04-ECA1-501C-8903-EB031E3BF54D}"/>
              </a:ext>
            </a:extLst>
          </p:cNvPr>
          <p:cNvSpPr>
            <a:spLocks noGrp="1"/>
          </p:cNvSpPr>
          <p:nvPr>
            <p:ph type="body" sz="quarter" idx="16" hasCustomPrompt="1"/>
          </p:nvPr>
        </p:nvSpPr>
        <p:spPr>
          <a:xfrm>
            <a:off x="6942827" y="1981200"/>
            <a:ext cx="4610100" cy="2439386"/>
          </a:xfrm>
          <a:prstGeom prst="rect">
            <a:avLst/>
          </a:prstGeom>
        </p:spPr>
        <p:txBody>
          <a:bodyPr wrap="square" anchor="t" anchorCtr="0">
            <a:spAutoFit/>
          </a:bodyPr>
          <a:lstStyle>
            <a:lvl1pPr>
              <a:lnSpc>
                <a:spcPts val="2400"/>
              </a:lnSpc>
              <a:defRPr sz="1600" b="0" i="0">
                <a:solidFill>
                  <a:srgbClr val="000000"/>
                </a:solidFill>
                <a:latin typeface="Calibri Light" panose="020F0302020204030204" pitchFamily="34" charset="0"/>
                <a:cs typeface="Calibri Light" panose="020F0302020204030204" pitchFamily="34" charset="0"/>
              </a:defRPr>
            </a:lvl1pPr>
          </a:lstStyle>
          <a:p>
            <a:pPr lvl="0"/>
            <a:r>
              <a:rPr lang="en-US"/>
              <a:t>With a lot of supporting details. Lorem ipsum dolor sit </a:t>
            </a:r>
            <a:r>
              <a:rPr lang="en-US" err="1"/>
              <a:t>amet</a:t>
            </a:r>
            <a:r>
              <a:rPr lang="en-US"/>
              <a:t>, </a:t>
            </a:r>
            <a:r>
              <a:rPr lang="en-US" err="1"/>
              <a:t>consectetuer</a:t>
            </a:r>
            <a:r>
              <a:rPr lang="en-US"/>
              <a:t> </a:t>
            </a:r>
            <a:r>
              <a:rPr lang="en-US" err="1"/>
              <a:t>adipiscing</a:t>
            </a:r>
            <a:r>
              <a:rPr lang="en-US"/>
              <a:t> </a:t>
            </a:r>
            <a:r>
              <a:rPr lang="en-US" err="1"/>
              <a:t>elit</a:t>
            </a:r>
            <a:r>
              <a:rPr lang="en-US"/>
              <a:t>, sed diam </a:t>
            </a:r>
            <a:r>
              <a:rPr lang="en-US" err="1"/>
              <a:t>nonummy</a:t>
            </a:r>
            <a:r>
              <a:rPr lang="en-US"/>
              <a:t> </a:t>
            </a:r>
            <a:r>
              <a:rPr lang="en-US" err="1"/>
              <a:t>nibh</a:t>
            </a:r>
            <a:r>
              <a:rPr lang="en-US"/>
              <a:t> </a:t>
            </a:r>
            <a:r>
              <a:rPr lang="en-US" err="1"/>
              <a:t>euismod</a:t>
            </a:r>
            <a:r>
              <a:rPr lang="en-US"/>
              <a:t> </a:t>
            </a:r>
            <a:r>
              <a:rPr lang="en-US" err="1"/>
              <a:t>tincidunt</a:t>
            </a:r>
            <a:r>
              <a:rPr lang="en-US"/>
              <a:t> </a:t>
            </a:r>
            <a:r>
              <a:rPr lang="en-US" err="1"/>
              <a:t>ut</a:t>
            </a:r>
            <a:r>
              <a:rPr lang="en-US"/>
              <a:t> </a:t>
            </a:r>
            <a:r>
              <a:rPr lang="en-US" err="1"/>
              <a:t>laoreet</a:t>
            </a:r>
            <a:r>
              <a:rPr lang="en-US"/>
              <a:t> dolore magna </a:t>
            </a:r>
            <a:r>
              <a:rPr lang="en-US" err="1"/>
              <a:t>aliquam</a:t>
            </a:r>
            <a:r>
              <a:rPr lang="en-US"/>
              <a:t> </a:t>
            </a:r>
            <a:r>
              <a:rPr lang="en-US" err="1"/>
              <a:t>erat</a:t>
            </a:r>
            <a:r>
              <a:rPr lang="en-US"/>
              <a:t> </a:t>
            </a:r>
            <a:r>
              <a:rPr lang="en-US" err="1"/>
              <a:t>volutpat</a:t>
            </a:r>
            <a:r>
              <a:rPr lang="en-US"/>
              <a:t>. Ut </a:t>
            </a:r>
            <a:r>
              <a:rPr lang="en-US" err="1"/>
              <a:t>wisi</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a:t>
            </a:r>
            <a:r>
              <a:rPr lang="en-US" err="1"/>
              <a:t>exerci</a:t>
            </a:r>
            <a:r>
              <a:rPr lang="en-US"/>
              <a:t> </a:t>
            </a:r>
            <a:r>
              <a:rPr lang="en-US" err="1"/>
              <a:t>tation</a:t>
            </a:r>
            <a:r>
              <a:rPr lang="en-US"/>
              <a:t> </a:t>
            </a:r>
            <a:r>
              <a:rPr lang="en-US" err="1"/>
              <a:t>ullamcorper</a:t>
            </a:r>
            <a:r>
              <a:rPr lang="en-US"/>
              <a:t> </a:t>
            </a:r>
            <a:r>
              <a:rPr lang="en-US" err="1"/>
              <a:t>suscipit</a:t>
            </a:r>
            <a:r>
              <a:rPr lang="en-US"/>
              <a:t> </a:t>
            </a:r>
            <a:r>
              <a:rPr lang="en-US" err="1"/>
              <a:t>lobortis</a:t>
            </a:r>
            <a:r>
              <a:rPr lang="en-US"/>
              <a:t> </a:t>
            </a:r>
            <a:r>
              <a:rPr lang="en-US" err="1"/>
              <a:t>nisl</a:t>
            </a:r>
            <a:r>
              <a:rPr lang="en-US"/>
              <a:t>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utem vel </a:t>
            </a:r>
            <a:r>
              <a:rPr lang="en-US" err="1"/>
              <a:t>eum</a:t>
            </a:r>
            <a:r>
              <a:rPr lang="en-US"/>
              <a:t> </a:t>
            </a:r>
            <a:r>
              <a:rPr lang="en-US" err="1"/>
              <a:t>iriure</a:t>
            </a:r>
            <a:r>
              <a:rPr lang="en-US"/>
              <a:t> dolor in </a:t>
            </a:r>
            <a:r>
              <a:rPr lang="en-US" err="1"/>
              <a:t>hendrerit</a:t>
            </a:r>
            <a:r>
              <a:rPr lang="en-US"/>
              <a:t> in </a:t>
            </a:r>
            <a:r>
              <a:rPr lang="en-US" err="1"/>
              <a:t>vulputate</a:t>
            </a:r>
            <a:r>
              <a:rPr lang="en-US"/>
              <a:t> </a:t>
            </a:r>
            <a:r>
              <a:rPr lang="en-US" err="1"/>
              <a:t>velit</a:t>
            </a:r>
            <a:r>
              <a:rPr lang="en-US"/>
              <a:t> </a:t>
            </a:r>
            <a:r>
              <a:rPr lang="en-US" err="1"/>
              <a:t>esse</a:t>
            </a:r>
            <a:r>
              <a:rPr lang="en-US"/>
              <a:t> </a:t>
            </a:r>
            <a:r>
              <a:rPr lang="en-US" err="1"/>
              <a:t>molestie</a:t>
            </a:r>
            <a:r>
              <a:rPr lang="en-US"/>
              <a:t> </a:t>
            </a:r>
            <a:r>
              <a:rPr lang="en-US" err="1"/>
              <a:t>consequat</a:t>
            </a:r>
            <a:r>
              <a:rPr lang="en-US"/>
              <a:t>.</a:t>
            </a:r>
          </a:p>
        </p:txBody>
      </p:sp>
      <p:sp>
        <p:nvSpPr>
          <p:cNvPr id="16" name="Text Placeholder 10">
            <a:extLst>
              <a:ext uri="{FF2B5EF4-FFF2-40B4-BE49-F238E27FC236}">
                <a16:creationId xmlns:a16="http://schemas.microsoft.com/office/drawing/2014/main" id="{746B66AD-D607-C8A3-57EC-E66339B963F6}"/>
              </a:ext>
            </a:extLst>
          </p:cNvPr>
          <p:cNvSpPr>
            <a:spLocks noGrp="1"/>
          </p:cNvSpPr>
          <p:nvPr>
            <p:ph type="body" sz="quarter" idx="28" hasCustomPrompt="1"/>
          </p:nvPr>
        </p:nvSpPr>
        <p:spPr>
          <a:xfrm>
            <a:off x="627063" y="419100"/>
            <a:ext cx="3725862" cy="225706"/>
          </a:xfrm>
          <a:prstGeom prst="rect">
            <a:avLst/>
          </a:prstGeom>
        </p:spPr>
        <p:txBody>
          <a:bodyPr/>
          <a:lstStyle>
            <a:lvl1pPr>
              <a:spcBef>
                <a:spcPts val="0"/>
              </a:spcBef>
              <a:defRPr lang="en-US" sz="1000" b="0" i="0" kern="1200" cap="all" spc="300" baseline="0" dirty="0">
                <a:solidFill>
                  <a:schemeClr val="tx2"/>
                </a:solidFill>
                <a:latin typeface="Calibri" panose="020F0502020204030204" pitchFamily="34" charset="0"/>
                <a:ea typeface="Calibri" panose="020F0502020204030204" pitchFamily="34" charset="0"/>
                <a:cs typeface="Calibri" panose="020F0502020204030204" pitchFamily="34" charset="0"/>
              </a:defRPr>
            </a:lvl1pPr>
          </a:lstStyle>
          <a:p>
            <a:pPr marL="0" lvl="0" indent="0" algn="l" defTabSz="914400" rtl="0" eaLnBrk="1" latinLnBrk="0" hangingPunct="1">
              <a:lnSpc>
                <a:spcPct val="100000"/>
              </a:lnSpc>
              <a:spcBef>
                <a:spcPts val="600"/>
              </a:spcBef>
              <a:spcAft>
                <a:spcPts val="0"/>
              </a:spcAft>
              <a:buFont typeface="Arial" panose="020B0604020202020204" pitchFamily="34" charset="0"/>
              <a:buNone/>
            </a:pPr>
            <a:r>
              <a:rPr lang="en-US"/>
              <a:t>Click to add section title</a:t>
            </a:r>
          </a:p>
        </p:txBody>
      </p:sp>
      <p:sp>
        <p:nvSpPr>
          <p:cNvPr id="21" name="Text Placeholder 4">
            <a:extLst>
              <a:ext uri="{FF2B5EF4-FFF2-40B4-BE49-F238E27FC236}">
                <a16:creationId xmlns:a16="http://schemas.microsoft.com/office/drawing/2014/main" id="{A7C0DA62-EC5A-3013-921C-9A16F87EFE3E}"/>
              </a:ext>
            </a:extLst>
          </p:cNvPr>
          <p:cNvSpPr>
            <a:spLocks noGrp="1"/>
          </p:cNvSpPr>
          <p:nvPr>
            <p:ph type="body" sz="quarter" idx="25" hasCustomPrompt="1"/>
          </p:nvPr>
        </p:nvSpPr>
        <p:spPr>
          <a:xfrm>
            <a:off x="627063" y="722843"/>
            <a:ext cx="3725863" cy="338554"/>
          </a:xfrm>
          <a:prstGeom prst="rect">
            <a:avLst/>
          </a:prstGeom>
        </p:spPr>
        <p:txBody>
          <a:bodyPr lIns="0" tIns="0" rIns="0" bIns="0">
            <a:noAutofit/>
          </a:bodyPr>
          <a:lstStyle>
            <a:lvl1pPr>
              <a:defRPr lang="en-US" sz="2200" b="1" spc="0">
                <a:solidFill>
                  <a:schemeClr val="tx1"/>
                </a:solidFill>
                <a:effectLst/>
                <a:latin typeface="Calibri" panose="020F0502020204030204" pitchFamily="34" charset="0"/>
              </a:defRPr>
            </a:lvl1pPr>
          </a:lstStyle>
          <a:p>
            <a:pPr lvl="0">
              <a:spcBef>
                <a:spcPts val="0"/>
              </a:spcBef>
            </a:pPr>
            <a:r>
              <a:rPr lang="en-US">
                <a:effectLst/>
              </a:rPr>
              <a:t>Title with Big and Little Type</a:t>
            </a:r>
            <a:endParaRPr lang="en-US"/>
          </a:p>
        </p:txBody>
      </p:sp>
      <p:pic>
        <p:nvPicPr>
          <p:cNvPr id="5" name="Graphic 4">
            <a:extLst>
              <a:ext uri="{FF2B5EF4-FFF2-40B4-BE49-F238E27FC236}">
                <a16:creationId xmlns:a16="http://schemas.microsoft.com/office/drawing/2014/main" id="{9B30B533-F617-58CB-2C4B-195475FEEA27}"/>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820265" y="6419060"/>
            <a:ext cx="762923" cy="205636"/>
          </a:xfrm>
          <a:prstGeom prst="rect">
            <a:avLst/>
          </a:prstGeom>
        </p:spPr>
      </p:pic>
    </p:spTree>
    <p:extLst>
      <p:ext uri="{BB962C8B-B14F-4D97-AF65-F5344CB8AC3E}">
        <p14:creationId xmlns:p14="http://schemas.microsoft.com/office/powerpoint/2010/main" val="2996260484"/>
      </p:ext>
    </p:extLst>
  </p:cSld>
  <p:clrMapOvr>
    <a:masterClrMapping/>
  </p:clrMapOvr>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ype+2_photos_Black">
    <p:spTree>
      <p:nvGrpSpPr>
        <p:cNvPr id="1" name=""/>
        <p:cNvGrpSpPr/>
        <p:nvPr/>
      </p:nvGrpSpPr>
      <p:grpSpPr>
        <a:xfrm>
          <a:off x="0" y="0"/>
          <a:ext cx="0" cy="0"/>
          <a:chOff x="0" y="0"/>
          <a:chExt cx="0" cy="0"/>
        </a:xfrm>
      </p:grpSpPr>
      <p:sp>
        <p:nvSpPr>
          <p:cNvPr id="3" name="Text Placeholder 4">
            <a:extLst>
              <a:ext uri="{FF2B5EF4-FFF2-40B4-BE49-F238E27FC236}">
                <a16:creationId xmlns:a16="http://schemas.microsoft.com/office/drawing/2014/main" id="{B9BE9A04-ECA1-501C-8903-EB031E3BF54D}"/>
              </a:ext>
            </a:extLst>
          </p:cNvPr>
          <p:cNvSpPr>
            <a:spLocks noGrp="1"/>
          </p:cNvSpPr>
          <p:nvPr>
            <p:ph type="body" sz="quarter" idx="16" hasCustomPrompt="1"/>
          </p:nvPr>
        </p:nvSpPr>
        <p:spPr>
          <a:xfrm>
            <a:off x="627063" y="1981200"/>
            <a:ext cx="3346076" cy="496226"/>
          </a:xfrm>
          <a:prstGeom prst="rect">
            <a:avLst/>
          </a:prstGeom>
        </p:spPr>
        <p:txBody>
          <a:bodyPr wrap="square" anchor="t" anchorCtr="0">
            <a:spAutoFit/>
          </a:bodyPr>
          <a:lstStyle>
            <a:lvl1pPr>
              <a:lnSpc>
                <a:spcPts val="2000"/>
              </a:lnSpc>
              <a:defRPr sz="1400" b="0" i="0">
                <a:solidFill>
                  <a:schemeClr val="tx1"/>
                </a:solidFill>
                <a:latin typeface="Calibri Light" panose="020F0302020204030204" pitchFamily="34" charset="0"/>
                <a:cs typeface="Calibri Light" panose="020F0302020204030204" pitchFamily="34" charset="0"/>
              </a:defRPr>
            </a:lvl1pPr>
          </a:lstStyle>
          <a:p>
            <a:r>
              <a:rPr lang="en-US"/>
              <a:t>When you just have a few sentences of type and supporting photos. </a:t>
            </a:r>
          </a:p>
        </p:txBody>
      </p:sp>
      <p:pic>
        <p:nvPicPr>
          <p:cNvPr id="5" name="Picture Placeholder 7">
            <a:extLst>
              <a:ext uri="{FF2B5EF4-FFF2-40B4-BE49-F238E27FC236}">
                <a16:creationId xmlns:a16="http://schemas.microsoft.com/office/drawing/2014/main" id="{47D220DB-753D-9009-E3B2-968BCB126014}"/>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7848600" y="948209"/>
            <a:ext cx="3695700" cy="4678080"/>
          </a:xfrm>
          <a:prstGeom prst="rect">
            <a:avLst/>
          </a:prstGeom>
        </p:spPr>
      </p:pic>
      <p:pic>
        <p:nvPicPr>
          <p:cNvPr id="6" name="Picture Placeholder 8">
            <a:extLst>
              <a:ext uri="{FF2B5EF4-FFF2-40B4-BE49-F238E27FC236}">
                <a16:creationId xmlns:a16="http://schemas.microsoft.com/office/drawing/2014/main" id="{93BAF3BA-506C-CEDE-31A8-0E2F7E862A03}"/>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4860594" y="948210"/>
            <a:ext cx="2705674" cy="2175164"/>
          </a:xfrm>
          <a:prstGeom prst="rect">
            <a:avLst/>
          </a:prstGeom>
        </p:spPr>
      </p:pic>
      <p:sp>
        <p:nvSpPr>
          <p:cNvPr id="2" name="Title 1">
            <a:extLst>
              <a:ext uri="{FF2B5EF4-FFF2-40B4-BE49-F238E27FC236}">
                <a16:creationId xmlns:a16="http://schemas.microsoft.com/office/drawing/2014/main" id="{E6643DA5-5C9F-C799-B890-61FDCC674F7A}"/>
              </a:ext>
            </a:extLst>
          </p:cNvPr>
          <p:cNvSpPr>
            <a:spLocks noGrp="1"/>
          </p:cNvSpPr>
          <p:nvPr>
            <p:ph type="title" hasCustomPrompt="1"/>
          </p:nvPr>
        </p:nvSpPr>
        <p:spPr>
          <a:xfrm>
            <a:off x="627063" y="722843"/>
            <a:ext cx="3632517" cy="338554"/>
          </a:xfrm>
          <a:prstGeom prst="rect">
            <a:avLst/>
          </a:prstGeom>
        </p:spPr>
        <p:txBody>
          <a:bodyPr lIns="0" tIns="0" rIns="0" bIns="0">
            <a:noAutofit/>
          </a:bodyPr>
          <a:lstStyle>
            <a:lvl1pPr>
              <a:defRPr lang="en-US"/>
            </a:lvl1pPr>
          </a:lstStyle>
          <a:p>
            <a:pPr marL="0" lvl="0" indent="0">
              <a:spcBef>
                <a:spcPts val="0"/>
              </a:spcBef>
              <a:spcAft>
                <a:spcPts val="0"/>
              </a:spcAft>
              <a:buFont typeface="Arial" panose="020B0604020202020204" pitchFamily="34" charset="0"/>
            </a:pPr>
            <a:r>
              <a:rPr lang="en-US">
                <a:effectLst/>
              </a:rPr>
              <a:t>Title Goes Here</a:t>
            </a:r>
            <a:endParaRPr lang="en-US"/>
          </a:p>
        </p:txBody>
      </p:sp>
      <p:sp>
        <p:nvSpPr>
          <p:cNvPr id="4" name="Text Placeholder 10">
            <a:extLst>
              <a:ext uri="{FF2B5EF4-FFF2-40B4-BE49-F238E27FC236}">
                <a16:creationId xmlns:a16="http://schemas.microsoft.com/office/drawing/2014/main" id="{FB2AFD80-10E1-6FE8-0BA3-7DB5BD0EF372}"/>
              </a:ext>
            </a:extLst>
          </p:cNvPr>
          <p:cNvSpPr>
            <a:spLocks noGrp="1"/>
          </p:cNvSpPr>
          <p:nvPr>
            <p:ph type="body" sz="quarter" idx="28" hasCustomPrompt="1"/>
          </p:nvPr>
        </p:nvSpPr>
        <p:spPr>
          <a:xfrm>
            <a:off x="627063" y="419100"/>
            <a:ext cx="3632517" cy="225706"/>
          </a:xfrm>
          <a:prstGeom prst="rect">
            <a:avLst/>
          </a:prstGeom>
        </p:spPr>
        <p:txBody>
          <a:bodyPr/>
          <a:lstStyle>
            <a:lvl1pPr>
              <a:spcBef>
                <a:spcPts val="0"/>
              </a:spcBef>
              <a:defRPr lang="en-US" sz="1000" b="0" i="0" kern="1200" cap="all" spc="300" baseline="0" dirty="0">
                <a:solidFill>
                  <a:schemeClr val="tx1"/>
                </a:solidFill>
                <a:latin typeface="Calibri" panose="020F0502020204030204" pitchFamily="34" charset="0"/>
                <a:ea typeface="Calibri" panose="020F0502020204030204" pitchFamily="34" charset="0"/>
                <a:cs typeface="Calibri" panose="020F0502020204030204" pitchFamily="34" charset="0"/>
              </a:defRPr>
            </a:lvl1pPr>
          </a:lstStyle>
          <a:p>
            <a:pPr marL="0" lvl="0" indent="0" algn="l" defTabSz="914400" rtl="0" eaLnBrk="1" latinLnBrk="0" hangingPunct="1">
              <a:lnSpc>
                <a:spcPct val="100000"/>
              </a:lnSpc>
              <a:spcBef>
                <a:spcPts val="600"/>
              </a:spcBef>
              <a:spcAft>
                <a:spcPts val="0"/>
              </a:spcAft>
              <a:buFont typeface="Arial" panose="020B0604020202020204" pitchFamily="34" charset="0"/>
              <a:buNone/>
            </a:pPr>
            <a:r>
              <a:rPr lang="en-US"/>
              <a:t>Click to add section title</a:t>
            </a:r>
          </a:p>
        </p:txBody>
      </p:sp>
    </p:spTree>
    <p:extLst>
      <p:ext uri="{BB962C8B-B14F-4D97-AF65-F5344CB8AC3E}">
        <p14:creationId xmlns:p14="http://schemas.microsoft.com/office/powerpoint/2010/main" val="1010803423"/>
      </p:ext>
    </p:extLst>
  </p:cSld>
  <p:clrMapOvr>
    <a:masterClrMapping/>
  </p:clrMapOvr>
  <p:extLst>
    <p:ext uri="{DCECCB84-F9BA-43D5-87BE-67443E8EF086}">
      <p15:sldGuideLst xmlns:p15="http://schemas.microsoft.com/office/powerpoint/2012/main"/>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ype+1_photo">
    <p:spTree>
      <p:nvGrpSpPr>
        <p:cNvPr id="1" name=""/>
        <p:cNvGrpSpPr/>
        <p:nvPr/>
      </p:nvGrpSpPr>
      <p:grpSpPr>
        <a:xfrm>
          <a:off x="0" y="0"/>
          <a:ext cx="0" cy="0"/>
          <a:chOff x="0" y="0"/>
          <a:chExt cx="0" cy="0"/>
        </a:xfrm>
      </p:grpSpPr>
      <p:sp>
        <p:nvSpPr>
          <p:cNvPr id="11" name="Text Placeholder 4">
            <a:extLst>
              <a:ext uri="{FF2B5EF4-FFF2-40B4-BE49-F238E27FC236}">
                <a16:creationId xmlns:a16="http://schemas.microsoft.com/office/drawing/2014/main" id="{953C0E95-F19E-0ED7-FE2B-237DA02AA1B9}"/>
              </a:ext>
            </a:extLst>
          </p:cNvPr>
          <p:cNvSpPr>
            <a:spLocks noGrp="1"/>
          </p:cNvSpPr>
          <p:nvPr>
            <p:ph type="body" sz="quarter" idx="16" hasCustomPrompt="1"/>
          </p:nvPr>
        </p:nvSpPr>
        <p:spPr>
          <a:xfrm>
            <a:off x="627063" y="1981200"/>
            <a:ext cx="3346076" cy="496226"/>
          </a:xfrm>
          <a:prstGeom prst="rect">
            <a:avLst/>
          </a:prstGeom>
        </p:spPr>
        <p:txBody>
          <a:bodyPr wrap="square" anchor="t" anchorCtr="0">
            <a:spAutoFit/>
          </a:bodyPr>
          <a:lstStyle>
            <a:lvl1pPr>
              <a:lnSpc>
                <a:spcPts val="2000"/>
              </a:lnSpc>
              <a:defRPr sz="1400" b="0" i="0">
                <a:solidFill>
                  <a:schemeClr val="tx1"/>
                </a:solidFill>
                <a:latin typeface="Calibri Light" panose="020F0302020204030204" pitchFamily="34" charset="0"/>
                <a:cs typeface="Calibri Light" panose="020F0302020204030204" pitchFamily="34" charset="0"/>
              </a:defRPr>
            </a:lvl1pPr>
          </a:lstStyle>
          <a:p>
            <a:r>
              <a:rPr lang="en-US"/>
              <a:t>When you just have a few sentences of type and supporting photos. </a:t>
            </a:r>
          </a:p>
        </p:txBody>
      </p:sp>
      <p:sp>
        <p:nvSpPr>
          <p:cNvPr id="3" name="Picture Placeholder 8">
            <a:extLst>
              <a:ext uri="{FF2B5EF4-FFF2-40B4-BE49-F238E27FC236}">
                <a16:creationId xmlns:a16="http://schemas.microsoft.com/office/drawing/2014/main" id="{96A70B9E-D366-36CB-4835-845ACD985BF4}"/>
              </a:ext>
            </a:extLst>
          </p:cNvPr>
          <p:cNvSpPr>
            <a:spLocks noGrp="1"/>
          </p:cNvSpPr>
          <p:nvPr>
            <p:ph type="pic" sz="quarter" idx="26"/>
          </p:nvPr>
        </p:nvSpPr>
        <p:spPr>
          <a:xfrm>
            <a:off x="5067300" y="922229"/>
            <a:ext cx="6477000" cy="4710475"/>
          </a:xfrm>
          <a:prstGeom prst="rect">
            <a:avLst/>
          </a:prstGeom>
        </p:spPr>
        <p:txBody>
          <a:bodyPr/>
          <a:lstStyle/>
          <a:p>
            <a:endParaRPr lang="en-US"/>
          </a:p>
        </p:txBody>
      </p:sp>
      <p:sp>
        <p:nvSpPr>
          <p:cNvPr id="2" name="Title 1">
            <a:extLst>
              <a:ext uri="{FF2B5EF4-FFF2-40B4-BE49-F238E27FC236}">
                <a16:creationId xmlns:a16="http://schemas.microsoft.com/office/drawing/2014/main" id="{5C505165-68F7-9306-9E47-08C7A533D28B}"/>
              </a:ext>
            </a:extLst>
          </p:cNvPr>
          <p:cNvSpPr>
            <a:spLocks noGrp="1"/>
          </p:cNvSpPr>
          <p:nvPr>
            <p:ph type="title" hasCustomPrompt="1"/>
          </p:nvPr>
        </p:nvSpPr>
        <p:spPr>
          <a:xfrm>
            <a:off x="627063" y="722843"/>
            <a:ext cx="3632517" cy="338554"/>
          </a:xfrm>
          <a:prstGeom prst="rect">
            <a:avLst/>
          </a:prstGeom>
        </p:spPr>
        <p:txBody>
          <a:bodyPr lIns="0" tIns="0" rIns="0" bIns="0">
            <a:noAutofit/>
          </a:bodyPr>
          <a:lstStyle>
            <a:lvl1pPr>
              <a:defRPr lang="en-US"/>
            </a:lvl1pPr>
          </a:lstStyle>
          <a:p>
            <a:pPr marL="0" lvl="0" indent="0">
              <a:spcBef>
                <a:spcPts val="0"/>
              </a:spcBef>
              <a:spcAft>
                <a:spcPts val="0"/>
              </a:spcAft>
              <a:buFont typeface="Arial" panose="020B0604020202020204" pitchFamily="34" charset="0"/>
            </a:pPr>
            <a:r>
              <a:rPr lang="en-US">
                <a:effectLst/>
              </a:rPr>
              <a:t>Title Goes Here</a:t>
            </a:r>
            <a:endParaRPr lang="en-US"/>
          </a:p>
        </p:txBody>
      </p:sp>
      <p:sp>
        <p:nvSpPr>
          <p:cNvPr id="4" name="Text Placeholder 10">
            <a:extLst>
              <a:ext uri="{FF2B5EF4-FFF2-40B4-BE49-F238E27FC236}">
                <a16:creationId xmlns:a16="http://schemas.microsoft.com/office/drawing/2014/main" id="{1D5A6C40-BA77-05F7-4448-95E3A5B80515}"/>
              </a:ext>
            </a:extLst>
          </p:cNvPr>
          <p:cNvSpPr>
            <a:spLocks noGrp="1"/>
          </p:cNvSpPr>
          <p:nvPr>
            <p:ph type="body" sz="quarter" idx="28" hasCustomPrompt="1"/>
          </p:nvPr>
        </p:nvSpPr>
        <p:spPr>
          <a:xfrm>
            <a:off x="627063" y="419100"/>
            <a:ext cx="3632517" cy="225706"/>
          </a:xfrm>
          <a:prstGeom prst="rect">
            <a:avLst/>
          </a:prstGeom>
        </p:spPr>
        <p:txBody>
          <a:bodyPr/>
          <a:lstStyle>
            <a:lvl1pPr>
              <a:spcBef>
                <a:spcPts val="0"/>
              </a:spcBef>
              <a:defRPr lang="en-US" sz="1000" b="0" i="0" kern="1200" cap="all" spc="300" baseline="0" dirty="0">
                <a:solidFill>
                  <a:schemeClr val="tx1"/>
                </a:solidFill>
                <a:latin typeface="Calibri" panose="020F0502020204030204" pitchFamily="34" charset="0"/>
                <a:ea typeface="Calibri" panose="020F0502020204030204" pitchFamily="34" charset="0"/>
                <a:cs typeface="Calibri" panose="020F0502020204030204" pitchFamily="34" charset="0"/>
              </a:defRPr>
            </a:lvl1pPr>
          </a:lstStyle>
          <a:p>
            <a:pPr marL="0" lvl="0" indent="0" algn="l" defTabSz="914400" rtl="0" eaLnBrk="1" latinLnBrk="0" hangingPunct="1">
              <a:lnSpc>
                <a:spcPct val="100000"/>
              </a:lnSpc>
              <a:spcBef>
                <a:spcPts val="600"/>
              </a:spcBef>
              <a:spcAft>
                <a:spcPts val="0"/>
              </a:spcAft>
              <a:buFont typeface="Arial" panose="020B0604020202020204" pitchFamily="34" charset="0"/>
              <a:buNone/>
            </a:pPr>
            <a:r>
              <a:rPr lang="en-US"/>
              <a:t>Click to add section title</a:t>
            </a:r>
          </a:p>
        </p:txBody>
      </p:sp>
    </p:spTree>
    <p:extLst>
      <p:ext uri="{BB962C8B-B14F-4D97-AF65-F5344CB8AC3E}">
        <p14:creationId xmlns:p14="http://schemas.microsoft.com/office/powerpoint/2010/main" val="726994663"/>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ver-Black">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339377C-8642-441F-BDC6-500DB01AD362}"/>
              </a:ext>
            </a:extLst>
          </p:cNvPr>
          <p:cNvSpPr/>
          <p:nvPr userDrawn="1"/>
        </p:nvSpPr>
        <p:spPr bwMode="auto">
          <a:xfrm>
            <a:off x="0" y="0"/>
            <a:ext cx="12192000" cy="6858000"/>
          </a:xfrm>
          <a:prstGeom prst="rect">
            <a:avLst/>
          </a:prstGeom>
          <a:solidFill>
            <a:schemeClr val="tx1"/>
          </a:solidFill>
          <a:ln>
            <a:noFill/>
          </a:ln>
          <a:effectLst/>
        </p:spPr>
        <p:txBody>
          <a:bodyPr wrap="none" rtlCol="0" anchor="ctr"/>
          <a:lstStyle/>
          <a:p>
            <a:pPr algn="ctr"/>
            <a:endParaRPr lang="en-US" sz="2400" err="1">
              <a:solidFill>
                <a:schemeClr val="bg1"/>
              </a:solidFill>
              <a:latin typeface="Calibri Light" panose="020F0302020204030204" pitchFamily="34" charset="0"/>
              <a:ea typeface="Human Sans ExtraLight" charset="0"/>
              <a:cs typeface="Human Sans ExtraLight" charset="0"/>
            </a:endParaRPr>
          </a:p>
        </p:txBody>
      </p:sp>
      <p:sp>
        <p:nvSpPr>
          <p:cNvPr id="3" name="Title 2">
            <a:extLst>
              <a:ext uri="{FF2B5EF4-FFF2-40B4-BE49-F238E27FC236}">
                <a16:creationId xmlns:a16="http://schemas.microsoft.com/office/drawing/2014/main" id="{81FA7817-3B6C-3F4A-B7B9-1C24248B02A6}"/>
              </a:ext>
            </a:extLst>
          </p:cNvPr>
          <p:cNvSpPr>
            <a:spLocks noGrp="1"/>
          </p:cNvSpPr>
          <p:nvPr>
            <p:ph type="title"/>
          </p:nvPr>
        </p:nvSpPr>
        <p:spPr>
          <a:xfrm>
            <a:off x="647699" y="1671742"/>
            <a:ext cx="7920000" cy="2462213"/>
          </a:xfrm>
          <a:prstGeom prst="rect">
            <a:avLst/>
          </a:prstGeom>
        </p:spPr>
        <p:txBody>
          <a:bodyPr vert="horz" wrap="square" lIns="0" tIns="0" rIns="0" bIns="0" rtlCol="0">
            <a:spAutoFit/>
          </a:bodyPr>
          <a:lstStyle>
            <a:lvl1pPr>
              <a:defRPr lang="en-US" sz="8000" b="0" dirty="0">
                <a:solidFill>
                  <a:schemeClr val="bg1"/>
                </a:solidFill>
                <a:latin typeface="Calibri Light" panose="020F0302020204030204" pitchFamily="34" charset="0"/>
                <a:cs typeface="Calibri Light" panose="020F0302020204030204" pitchFamily="34" charset="0"/>
              </a:defRPr>
            </a:lvl1pPr>
          </a:lstStyle>
          <a:p>
            <a:pPr marL="0" lvl="0" indent="0">
              <a:spcBef>
                <a:spcPts val="0"/>
              </a:spcBef>
              <a:spcAft>
                <a:spcPts val="0"/>
              </a:spcAft>
              <a:buFont typeface="Arial" panose="020B0604020202020204" pitchFamily="34" charset="0"/>
            </a:pPr>
            <a:r>
              <a:rPr lang="en-US"/>
              <a:t>Click to edit Master title style</a:t>
            </a:r>
          </a:p>
        </p:txBody>
      </p:sp>
      <p:sp>
        <p:nvSpPr>
          <p:cNvPr id="5" name="Text Placeholder 4">
            <a:extLst>
              <a:ext uri="{FF2B5EF4-FFF2-40B4-BE49-F238E27FC236}">
                <a16:creationId xmlns:a16="http://schemas.microsoft.com/office/drawing/2014/main" id="{F3D54673-ACC4-7764-364C-EACEC480DB26}"/>
              </a:ext>
            </a:extLst>
          </p:cNvPr>
          <p:cNvSpPr>
            <a:spLocks noGrp="1"/>
          </p:cNvSpPr>
          <p:nvPr>
            <p:ph type="body" sz="quarter" idx="13" hasCustomPrompt="1"/>
          </p:nvPr>
        </p:nvSpPr>
        <p:spPr>
          <a:xfrm>
            <a:off x="639074" y="4670399"/>
            <a:ext cx="7068944" cy="455381"/>
          </a:xfrm>
          <a:prstGeom prst="rect">
            <a:avLst/>
          </a:prstGeom>
        </p:spPr>
        <p:txBody>
          <a:bodyPr wrap="square">
            <a:spAutoFit/>
          </a:bodyPr>
          <a:lstStyle>
            <a:lvl1pPr>
              <a:lnSpc>
                <a:spcPct val="150000"/>
              </a:lnSpc>
              <a:spcBef>
                <a:spcPts val="0"/>
              </a:spcBef>
              <a:defRPr sz="2200">
                <a:solidFill>
                  <a:schemeClr val="bg1"/>
                </a:solidFill>
                <a:latin typeface="Calibri Light" panose="020F0302020204030204" pitchFamily="34" charset="0"/>
                <a:cs typeface="Calibri Light" panose="020F0302020204030204" pitchFamily="34" charset="0"/>
              </a:defRPr>
            </a:lvl1pPr>
            <a:lvl2pPr>
              <a:buNone/>
              <a:defRPr/>
            </a:lvl2pPr>
          </a:lstStyle>
          <a:p>
            <a:pPr lvl="0"/>
            <a:r>
              <a:rPr lang="en-US">
                <a:effectLst/>
              </a:rPr>
              <a:t>Sub-description text goes here over one or two lines</a:t>
            </a:r>
            <a:endParaRPr lang="en-US"/>
          </a:p>
        </p:txBody>
      </p:sp>
      <p:sp>
        <p:nvSpPr>
          <p:cNvPr id="6" name="Text Placeholder 4">
            <a:extLst>
              <a:ext uri="{FF2B5EF4-FFF2-40B4-BE49-F238E27FC236}">
                <a16:creationId xmlns:a16="http://schemas.microsoft.com/office/drawing/2014/main" id="{F0B69D2A-DDEA-AFE2-86BC-0D31B3B0E62B}"/>
              </a:ext>
            </a:extLst>
          </p:cNvPr>
          <p:cNvSpPr>
            <a:spLocks noGrp="1"/>
          </p:cNvSpPr>
          <p:nvPr>
            <p:ph type="body" sz="quarter" idx="14" hasCustomPrompt="1"/>
          </p:nvPr>
        </p:nvSpPr>
        <p:spPr>
          <a:xfrm>
            <a:off x="639074" y="5393921"/>
            <a:ext cx="6489700" cy="200055"/>
          </a:xfrm>
          <a:prstGeom prst="rect">
            <a:avLst/>
          </a:prstGeom>
        </p:spPr>
        <p:txBody>
          <a:bodyPr>
            <a:spAutoFit/>
          </a:bodyPr>
          <a:lstStyle>
            <a:lvl1pPr>
              <a:lnSpc>
                <a:spcPct val="100000"/>
              </a:lnSpc>
              <a:spcBef>
                <a:spcPts val="0"/>
              </a:spcBef>
              <a:defRPr sz="1300" b="1" i="0" spc="400" baseline="0">
                <a:solidFill>
                  <a:schemeClr val="accent5"/>
                </a:solidFill>
                <a:latin typeface="Calibri" panose="020F0502020204030204" pitchFamily="34" charset="0"/>
                <a:cs typeface="Calibri" panose="020F0502020204030204" pitchFamily="34" charset="0"/>
              </a:defRPr>
            </a:lvl1pPr>
            <a:lvl2pPr>
              <a:buNone/>
              <a:defRPr/>
            </a:lvl2pPr>
          </a:lstStyle>
          <a:p>
            <a:pPr lvl="0"/>
            <a:r>
              <a:rPr lang="en-US">
                <a:effectLst/>
              </a:rPr>
              <a:t>DECEMBER 2022</a:t>
            </a:r>
            <a:endParaRPr lang="en-US"/>
          </a:p>
        </p:txBody>
      </p:sp>
      <p:grpSp>
        <p:nvGrpSpPr>
          <p:cNvPr id="23" name="Group 22">
            <a:extLst>
              <a:ext uri="{FF2B5EF4-FFF2-40B4-BE49-F238E27FC236}">
                <a16:creationId xmlns:a16="http://schemas.microsoft.com/office/drawing/2014/main" id="{CBED30D0-92FE-F7B7-CCCC-9B0F94857FF5}"/>
              </a:ext>
            </a:extLst>
          </p:cNvPr>
          <p:cNvGrpSpPr/>
          <p:nvPr userDrawn="1"/>
        </p:nvGrpSpPr>
        <p:grpSpPr>
          <a:xfrm>
            <a:off x="647699" y="716555"/>
            <a:ext cx="649751" cy="228601"/>
            <a:chOff x="14288" y="2035175"/>
            <a:chExt cx="10039350" cy="3532188"/>
          </a:xfrm>
          <a:solidFill>
            <a:schemeClr val="bg1"/>
          </a:solidFill>
        </p:grpSpPr>
        <p:sp>
          <p:nvSpPr>
            <p:cNvPr id="24" name="Freeform 1">
              <a:extLst>
                <a:ext uri="{FF2B5EF4-FFF2-40B4-BE49-F238E27FC236}">
                  <a16:creationId xmlns:a16="http://schemas.microsoft.com/office/drawing/2014/main" id="{2CCC8193-1B79-BAAB-BC20-3AEC602A76B8}"/>
                </a:ext>
              </a:extLst>
            </p:cNvPr>
            <p:cNvSpPr>
              <a:spLocks noChangeArrowheads="1"/>
            </p:cNvSpPr>
            <p:nvPr/>
          </p:nvSpPr>
          <p:spPr bwMode="auto">
            <a:xfrm>
              <a:off x="1519238" y="2035175"/>
              <a:ext cx="1336675" cy="2836863"/>
            </a:xfrm>
            <a:custGeom>
              <a:avLst/>
              <a:gdLst>
                <a:gd name="T0" fmla="*/ 390493 w 3714"/>
                <a:gd name="T1" fmla="*/ 1200682 h 7882"/>
                <a:gd name="T2" fmla="*/ 945462 w 3714"/>
                <a:gd name="T3" fmla="*/ 1200682 h 7882"/>
                <a:gd name="T4" fmla="*/ 945462 w 3714"/>
                <a:gd name="T5" fmla="*/ 611498 h 7882"/>
                <a:gd name="T6" fmla="*/ 698929 w 3714"/>
                <a:gd name="T7" fmla="*/ 364596 h 7882"/>
                <a:gd name="T8" fmla="*/ 637386 w 3714"/>
                <a:gd name="T9" fmla="*/ 364596 h 7882"/>
                <a:gd name="T10" fmla="*/ 390493 w 3714"/>
                <a:gd name="T11" fmla="*/ 611498 h 7882"/>
                <a:gd name="T12" fmla="*/ 390493 w 3714"/>
                <a:gd name="T13" fmla="*/ 1200682 h 7882"/>
                <a:gd name="T14" fmla="*/ 389414 w 3714"/>
                <a:gd name="T15" fmla="*/ 1576795 h 7882"/>
                <a:gd name="T16" fmla="*/ 390493 w 3714"/>
                <a:gd name="T17" fmla="*/ 2224645 h 7882"/>
                <a:gd name="T18" fmla="*/ 637386 w 3714"/>
                <a:gd name="T19" fmla="*/ 2471548 h 7882"/>
                <a:gd name="T20" fmla="*/ 709366 w 3714"/>
                <a:gd name="T21" fmla="*/ 2471548 h 7882"/>
                <a:gd name="T22" fmla="*/ 955899 w 3714"/>
                <a:gd name="T23" fmla="*/ 2224645 h 7882"/>
                <a:gd name="T24" fmla="*/ 955899 w 3714"/>
                <a:gd name="T25" fmla="*/ 1906119 h 7882"/>
                <a:gd name="T26" fmla="*/ 1336315 w 3714"/>
                <a:gd name="T27" fmla="*/ 1906119 h 7882"/>
                <a:gd name="T28" fmla="*/ 1336315 w 3714"/>
                <a:gd name="T29" fmla="*/ 2209528 h 7882"/>
                <a:gd name="T30" fmla="*/ 709366 w 3714"/>
                <a:gd name="T31" fmla="*/ 2836503 h 7882"/>
                <a:gd name="T32" fmla="*/ 626949 w 3714"/>
                <a:gd name="T33" fmla="*/ 2836503 h 7882"/>
                <a:gd name="T34" fmla="*/ 0 w 3714"/>
                <a:gd name="T35" fmla="*/ 2258117 h 7882"/>
                <a:gd name="T36" fmla="*/ 0 w 3714"/>
                <a:gd name="T37" fmla="*/ 675564 h 7882"/>
                <a:gd name="T38" fmla="*/ 626949 w 3714"/>
                <a:gd name="T39" fmla="*/ 0 h 7882"/>
                <a:gd name="T40" fmla="*/ 709366 w 3714"/>
                <a:gd name="T41" fmla="*/ 0 h 7882"/>
                <a:gd name="T42" fmla="*/ 1336315 w 3714"/>
                <a:gd name="T43" fmla="*/ 626975 h 7882"/>
                <a:gd name="T44" fmla="*/ 1334875 w 3714"/>
                <a:gd name="T45" fmla="*/ 1576795 h 7882"/>
                <a:gd name="T46" fmla="*/ 389414 w 3714"/>
                <a:gd name="T47" fmla="*/ 1576795 h 7882"/>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3714" h="7882">
                  <a:moveTo>
                    <a:pt x="1085" y="3336"/>
                  </a:moveTo>
                  <a:lnTo>
                    <a:pt x="2627" y="3336"/>
                  </a:lnTo>
                  <a:lnTo>
                    <a:pt x="2627" y="1699"/>
                  </a:lnTo>
                  <a:cubicBezTo>
                    <a:pt x="2627" y="1242"/>
                    <a:pt x="2399" y="1013"/>
                    <a:pt x="1942" y="1013"/>
                  </a:cubicBezTo>
                  <a:lnTo>
                    <a:pt x="1771" y="1013"/>
                  </a:lnTo>
                  <a:cubicBezTo>
                    <a:pt x="1314" y="1013"/>
                    <a:pt x="1085" y="1242"/>
                    <a:pt x="1085" y="1699"/>
                  </a:cubicBezTo>
                  <a:lnTo>
                    <a:pt x="1085" y="3336"/>
                  </a:lnTo>
                  <a:close/>
                  <a:moveTo>
                    <a:pt x="1082" y="4381"/>
                  </a:moveTo>
                  <a:lnTo>
                    <a:pt x="1085" y="6181"/>
                  </a:lnTo>
                  <a:cubicBezTo>
                    <a:pt x="1085" y="6638"/>
                    <a:pt x="1314" y="6867"/>
                    <a:pt x="1771" y="6867"/>
                  </a:cubicBezTo>
                  <a:lnTo>
                    <a:pt x="1971" y="6867"/>
                  </a:lnTo>
                  <a:cubicBezTo>
                    <a:pt x="2428" y="6867"/>
                    <a:pt x="2656" y="6638"/>
                    <a:pt x="2656" y="6181"/>
                  </a:cubicBezTo>
                  <a:lnTo>
                    <a:pt x="2656" y="5296"/>
                  </a:lnTo>
                  <a:lnTo>
                    <a:pt x="3713" y="5296"/>
                  </a:lnTo>
                  <a:lnTo>
                    <a:pt x="3713" y="6139"/>
                  </a:lnTo>
                  <a:cubicBezTo>
                    <a:pt x="3713" y="7295"/>
                    <a:pt x="3127" y="7881"/>
                    <a:pt x="1971" y="7881"/>
                  </a:cubicBezTo>
                  <a:lnTo>
                    <a:pt x="1742" y="7881"/>
                  </a:lnTo>
                  <a:cubicBezTo>
                    <a:pt x="585" y="7881"/>
                    <a:pt x="0" y="7295"/>
                    <a:pt x="0" y="6274"/>
                  </a:cubicBezTo>
                  <a:lnTo>
                    <a:pt x="0" y="1877"/>
                  </a:lnTo>
                  <a:cubicBezTo>
                    <a:pt x="0" y="585"/>
                    <a:pt x="585" y="0"/>
                    <a:pt x="1742" y="0"/>
                  </a:cubicBezTo>
                  <a:lnTo>
                    <a:pt x="1971" y="0"/>
                  </a:lnTo>
                  <a:cubicBezTo>
                    <a:pt x="3127" y="0"/>
                    <a:pt x="3713" y="585"/>
                    <a:pt x="3713" y="1742"/>
                  </a:cubicBezTo>
                  <a:lnTo>
                    <a:pt x="3709" y="4381"/>
                  </a:lnTo>
                  <a:lnTo>
                    <a:pt x="1082" y="4381"/>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endParaRPr lang="en-US" sz="1351"/>
            </a:p>
          </p:txBody>
        </p:sp>
        <p:sp>
          <p:nvSpPr>
            <p:cNvPr id="25" name="Freeform 2">
              <a:extLst>
                <a:ext uri="{FF2B5EF4-FFF2-40B4-BE49-F238E27FC236}">
                  <a16:creationId xmlns:a16="http://schemas.microsoft.com/office/drawing/2014/main" id="{042D79F1-727F-3495-F43B-01D3C2C0F343}"/>
                </a:ext>
              </a:extLst>
            </p:cNvPr>
            <p:cNvSpPr>
              <a:spLocks noChangeArrowheads="1"/>
            </p:cNvSpPr>
            <p:nvPr/>
          </p:nvSpPr>
          <p:spPr bwMode="auto">
            <a:xfrm>
              <a:off x="3109913" y="2035175"/>
              <a:ext cx="1368425" cy="3532188"/>
            </a:xfrm>
            <a:custGeom>
              <a:avLst/>
              <a:gdLst>
                <a:gd name="T0" fmla="*/ 390721 w 3800"/>
                <a:gd name="T1" fmla="*/ 2322993 h 9812"/>
                <a:gd name="T2" fmla="*/ 750833 w 3800"/>
                <a:gd name="T3" fmla="*/ 2466628 h 9812"/>
                <a:gd name="T4" fmla="*/ 976983 w 3800"/>
                <a:gd name="T5" fmla="*/ 2240556 h 9812"/>
                <a:gd name="T6" fmla="*/ 976983 w 3800"/>
                <a:gd name="T7" fmla="*/ 596138 h 9812"/>
                <a:gd name="T8" fmla="*/ 750833 w 3800"/>
                <a:gd name="T9" fmla="*/ 370066 h 9812"/>
                <a:gd name="T10" fmla="*/ 390721 w 3800"/>
                <a:gd name="T11" fmla="*/ 514061 h 9812"/>
                <a:gd name="T12" fmla="*/ 390721 w 3800"/>
                <a:gd name="T13" fmla="*/ 2322993 h 9812"/>
                <a:gd name="T14" fmla="*/ 0 w 3800"/>
                <a:gd name="T15" fmla="*/ 30599 h 9812"/>
                <a:gd name="T16" fmla="*/ 390721 w 3800"/>
                <a:gd name="T17" fmla="*/ 30599 h 9812"/>
                <a:gd name="T18" fmla="*/ 390721 w 3800"/>
                <a:gd name="T19" fmla="*/ 210592 h 9812"/>
                <a:gd name="T20" fmla="*/ 868950 w 3800"/>
                <a:gd name="T21" fmla="*/ 0 h 9812"/>
                <a:gd name="T22" fmla="*/ 1368065 w 3800"/>
                <a:gd name="T23" fmla="*/ 549699 h 9812"/>
                <a:gd name="T24" fmla="*/ 1368065 w 3800"/>
                <a:gd name="T25" fmla="*/ 2286995 h 9812"/>
                <a:gd name="T26" fmla="*/ 868950 w 3800"/>
                <a:gd name="T27" fmla="*/ 2837054 h 9812"/>
                <a:gd name="T28" fmla="*/ 390721 w 3800"/>
                <a:gd name="T29" fmla="*/ 2636541 h 9812"/>
                <a:gd name="T30" fmla="*/ 390721 w 3800"/>
                <a:gd name="T31" fmla="*/ 3531828 h 9812"/>
                <a:gd name="T32" fmla="*/ 0 w 3800"/>
                <a:gd name="T33" fmla="*/ 3531828 h 9812"/>
                <a:gd name="T34" fmla="*/ 0 w 3800"/>
                <a:gd name="T35" fmla="*/ 30599 h 9812"/>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3800" h="9812">
                  <a:moveTo>
                    <a:pt x="1085" y="6453"/>
                  </a:moveTo>
                  <a:cubicBezTo>
                    <a:pt x="1385" y="6710"/>
                    <a:pt x="1728" y="6852"/>
                    <a:pt x="2085" y="6852"/>
                  </a:cubicBezTo>
                  <a:cubicBezTo>
                    <a:pt x="2485" y="6852"/>
                    <a:pt x="2713" y="6667"/>
                    <a:pt x="2713" y="6224"/>
                  </a:cubicBezTo>
                  <a:lnTo>
                    <a:pt x="2713" y="1656"/>
                  </a:lnTo>
                  <a:cubicBezTo>
                    <a:pt x="2713" y="1213"/>
                    <a:pt x="2485" y="1028"/>
                    <a:pt x="2085" y="1028"/>
                  </a:cubicBezTo>
                  <a:cubicBezTo>
                    <a:pt x="1728" y="1028"/>
                    <a:pt x="1385" y="1170"/>
                    <a:pt x="1085" y="1428"/>
                  </a:cubicBezTo>
                  <a:lnTo>
                    <a:pt x="1085" y="6453"/>
                  </a:lnTo>
                  <a:close/>
                  <a:moveTo>
                    <a:pt x="0" y="85"/>
                  </a:moveTo>
                  <a:lnTo>
                    <a:pt x="1085" y="85"/>
                  </a:lnTo>
                  <a:lnTo>
                    <a:pt x="1085" y="585"/>
                  </a:lnTo>
                  <a:cubicBezTo>
                    <a:pt x="1342" y="314"/>
                    <a:pt x="1785" y="0"/>
                    <a:pt x="2413" y="0"/>
                  </a:cubicBezTo>
                  <a:cubicBezTo>
                    <a:pt x="3342" y="0"/>
                    <a:pt x="3799" y="614"/>
                    <a:pt x="3799" y="1527"/>
                  </a:cubicBezTo>
                  <a:lnTo>
                    <a:pt x="3799" y="6353"/>
                  </a:lnTo>
                  <a:cubicBezTo>
                    <a:pt x="3799" y="7267"/>
                    <a:pt x="3342" y="7881"/>
                    <a:pt x="2413" y="7881"/>
                  </a:cubicBezTo>
                  <a:cubicBezTo>
                    <a:pt x="1785" y="7881"/>
                    <a:pt x="1342" y="7581"/>
                    <a:pt x="1085" y="7324"/>
                  </a:cubicBezTo>
                  <a:lnTo>
                    <a:pt x="1085" y="9811"/>
                  </a:lnTo>
                  <a:lnTo>
                    <a:pt x="0" y="9811"/>
                  </a:lnTo>
                  <a:lnTo>
                    <a:pt x="0" y="85"/>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endParaRPr lang="en-US" sz="1351"/>
            </a:p>
          </p:txBody>
        </p:sp>
        <p:sp>
          <p:nvSpPr>
            <p:cNvPr id="26" name="Freeform 3">
              <a:extLst>
                <a:ext uri="{FF2B5EF4-FFF2-40B4-BE49-F238E27FC236}">
                  <a16:creationId xmlns:a16="http://schemas.microsoft.com/office/drawing/2014/main" id="{1E810C00-A37F-F708-4607-620F7D02BBC3}"/>
                </a:ext>
              </a:extLst>
            </p:cNvPr>
            <p:cNvSpPr>
              <a:spLocks noChangeArrowheads="1"/>
            </p:cNvSpPr>
            <p:nvPr/>
          </p:nvSpPr>
          <p:spPr bwMode="auto">
            <a:xfrm>
              <a:off x="4711700" y="2035175"/>
              <a:ext cx="1328738" cy="2836863"/>
            </a:xfrm>
            <a:custGeom>
              <a:avLst/>
              <a:gdLst>
                <a:gd name="T0" fmla="*/ 937679 w 3690"/>
                <a:gd name="T1" fmla="*/ 2338019 h 7882"/>
                <a:gd name="T2" fmla="*/ 937679 w 3690"/>
                <a:gd name="T3" fmla="*/ 1422750 h 7882"/>
                <a:gd name="T4" fmla="*/ 582988 w 3690"/>
                <a:gd name="T5" fmla="*/ 1556999 h 7882"/>
                <a:gd name="T6" fmla="*/ 392500 w 3690"/>
                <a:gd name="T7" fmla="*/ 1844573 h 7882"/>
                <a:gd name="T8" fmla="*/ 392500 w 3690"/>
                <a:gd name="T9" fmla="*/ 2266035 h 7882"/>
                <a:gd name="T10" fmla="*/ 582988 w 3690"/>
                <a:gd name="T11" fmla="*/ 2466149 h 7882"/>
                <a:gd name="T12" fmla="*/ 937679 w 3690"/>
                <a:gd name="T13" fmla="*/ 2338019 h 7882"/>
                <a:gd name="T14" fmla="*/ 2161 w 3690"/>
                <a:gd name="T15" fmla="*/ 1839174 h 7882"/>
                <a:gd name="T16" fmla="*/ 413025 w 3690"/>
                <a:gd name="T17" fmla="*/ 1253950 h 7882"/>
                <a:gd name="T18" fmla="*/ 937679 w 3690"/>
                <a:gd name="T19" fmla="*/ 1073991 h 7882"/>
                <a:gd name="T20" fmla="*/ 937679 w 3690"/>
                <a:gd name="T21" fmla="*/ 611498 h 7882"/>
                <a:gd name="T22" fmla="*/ 690656 w 3690"/>
                <a:gd name="T23" fmla="*/ 359557 h 7882"/>
                <a:gd name="T24" fmla="*/ 627280 w 3690"/>
                <a:gd name="T25" fmla="*/ 359557 h 7882"/>
                <a:gd name="T26" fmla="*/ 380257 w 3690"/>
                <a:gd name="T27" fmla="*/ 611498 h 7882"/>
                <a:gd name="T28" fmla="*/ 380257 w 3690"/>
                <a:gd name="T29" fmla="*/ 1004527 h 7882"/>
                <a:gd name="T30" fmla="*/ 0 w 3690"/>
                <a:gd name="T31" fmla="*/ 1004527 h 7882"/>
                <a:gd name="T32" fmla="*/ 0 w 3690"/>
                <a:gd name="T33" fmla="*/ 626975 h 7882"/>
                <a:gd name="T34" fmla="*/ 627280 w 3690"/>
                <a:gd name="T35" fmla="*/ 0 h 7882"/>
                <a:gd name="T36" fmla="*/ 701098 w 3690"/>
                <a:gd name="T37" fmla="*/ 0 h 7882"/>
                <a:gd name="T38" fmla="*/ 1328378 w 3690"/>
                <a:gd name="T39" fmla="*/ 626975 h 7882"/>
                <a:gd name="T40" fmla="*/ 1328378 w 3690"/>
                <a:gd name="T41" fmla="*/ 2805550 h 7882"/>
                <a:gd name="T42" fmla="*/ 937679 w 3690"/>
                <a:gd name="T43" fmla="*/ 2805550 h 7882"/>
                <a:gd name="T44" fmla="*/ 937679 w 3690"/>
                <a:gd name="T45" fmla="*/ 2630631 h 7882"/>
                <a:gd name="T46" fmla="*/ 459477 w 3690"/>
                <a:gd name="T47" fmla="*/ 2836503 h 7882"/>
                <a:gd name="T48" fmla="*/ 2161 w 3690"/>
                <a:gd name="T49" fmla="*/ 2348096 h 7882"/>
                <a:gd name="T50" fmla="*/ 2161 w 3690"/>
                <a:gd name="T51" fmla="*/ 1839174 h 7882"/>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3690" h="7882">
                  <a:moveTo>
                    <a:pt x="2604" y="6496"/>
                  </a:moveTo>
                  <a:lnTo>
                    <a:pt x="2604" y="3953"/>
                  </a:lnTo>
                  <a:lnTo>
                    <a:pt x="1619" y="4326"/>
                  </a:lnTo>
                  <a:cubicBezTo>
                    <a:pt x="1219" y="4483"/>
                    <a:pt x="1090" y="4683"/>
                    <a:pt x="1090" y="5125"/>
                  </a:cubicBezTo>
                  <a:lnTo>
                    <a:pt x="1090" y="6296"/>
                  </a:lnTo>
                  <a:cubicBezTo>
                    <a:pt x="1090" y="6667"/>
                    <a:pt x="1276" y="6852"/>
                    <a:pt x="1619" y="6852"/>
                  </a:cubicBezTo>
                  <a:cubicBezTo>
                    <a:pt x="1947" y="6852"/>
                    <a:pt x="2247" y="6738"/>
                    <a:pt x="2604" y="6496"/>
                  </a:cubicBezTo>
                  <a:close/>
                  <a:moveTo>
                    <a:pt x="6" y="5110"/>
                  </a:moveTo>
                  <a:cubicBezTo>
                    <a:pt x="6" y="4155"/>
                    <a:pt x="320" y="3769"/>
                    <a:pt x="1147" y="3484"/>
                  </a:cubicBezTo>
                  <a:lnTo>
                    <a:pt x="2604" y="2984"/>
                  </a:lnTo>
                  <a:lnTo>
                    <a:pt x="2604" y="1699"/>
                  </a:lnTo>
                  <a:cubicBezTo>
                    <a:pt x="2604" y="1242"/>
                    <a:pt x="2375" y="999"/>
                    <a:pt x="1918" y="999"/>
                  </a:cubicBezTo>
                  <a:lnTo>
                    <a:pt x="1742" y="999"/>
                  </a:lnTo>
                  <a:cubicBezTo>
                    <a:pt x="1285" y="999"/>
                    <a:pt x="1056" y="1242"/>
                    <a:pt x="1056" y="1699"/>
                  </a:cubicBezTo>
                  <a:lnTo>
                    <a:pt x="1056" y="2791"/>
                  </a:lnTo>
                  <a:lnTo>
                    <a:pt x="0" y="2791"/>
                  </a:lnTo>
                  <a:lnTo>
                    <a:pt x="0" y="1742"/>
                  </a:lnTo>
                  <a:cubicBezTo>
                    <a:pt x="0" y="585"/>
                    <a:pt x="586" y="0"/>
                    <a:pt x="1742" y="0"/>
                  </a:cubicBezTo>
                  <a:lnTo>
                    <a:pt x="1947" y="0"/>
                  </a:lnTo>
                  <a:cubicBezTo>
                    <a:pt x="3104" y="0"/>
                    <a:pt x="3689" y="585"/>
                    <a:pt x="3689" y="1742"/>
                  </a:cubicBezTo>
                  <a:lnTo>
                    <a:pt x="3689" y="7795"/>
                  </a:lnTo>
                  <a:lnTo>
                    <a:pt x="2604" y="7795"/>
                  </a:lnTo>
                  <a:lnTo>
                    <a:pt x="2604" y="7309"/>
                  </a:lnTo>
                  <a:cubicBezTo>
                    <a:pt x="2304" y="7595"/>
                    <a:pt x="1904" y="7881"/>
                    <a:pt x="1276" y="7881"/>
                  </a:cubicBezTo>
                  <a:cubicBezTo>
                    <a:pt x="406" y="7881"/>
                    <a:pt x="6" y="7381"/>
                    <a:pt x="6" y="6524"/>
                  </a:cubicBezTo>
                  <a:lnTo>
                    <a:pt x="6" y="5110"/>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endParaRPr lang="en-US" sz="1351"/>
            </a:p>
          </p:txBody>
        </p:sp>
        <p:sp>
          <p:nvSpPr>
            <p:cNvPr id="27" name="Freeform 4">
              <a:extLst>
                <a:ext uri="{FF2B5EF4-FFF2-40B4-BE49-F238E27FC236}">
                  <a16:creationId xmlns:a16="http://schemas.microsoft.com/office/drawing/2014/main" id="{536A77A0-652F-293A-CDB0-B1056E7B5F71}"/>
                </a:ext>
              </a:extLst>
            </p:cNvPr>
            <p:cNvSpPr>
              <a:spLocks noChangeArrowheads="1"/>
            </p:cNvSpPr>
            <p:nvPr/>
          </p:nvSpPr>
          <p:spPr bwMode="auto">
            <a:xfrm>
              <a:off x="6292850" y="2035175"/>
              <a:ext cx="2262188" cy="2806700"/>
            </a:xfrm>
            <a:custGeom>
              <a:avLst/>
              <a:gdLst>
                <a:gd name="T0" fmla="*/ 1326358 w 6285"/>
                <a:gd name="T1" fmla="*/ 2806340 h 7796"/>
                <a:gd name="T2" fmla="*/ 935470 w 6285"/>
                <a:gd name="T3" fmla="*/ 2806340 h 7796"/>
                <a:gd name="T4" fmla="*/ 935470 w 6285"/>
                <a:gd name="T5" fmla="*/ 570628 h 7796"/>
                <a:gd name="T6" fmla="*/ 750463 w 6285"/>
                <a:gd name="T7" fmla="*/ 370098 h 7796"/>
                <a:gd name="T8" fmla="*/ 390889 w 6285"/>
                <a:gd name="T9" fmla="*/ 508705 h 7796"/>
                <a:gd name="T10" fmla="*/ 390889 w 6285"/>
                <a:gd name="T11" fmla="*/ 2806340 h 7796"/>
                <a:gd name="T12" fmla="*/ 0 w 6285"/>
                <a:gd name="T13" fmla="*/ 2806340 h 7796"/>
                <a:gd name="T14" fmla="*/ 0 w 6285"/>
                <a:gd name="T15" fmla="*/ 30602 h 7796"/>
                <a:gd name="T16" fmla="*/ 390889 w 6285"/>
                <a:gd name="T17" fmla="*/ 30602 h 7796"/>
                <a:gd name="T18" fmla="*/ 390889 w 6285"/>
                <a:gd name="T19" fmla="*/ 210611 h 7796"/>
                <a:gd name="T20" fmla="*/ 868882 w 6285"/>
                <a:gd name="T21" fmla="*/ 0 h 7796"/>
                <a:gd name="T22" fmla="*/ 1274888 w 6285"/>
                <a:gd name="T23" fmla="*/ 226091 h 7796"/>
                <a:gd name="T24" fmla="*/ 1804351 w 6285"/>
                <a:gd name="T25" fmla="*/ 0 h 7796"/>
                <a:gd name="T26" fmla="*/ 2261828 w 6285"/>
                <a:gd name="T27" fmla="*/ 488184 h 7796"/>
                <a:gd name="T28" fmla="*/ 2261828 w 6285"/>
                <a:gd name="T29" fmla="*/ 2806340 h 7796"/>
                <a:gd name="T30" fmla="*/ 1870939 w 6285"/>
                <a:gd name="T31" fmla="*/ 2806340 h 7796"/>
                <a:gd name="T32" fmla="*/ 1870939 w 6285"/>
                <a:gd name="T33" fmla="*/ 570628 h 7796"/>
                <a:gd name="T34" fmla="*/ 1685933 w 6285"/>
                <a:gd name="T35" fmla="*/ 370098 h 7796"/>
                <a:gd name="T36" fmla="*/ 1326358 w 6285"/>
                <a:gd name="T37" fmla="*/ 508705 h 7796"/>
                <a:gd name="T38" fmla="*/ 1326358 w 6285"/>
                <a:gd name="T39" fmla="*/ 2806340 h 779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6285" h="7796">
                  <a:moveTo>
                    <a:pt x="3685" y="7795"/>
                  </a:moveTo>
                  <a:lnTo>
                    <a:pt x="2599" y="7795"/>
                  </a:lnTo>
                  <a:lnTo>
                    <a:pt x="2599" y="1585"/>
                  </a:lnTo>
                  <a:cubicBezTo>
                    <a:pt x="2599" y="1199"/>
                    <a:pt x="2414" y="1028"/>
                    <a:pt x="2085" y="1028"/>
                  </a:cubicBezTo>
                  <a:cubicBezTo>
                    <a:pt x="1785" y="1028"/>
                    <a:pt x="1471" y="1142"/>
                    <a:pt x="1086" y="1413"/>
                  </a:cubicBezTo>
                  <a:lnTo>
                    <a:pt x="1086" y="7795"/>
                  </a:lnTo>
                  <a:lnTo>
                    <a:pt x="0" y="7795"/>
                  </a:lnTo>
                  <a:lnTo>
                    <a:pt x="0" y="85"/>
                  </a:lnTo>
                  <a:lnTo>
                    <a:pt x="1086" y="85"/>
                  </a:lnTo>
                  <a:lnTo>
                    <a:pt x="1086" y="585"/>
                  </a:lnTo>
                  <a:cubicBezTo>
                    <a:pt x="1400" y="285"/>
                    <a:pt x="1814" y="0"/>
                    <a:pt x="2414" y="0"/>
                  </a:cubicBezTo>
                  <a:cubicBezTo>
                    <a:pt x="2971" y="0"/>
                    <a:pt x="3342" y="228"/>
                    <a:pt x="3542" y="628"/>
                  </a:cubicBezTo>
                  <a:cubicBezTo>
                    <a:pt x="3928" y="299"/>
                    <a:pt x="4385" y="0"/>
                    <a:pt x="5013" y="0"/>
                  </a:cubicBezTo>
                  <a:cubicBezTo>
                    <a:pt x="5855" y="0"/>
                    <a:pt x="6284" y="514"/>
                    <a:pt x="6284" y="1356"/>
                  </a:cubicBezTo>
                  <a:lnTo>
                    <a:pt x="6284" y="7795"/>
                  </a:lnTo>
                  <a:lnTo>
                    <a:pt x="5198" y="7795"/>
                  </a:lnTo>
                  <a:lnTo>
                    <a:pt x="5198" y="1585"/>
                  </a:lnTo>
                  <a:cubicBezTo>
                    <a:pt x="5198" y="1199"/>
                    <a:pt x="5013" y="1028"/>
                    <a:pt x="4684" y="1028"/>
                  </a:cubicBezTo>
                  <a:cubicBezTo>
                    <a:pt x="4385" y="1028"/>
                    <a:pt x="4070" y="1142"/>
                    <a:pt x="3685" y="1413"/>
                  </a:cubicBezTo>
                  <a:lnTo>
                    <a:pt x="3685" y="7795"/>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endParaRPr lang="en-US" sz="1351"/>
            </a:p>
          </p:txBody>
        </p:sp>
        <p:sp>
          <p:nvSpPr>
            <p:cNvPr id="28" name="Freeform 5">
              <a:extLst>
                <a:ext uri="{FF2B5EF4-FFF2-40B4-BE49-F238E27FC236}">
                  <a16:creationId xmlns:a16="http://schemas.microsoft.com/office/drawing/2014/main" id="{E7D0950C-878D-AECF-8AD8-C6849F61FB3D}"/>
                </a:ext>
              </a:extLst>
            </p:cNvPr>
            <p:cNvSpPr>
              <a:spLocks noChangeArrowheads="1"/>
            </p:cNvSpPr>
            <p:nvPr/>
          </p:nvSpPr>
          <p:spPr bwMode="auto">
            <a:xfrm>
              <a:off x="14288" y="2322513"/>
              <a:ext cx="1004887" cy="2274887"/>
            </a:xfrm>
            <a:custGeom>
              <a:avLst/>
              <a:gdLst>
                <a:gd name="T0" fmla="*/ 1004527 w 2790"/>
                <a:gd name="T1" fmla="*/ 0 h 6317"/>
                <a:gd name="T2" fmla="*/ 1004527 w 2790"/>
                <a:gd name="T3" fmla="*/ 510652 h 6317"/>
                <a:gd name="T4" fmla="*/ 346488 w 2790"/>
                <a:gd name="T5" fmla="*/ 1137624 h 6317"/>
                <a:gd name="T6" fmla="*/ 1004527 w 2790"/>
                <a:gd name="T7" fmla="*/ 1752711 h 6317"/>
                <a:gd name="T8" fmla="*/ 1004527 w 2790"/>
                <a:gd name="T9" fmla="*/ 2274527 h 6317"/>
                <a:gd name="T10" fmla="*/ 0 w 2790"/>
                <a:gd name="T11" fmla="*/ 1331009 h 6317"/>
                <a:gd name="T12" fmla="*/ 0 w 2790"/>
                <a:gd name="T13" fmla="*/ 955042 h 6317"/>
                <a:gd name="T14" fmla="*/ 1004527 w 2790"/>
                <a:gd name="T15" fmla="*/ 0 h 6317"/>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2790" h="6317">
                  <a:moveTo>
                    <a:pt x="2789" y="0"/>
                  </a:moveTo>
                  <a:lnTo>
                    <a:pt x="2789" y="1418"/>
                  </a:lnTo>
                  <a:lnTo>
                    <a:pt x="962" y="3159"/>
                  </a:lnTo>
                  <a:lnTo>
                    <a:pt x="2789" y="4867"/>
                  </a:lnTo>
                  <a:lnTo>
                    <a:pt x="2789" y="6316"/>
                  </a:lnTo>
                  <a:lnTo>
                    <a:pt x="0" y="3696"/>
                  </a:lnTo>
                  <a:lnTo>
                    <a:pt x="0" y="2652"/>
                  </a:lnTo>
                  <a:lnTo>
                    <a:pt x="2789"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endParaRPr lang="en-US" sz="1351"/>
            </a:p>
          </p:txBody>
        </p:sp>
        <p:sp>
          <p:nvSpPr>
            <p:cNvPr id="29" name="Freeform 6">
              <a:extLst>
                <a:ext uri="{FF2B5EF4-FFF2-40B4-BE49-F238E27FC236}">
                  <a16:creationId xmlns:a16="http://schemas.microsoft.com/office/drawing/2014/main" id="{E4CC4103-795C-A478-14D7-DE8A4532A509}"/>
                </a:ext>
              </a:extLst>
            </p:cNvPr>
            <p:cNvSpPr>
              <a:spLocks noChangeArrowheads="1"/>
            </p:cNvSpPr>
            <p:nvPr/>
          </p:nvSpPr>
          <p:spPr bwMode="auto">
            <a:xfrm>
              <a:off x="9050338" y="2322513"/>
              <a:ext cx="1003300" cy="2274887"/>
            </a:xfrm>
            <a:custGeom>
              <a:avLst/>
              <a:gdLst>
                <a:gd name="T0" fmla="*/ 1002940 w 2789"/>
                <a:gd name="T1" fmla="*/ 955042 h 6317"/>
                <a:gd name="T2" fmla="*/ 1002940 w 2789"/>
                <a:gd name="T3" fmla="*/ 1331009 h 6317"/>
                <a:gd name="T4" fmla="*/ 0 w 2789"/>
                <a:gd name="T5" fmla="*/ 2274527 h 6317"/>
                <a:gd name="T6" fmla="*/ 0 w 2789"/>
                <a:gd name="T7" fmla="*/ 1752711 h 6317"/>
                <a:gd name="T8" fmla="*/ 656876 w 2789"/>
                <a:gd name="T9" fmla="*/ 1137624 h 6317"/>
                <a:gd name="T10" fmla="*/ 0 w 2789"/>
                <a:gd name="T11" fmla="*/ 510652 h 6317"/>
                <a:gd name="T12" fmla="*/ 0 w 2789"/>
                <a:gd name="T13" fmla="*/ 0 h 6317"/>
                <a:gd name="T14" fmla="*/ 1002940 w 2789"/>
                <a:gd name="T15" fmla="*/ 955042 h 6317"/>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2789" h="6317">
                  <a:moveTo>
                    <a:pt x="2788" y="2652"/>
                  </a:moveTo>
                  <a:lnTo>
                    <a:pt x="2788" y="3696"/>
                  </a:lnTo>
                  <a:lnTo>
                    <a:pt x="0" y="6316"/>
                  </a:lnTo>
                  <a:lnTo>
                    <a:pt x="0" y="4867"/>
                  </a:lnTo>
                  <a:lnTo>
                    <a:pt x="1826" y="3159"/>
                  </a:lnTo>
                  <a:lnTo>
                    <a:pt x="0" y="1418"/>
                  </a:lnTo>
                  <a:lnTo>
                    <a:pt x="0" y="0"/>
                  </a:lnTo>
                  <a:lnTo>
                    <a:pt x="2788" y="2652"/>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endParaRPr lang="en-US" sz="1351"/>
            </a:p>
          </p:txBody>
        </p:sp>
      </p:grpSp>
      <p:pic>
        <p:nvPicPr>
          <p:cNvPr id="4" name="Graphic 2">
            <a:extLst>
              <a:ext uri="{FF2B5EF4-FFF2-40B4-BE49-F238E27FC236}">
                <a16:creationId xmlns:a16="http://schemas.microsoft.com/office/drawing/2014/main" id="{939AD1E4-7935-FCCE-D112-098FCD817807}"/>
              </a:ext>
            </a:extLst>
          </p:cNvPr>
          <p:cNvPicPr>
            <a:picLocks noChangeAspect="1"/>
          </p:cNvPicPr>
          <p:nvPr userDrawn="1"/>
        </p:nvPicPr>
        <p:blipFill>
          <a:blip r:embed="rId2"/>
          <a:srcRect/>
          <a:stretch/>
        </p:blipFill>
        <p:spPr>
          <a:xfrm>
            <a:off x="1677513" y="692958"/>
            <a:ext cx="908029" cy="245472"/>
          </a:xfrm>
          <a:prstGeom prst="rect">
            <a:avLst/>
          </a:prstGeom>
        </p:spPr>
      </p:pic>
    </p:spTree>
    <p:extLst>
      <p:ext uri="{BB962C8B-B14F-4D97-AF65-F5344CB8AC3E}">
        <p14:creationId xmlns:p14="http://schemas.microsoft.com/office/powerpoint/2010/main" val="1269278399"/>
      </p:ext>
    </p:extLst>
  </p:cSld>
  <p:clrMapOvr>
    <a:masterClrMapping/>
  </p:clrMapOvr>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1_Our_People_1_Person_White">
    <p:bg>
      <p:bgPr>
        <a:solidFill>
          <a:schemeClr val="bg1"/>
        </a:solidFill>
        <a:effectLst/>
      </p:bgPr>
    </p:bg>
    <p:spTree>
      <p:nvGrpSpPr>
        <p:cNvPr id="1" name=""/>
        <p:cNvGrpSpPr/>
        <p:nvPr/>
      </p:nvGrpSpPr>
      <p:grpSpPr>
        <a:xfrm>
          <a:off x="0" y="0"/>
          <a:ext cx="0" cy="0"/>
          <a:chOff x="0" y="0"/>
          <a:chExt cx="0" cy="0"/>
        </a:xfrm>
      </p:grpSpPr>
      <p:sp>
        <p:nvSpPr>
          <p:cNvPr id="8" name="Text Placeholder 4">
            <a:extLst>
              <a:ext uri="{FF2B5EF4-FFF2-40B4-BE49-F238E27FC236}">
                <a16:creationId xmlns:a16="http://schemas.microsoft.com/office/drawing/2014/main" id="{10CE64FB-25EE-A414-B066-FC99784E85DB}"/>
              </a:ext>
            </a:extLst>
          </p:cNvPr>
          <p:cNvSpPr>
            <a:spLocks noGrp="1"/>
          </p:cNvSpPr>
          <p:nvPr>
            <p:ph type="body" sz="quarter" idx="16" hasCustomPrompt="1"/>
          </p:nvPr>
        </p:nvSpPr>
        <p:spPr>
          <a:xfrm>
            <a:off x="627063" y="2916936"/>
            <a:ext cx="4648200" cy="2548070"/>
          </a:xfrm>
          <a:prstGeom prst="rect">
            <a:avLst/>
          </a:prstGeom>
        </p:spPr>
        <p:txBody>
          <a:bodyPr wrap="square" anchor="t" anchorCtr="0">
            <a:spAutoFit/>
          </a:bodyPr>
          <a:lstStyle>
            <a:lvl1pPr marL="0" marR="0" indent="0" algn="l" defTabSz="914400" rtl="0" eaLnBrk="1" fontAlgn="auto" latinLnBrk="0" hangingPunct="1">
              <a:lnSpc>
                <a:spcPts val="2000"/>
              </a:lnSpc>
              <a:spcBef>
                <a:spcPts val="600"/>
              </a:spcBef>
              <a:spcAft>
                <a:spcPts val="0"/>
              </a:spcAft>
              <a:buClrTx/>
              <a:buSzTx/>
              <a:buFont typeface="Arial" panose="020B0604020202020204" pitchFamily="34" charset="0"/>
              <a:buNone/>
              <a:tabLst/>
              <a:defRPr sz="1400" b="0" i="0">
                <a:solidFill>
                  <a:schemeClr val="tx1"/>
                </a:solidFill>
                <a:latin typeface="Calibri Light" panose="020F0302020204030204" pitchFamily="34" charset="0"/>
                <a:cs typeface="Calibri Light" panose="020F0302020204030204" pitchFamily="34" charset="0"/>
              </a:defRPr>
            </a:lvl1pPr>
          </a:lstStyle>
          <a:p>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Leo </a:t>
            </a:r>
            <a:r>
              <a:rPr lang="en-US" err="1"/>
              <a:t>luctus</a:t>
            </a:r>
            <a:r>
              <a:rPr lang="en-US"/>
              <a:t> </a:t>
            </a:r>
            <a:r>
              <a:rPr lang="en-US" err="1"/>
              <a:t>adipiscing</a:t>
            </a:r>
            <a:r>
              <a:rPr lang="en-US"/>
              <a:t> </a:t>
            </a:r>
            <a:r>
              <a:rPr lang="en-US" err="1"/>
              <a:t>feugiat</a:t>
            </a:r>
            <a:r>
              <a:rPr lang="en-US"/>
              <a:t> </a:t>
            </a:r>
            <a:r>
              <a:rPr lang="en-US" err="1"/>
              <a:t>viverra</a:t>
            </a:r>
            <a:r>
              <a:rPr lang="en-US"/>
              <a:t> </a:t>
            </a:r>
            <a:r>
              <a:rPr lang="en-US" err="1"/>
              <a:t>facilisi</a:t>
            </a:r>
            <a:r>
              <a:rPr lang="en-US"/>
              <a:t>. </a:t>
            </a:r>
            <a:r>
              <a:rPr lang="en-US" err="1"/>
              <a:t>Tristique</a:t>
            </a:r>
            <a:r>
              <a:rPr lang="en-US"/>
              <a:t> </a:t>
            </a:r>
            <a:r>
              <a:rPr lang="en-US" err="1"/>
              <a:t>aliquet</a:t>
            </a:r>
            <a:r>
              <a:rPr lang="en-US"/>
              <a:t> </a:t>
            </a:r>
            <a:r>
              <a:rPr lang="en-US" err="1"/>
              <a:t>tempor</a:t>
            </a:r>
            <a:r>
              <a:rPr lang="en-US"/>
              <a:t>, </a:t>
            </a:r>
            <a:r>
              <a:rPr lang="en-US" err="1"/>
              <a:t>tortor</a:t>
            </a:r>
            <a:r>
              <a:rPr lang="en-US"/>
              <a:t> </a:t>
            </a:r>
            <a:r>
              <a:rPr lang="en-US" err="1"/>
              <a:t>amet</a:t>
            </a:r>
            <a:r>
              <a:rPr lang="en-US"/>
              <a:t> </a:t>
            </a:r>
            <a:r>
              <a:rPr lang="en-US" err="1"/>
              <a:t>scelerisque</a:t>
            </a:r>
            <a:r>
              <a:rPr lang="en-US"/>
              <a:t> fermentum. </a:t>
            </a:r>
            <a:r>
              <a:rPr lang="en-US" err="1"/>
              <a:t>Venenatis</a:t>
            </a:r>
            <a:r>
              <a:rPr lang="en-US"/>
              <a:t>, </a:t>
            </a:r>
            <a:r>
              <a:rPr lang="en-US" err="1"/>
              <a:t>quam</a:t>
            </a:r>
            <a:r>
              <a:rPr lang="en-US"/>
              <a:t> </a:t>
            </a:r>
            <a:r>
              <a:rPr lang="en-US" err="1"/>
              <a:t>consequat</a:t>
            </a:r>
            <a:r>
              <a:rPr lang="en-US"/>
              <a:t> </a:t>
            </a:r>
            <a:r>
              <a:rPr lang="en-US" err="1"/>
              <a:t>netus</a:t>
            </a:r>
            <a:r>
              <a:rPr lang="en-US"/>
              <a:t> magna </a:t>
            </a:r>
            <a:r>
              <a:rPr lang="en-US" err="1"/>
              <a:t>eleifend</a:t>
            </a:r>
            <a:r>
              <a:rPr lang="en-US"/>
              <a:t> </a:t>
            </a:r>
            <a:r>
              <a:rPr lang="en-US" err="1"/>
              <a:t>eget</a:t>
            </a:r>
            <a:r>
              <a:rPr lang="en-US"/>
              <a:t>. Eros </a:t>
            </a:r>
            <a:r>
              <a:rPr lang="en-US" err="1"/>
              <a:t>orci</a:t>
            </a:r>
            <a:r>
              <a:rPr lang="en-US"/>
              <a:t> </a:t>
            </a:r>
            <a:r>
              <a:rPr lang="en-US" err="1"/>
              <a:t>commodo</a:t>
            </a:r>
            <a:r>
              <a:rPr lang="en-US"/>
              <a:t> at </a:t>
            </a:r>
            <a:r>
              <a:rPr lang="en-US" err="1"/>
              <a:t>pellentesque</a:t>
            </a:r>
            <a:r>
              <a:rPr lang="en-US"/>
              <a:t> </a:t>
            </a:r>
            <a:r>
              <a:rPr lang="en-US" err="1"/>
              <a:t>tellus</a:t>
            </a:r>
            <a:r>
              <a:rPr lang="en-US"/>
              <a:t> </a:t>
            </a:r>
            <a:r>
              <a:rPr lang="en-US" err="1"/>
              <a:t>malesuada</a:t>
            </a:r>
            <a:r>
              <a:rPr lang="en-US"/>
              <a:t>. Leo dui </a:t>
            </a:r>
            <a:r>
              <a:rPr lang="en-US" err="1"/>
              <a:t>sapien</a:t>
            </a:r>
            <a:r>
              <a:rPr lang="en-US"/>
              <a:t>, </a:t>
            </a:r>
            <a:r>
              <a:rPr lang="en-US" err="1"/>
              <a:t>imperdiet</a:t>
            </a:r>
            <a:r>
              <a:rPr lang="en-US"/>
              <a:t> </a:t>
            </a:r>
            <a:r>
              <a:rPr lang="en-US" err="1"/>
              <a:t>molestie</a:t>
            </a:r>
            <a:r>
              <a:rPr lang="en-US"/>
              <a:t> </a:t>
            </a:r>
            <a:r>
              <a:rPr lang="en-US" err="1"/>
              <a:t>tristique</a:t>
            </a:r>
            <a:r>
              <a:rPr lang="en-US"/>
              <a:t>. Cras sit integer </a:t>
            </a:r>
            <a:r>
              <a:rPr lang="en-US" err="1"/>
              <a:t>porttitor</a:t>
            </a:r>
            <a:r>
              <a:rPr lang="en-US"/>
              <a:t> </a:t>
            </a:r>
            <a:r>
              <a:rPr lang="en-US" err="1"/>
              <a:t>enim</a:t>
            </a:r>
            <a:r>
              <a:rPr lang="en-US"/>
              <a:t> </a:t>
            </a:r>
            <a:r>
              <a:rPr lang="en-US" err="1"/>
              <a:t>mauris</a:t>
            </a:r>
            <a:r>
              <a:rPr lang="en-US"/>
              <a:t> </a:t>
            </a:r>
            <a:r>
              <a:rPr lang="en-US" err="1"/>
              <a:t>morbi</a:t>
            </a:r>
            <a:r>
              <a:rPr lang="en-US"/>
              <a:t> </a:t>
            </a:r>
            <a:r>
              <a:rPr lang="en-US" err="1"/>
              <a:t>tincidunt</a:t>
            </a:r>
            <a:r>
              <a:rPr lang="en-US"/>
              <a:t> </a:t>
            </a:r>
            <a:r>
              <a:rPr lang="en-US" err="1"/>
              <a:t>sem</a:t>
            </a:r>
            <a:r>
              <a:rPr lang="en-US"/>
              <a:t> </a:t>
            </a:r>
            <a:r>
              <a:rPr lang="en-US" err="1"/>
              <a:t>volutpat</a:t>
            </a:r>
            <a:r>
              <a:rPr lang="en-US"/>
              <a:t>. Magna in </a:t>
            </a:r>
            <a:r>
              <a:rPr lang="en-US" err="1"/>
              <a:t>aliquam</a:t>
            </a:r>
            <a:r>
              <a:rPr lang="en-US"/>
              <a:t> </a:t>
            </a:r>
            <a:r>
              <a:rPr lang="en-US" err="1"/>
              <a:t>eget</a:t>
            </a:r>
            <a:r>
              <a:rPr lang="en-US"/>
              <a:t> </a:t>
            </a:r>
            <a:r>
              <a:rPr lang="en-US" err="1"/>
              <a:t>consectetur</a:t>
            </a:r>
            <a:r>
              <a:rPr lang="en-US"/>
              <a:t> </a:t>
            </a:r>
            <a:r>
              <a:rPr lang="en-US" err="1"/>
              <a:t>consequat</a:t>
            </a:r>
            <a:r>
              <a:rPr lang="en-US"/>
              <a:t>. </a:t>
            </a:r>
            <a:r>
              <a:rPr lang="en-US" err="1"/>
              <a:t>Tortor</a:t>
            </a:r>
            <a:r>
              <a:rPr lang="en-US"/>
              <a:t> </a:t>
            </a:r>
            <a:r>
              <a:rPr lang="en-US" err="1"/>
              <a:t>rutrum</a:t>
            </a:r>
            <a:r>
              <a:rPr lang="en-US"/>
              <a:t> </a:t>
            </a:r>
            <a:r>
              <a:rPr lang="en-US" err="1"/>
              <a:t>laoreet</a:t>
            </a:r>
            <a:r>
              <a:rPr lang="en-US"/>
              <a:t> </a:t>
            </a:r>
            <a:r>
              <a:rPr lang="en-US" err="1"/>
              <a:t>morbi</a:t>
            </a:r>
            <a:r>
              <a:rPr lang="en-US"/>
              <a:t> </a:t>
            </a:r>
            <a:r>
              <a:rPr lang="en-US" err="1"/>
              <a:t>pretium</a:t>
            </a:r>
            <a:r>
              <a:rPr lang="en-US"/>
              <a:t> </a:t>
            </a:r>
            <a:r>
              <a:rPr lang="en-US" err="1"/>
              <a:t>nunc</a:t>
            </a:r>
            <a:r>
              <a:rPr lang="en-US"/>
              <a:t>, </a:t>
            </a:r>
            <a:r>
              <a:rPr lang="en-US" err="1"/>
              <a:t>massa</a:t>
            </a:r>
            <a:r>
              <a:rPr lang="en-US"/>
              <a:t> </a:t>
            </a:r>
            <a:r>
              <a:rPr lang="en-US" err="1"/>
              <a:t>tortor</a:t>
            </a:r>
            <a:r>
              <a:rPr lang="en-US"/>
              <a:t> </a:t>
            </a:r>
            <a:r>
              <a:rPr lang="en-US" err="1"/>
              <a:t>consequat</a:t>
            </a:r>
            <a:r>
              <a:rPr lang="en-US"/>
              <a:t> </a:t>
            </a:r>
            <a:r>
              <a:rPr lang="en-US" err="1"/>
              <a:t>urna</a:t>
            </a:r>
            <a:r>
              <a:rPr lang="en-US"/>
              <a:t>. </a:t>
            </a:r>
            <a:r>
              <a:rPr lang="en-US" err="1"/>
              <a:t>Risus</a:t>
            </a:r>
            <a:r>
              <a:rPr lang="en-US"/>
              <a:t> </a:t>
            </a:r>
            <a:r>
              <a:rPr lang="en-US" err="1"/>
              <a:t>etiam</a:t>
            </a:r>
            <a:r>
              <a:rPr lang="en-US"/>
              <a:t> </a:t>
            </a:r>
            <a:r>
              <a:rPr lang="en-US" err="1"/>
              <a:t>purus</a:t>
            </a:r>
            <a:r>
              <a:rPr lang="en-US"/>
              <a:t> </a:t>
            </a:r>
            <a:r>
              <a:rPr lang="en-US" err="1"/>
              <a:t>mauris</a:t>
            </a:r>
            <a:r>
              <a:rPr lang="en-US"/>
              <a:t> </a:t>
            </a:r>
            <a:r>
              <a:rPr lang="en-US" err="1"/>
              <a:t>donec</a:t>
            </a:r>
            <a:r>
              <a:rPr lang="en-US"/>
              <a:t>. </a:t>
            </a:r>
            <a:r>
              <a:rPr lang="en-US" err="1"/>
              <a:t>Netus</a:t>
            </a:r>
            <a:r>
              <a:rPr lang="en-US"/>
              <a:t> diam </a:t>
            </a:r>
            <a:r>
              <a:rPr lang="en-US" err="1"/>
              <a:t>massa</a:t>
            </a:r>
            <a:r>
              <a:rPr lang="en-US"/>
              <a:t> </a:t>
            </a:r>
            <a:r>
              <a:rPr lang="en-US" err="1"/>
              <a:t>ullamcorper</a:t>
            </a:r>
            <a:r>
              <a:rPr lang="en-US"/>
              <a:t> </a:t>
            </a:r>
            <a:r>
              <a:rPr lang="en-US" err="1"/>
              <a:t>proin</a:t>
            </a:r>
            <a:r>
              <a:rPr lang="en-US"/>
              <a:t> fermentum </a:t>
            </a:r>
            <a:r>
              <a:rPr lang="en-US" err="1"/>
              <a:t>egestas</a:t>
            </a:r>
            <a:r>
              <a:rPr lang="en-US"/>
              <a:t> et </a:t>
            </a:r>
            <a:r>
              <a:rPr lang="en-US" err="1"/>
              <a:t>quis</a:t>
            </a:r>
            <a:r>
              <a:rPr lang="en-US"/>
              <a:t>. </a:t>
            </a:r>
          </a:p>
        </p:txBody>
      </p:sp>
      <p:sp>
        <p:nvSpPr>
          <p:cNvPr id="12" name="Picture Placeholder 11">
            <a:extLst>
              <a:ext uri="{FF2B5EF4-FFF2-40B4-BE49-F238E27FC236}">
                <a16:creationId xmlns:a16="http://schemas.microsoft.com/office/drawing/2014/main" id="{113F3B94-3699-B384-69C0-18FFCB0A6F02}"/>
              </a:ext>
            </a:extLst>
          </p:cNvPr>
          <p:cNvSpPr>
            <a:spLocks noGrp="1"/>
          </p:cNvSpPr>
          <p:nvPr>
            <p:ph type="pic" sz="quarter" idx="27"/>
          </p:nvPr>
        </p:nvSpPr>
        <p:spPr>
          <a:xfrm>
            <a:off x="6092952" y="0"/>
            <a:ext cx="6099048" cy="6858000"/>
          </a:xfrm>
          <a:prstGeom prst="rect">
            <a:avLst/>
          </a:prstGeom>
        </p:spPr>
        <p:txBody>
          <a:bodyPr/>
          <a:lstStyle/>
          <a:p>
            <a:endParaRPr lang="en-US"/>
          </a:p>
        </p:txBody>
      </p:sp>
      <p:sp>
        <p:nvSpPr>
          <p:cNvPr id="2" name="Text Placeholder 4">
            <a:extLst>
              <a:ext uri="{FF2B5EF4-FFF2-40B4-BE49-F238E27FC236}">
                <a16:creationId xmlns:a16="http://schemas.microsoft.com/office/drawing/2014/main" id="{4F33CF80-FFEB-A0A3-96C3-70C36A76E510}"/>
              </a:ext>
            </a:extLst>
          </p:cNvPr>
          <p:cNvSpPr>
            <a:spLocks noGrp="1"/>
          </p:cNvSpPr>
          <p:nvPr>
            <p:ph type="body" sz="quarter" idx="25" hasCustomPrompt="1"/>
          </p:nvPr>
        </p:nvSpPr>
        <p:spPr>
          <a:xfrm>
            <a:off x="627063" y="948837"/>
            <a:ext cx="3467100" cy="1181285"/>
          </a:xfrm>
          <a:prstGeom prst="rect">
            <a:avLst/>
          </a:prstGeom>
        </p:spPr>
        <p:txBody>
          <a:bodyPr wrap="square">
            <a:spAutoFit/>
          </a:bodyPr>
          <a:lstStyle>
            <a:lvl1pPr>
              <a:lnSpc>
                <a:spcPts val="4600"/>
              </a:lnSpc>
              <a:spcBef>
                <a:spcPts val="0"/>
              </a:spcBef>
              <a:defRPr sz="4400" b="0" i="0" spc="0">
                <a:solidFill>
                  <a:schemeClr val="accent6"/>
                </a:solidFill>
                <a:latin typeface="Calibri" panose="020F0502020204030204" pitchFamily="34" charset="0"/>
                <a:cs typeface="Calibri" panose="020F0502020204030204" pitchFamily="34" charset="0"/>
              </a:defRPr>
            </a:lvl1pPr>
            <a:lvl2pPr>
              <a:buNone/>
              <a:defRPr/>
            </a:lvl2pPr>
          </a:lstStyle>
          <a:p>
            <a:pPr lvl="0"/>
            <a:r>
              <a:rPr lang="en-US">
                <a:effectLst/>
              </a:rPr>
              <a:t>Name</a:t>
            </a:r>
          </a:p>
          <a:p>
            <a:pPr lvl="0"/>
            <a:r>
              <a:rPr lang="en-US" err="1">
                <a:effectLst/>
              </a:rPr>
              <a:t>Lastname</a:t>
            </a:r>
            <a:endParaRPr lang="en-US"/>
          </a:p>
        </p:txBody>
      </p:sp>
      <p:sp>
        <p:nvSpPr>
          <p:cNvPr id="4" name="Text Placeholder 4">
            <a:extLst>
              <a:ext uri="{FF2B5EF4-FFF2-40B4-BE49-F238E27FC236}">
                <a16:creationId xmlns:a16="http://schemas.microsoft.com/office/drawing/2014/main" id="{3A8993B1-0A80-3A00-9ABA-D943C84F9489}"/>
              </a:ext>
            </a:extLst>
          </p:cNvPr>
          <p:cNvSpPr>
            <a:spLocks noGrp="1"/>
          </p:cNvSpPr>
          <p:nvPr>
            <p:ph type="body" sz="quarter" idx="26" hasCustomPrompt="1"/>
          </p:nvPr>
        </p:nvSpPr>
        <p:spPr>
          <a:xfrm>
            <a:off x="627063" y="2406797"/>
            <a:ext cx="4648200" cy="215444"/>
          </a:xfrm>
          <a:prstGeom prst="rect">
            <a:avLst/>
          </a:prstGeom>
        </p:spPr>
        <p:txBody>
          <a:bodyPr wrap="square" anchor="t" anchorCtr="0">
            <a:spAutoFit/>
          </a:bodyPr>
          <a:lstStyle>
            <a:lvl1pPr marL="0" marR="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sz="1400" b="1" i="0">
                <a:solidFill>
                  <a:schemeClr val="tx1"/>
                </a:solidFill>
                <a:latin typeface="Calibri" panose="020F0502020204030204" pitchFamily="34" charset="0"/>
                <a:cs typeface="Calibri" panose="020F0502020204030204" pitchFamily="34" charset="0"/>
              </a:defRPr>
            </a:lvl1pPr>
          </a:lstStyle>
          <a:p>
            <a:r>
              <a:rPr lang="en-US"/>
              <a:t>Title</a:t>
            </a:r>
          </a:p>
        </p:txBody>
      </p:sp>
      <p:sp>
        <p:nvSpPr>
          <p:cNvPr id="14" name="Text Placeholder 10">
            <a:extLst>
              <a:ext uri="{FF2B5EF4-FFF2-40B4-BE49-F238E27FC236}">
                <a16:creationId xmlns:a16="http://schemas.microsoft.com/office/drawing/2014/main" id="{CFB280B8-B919-4994-C32C-9E2358C40D0F}"/>
              </a:ext>
            </a:extLst>
          </p:cNvPr>
          <p:cNvSpPr>
            <a:spLocks noGrp="1"/>
          </p:cNvSpPr>
          <p:nvPr>
            <p:ph type="body" sz="quarter" idx="28" hasCustomPrompt="1"/>
          </p:nvPr>
        </p:nvSpPr>
        <p:spPr>
          <a:xfrm>
            <a:off x="627063" y="419100"/>
            <a:ext cx="3725862" cy="225706"/>
          </a:xfrm>
          <a:prstGeom prst="rect">
            <a:avLst/>
          </a:prstGeom>
        </p:spPr>
        <p:txBody>
          <a:bodyPr vert="horz" lIns="0" tIns="0" rIns="0" bIns="0" rtlCol="0">
            <a:noAutofit/>
          </a:bodyPr>
          <a:lstStyle>
            <a:lvl1pPr>
              <a:defRPr lang="en-US" sz="1000" b="0" cap="all" spc="300" baseline="0">
                <a:solidFill>
                  <a:schemeClr val="tx1"/>
                </a:solidFill>
                <a:latin typeface="Calibri" panose="020F0502020204030204" pitchFamily="34" charset="0"/>
              </a:defRPr>
            </a:lvl1pPr>
          </a:lstStyle>
          <a:p>
            <a:pPr lvl="0"/>
            <a:r>
              <a:rPr lang="en-US"/>
              <a:t>Click to add section title</a:t>
            </a:r>
          </a:p>
        </p:txBody>
      </p:sp>
      <p:grpSp>
        <p:nvGrpSpPr>
          <p:cNvPr id="6" name="Group 5">
            <a:extLst>
              <a:ext uri="{FF2B5EF4-FFF2-40B4-BE49-F238E27FC236}">
                <a16:creationId xmlns:a16="http://schemas.microsoft.com/office/drawing/2014/main" id="{97D571F9-BDE5-9EB6-546C-73D053C6BF8A}"/>
              </a:ext>
            </a:extLst>
          </p:cNvPr>
          <p:cNvGrpSpPr/>
          <p:nvPr userDrawn="1"/>
        </p:nvGrpSpPr>
        <p:grpSpPr>
          <a:xfrm>
            <a:off x="611054" y="6471298"/>
            <a:ext cx="372834" cy="131175"/>
            <a:chOff x="14288" y="2035175"/>
            <a:chExt cx="10039350" cy="3532188"/>
          </a:xfrm>
          <a:solidFill>
            <a:schemeClr val="tx1"/>
          </a:solidFill>
        </p:grpSpPr>
        <p:sp>
          <p:nvSpPr>
            <p:cNvPr id="7" name="Freeform 1">
              <a:extLst>
                <a:ext uri="{FF2B5EF4-FFF2-40B4-BE49-F238E27FC236}">
                  <a16:creationId xmlns:a16="http://schemas.microsoft.com/office/drawing/2014/main" id="{36E93B7E-2610-9FEA-6169-9F09FE797687}"/>
                </a:ext>
              </a:extLst>
            </p:cNvPr>
            <p:cNvSpPr>
              <a:spLocks noChangeArrowheads="1"/>
            </p:cNvSpPr>
            <p:nvPr/>
          </p:nvSpPr>
          <p:spPr bwMode="auto">
            <a:xfrm>
              <a:off x="1519238" y="2035175"/>
              <a:ext cx="1336675" cy="2836863"/>
            </a:xfrm>
            <a:custGeom>
              <a:avLst/>
              <a:gdLst>
                <a:gd name="T0" fmla="*/ 390493 w 3714"/>
                <a:gd name="T1" fmla="*/ 1200682 h 7882"/>
                <a:gd name="T2" fmla="*/ 945462 w 3714"/>
                <a:gd name="T3" fmla="*/ 1200682 h 7882"/>
                <a:gd name="T4" fmla="*/ 945462 w 3714"/>
                <a:gd name="T5" fmla="*/ 611498 h 7882"/>
                <a:gd name="T6" fmla="*/ 698929 w 3714"/>
                <a:gd name="T7" fmla="*/ 364596 h 7882"/>
                <a:gd name="T8" fmla="*/ 637386 w 3714"/>
                <a:gd name="T9" fmla="*/ 364596 h 7882"/>
                <a:gd name="T10" fmla="*/ 390493 w 3714"/>
                <a:gd name="T11" fmla="*/ 611498 h 7882"/>
                <a:gd name="T12" fmla="*/ 390493 w 3714"/>
                <a:gd name="T13" fmla="*/ 1200682 h 7882"/>
                <a:gd name="T14" fmla="*/ 389414 w 3714"/>
                <a:gd name="T15" fmla="*/ 1576795 h 7882"/>
                <a:gd name="T16" fmla="*/ 390493 w 3714"/>
                <a:gd name="T17" fmla="*/ 2224645 h 7882"/>
                <a:gd name="T18" fmla="*/ 637386 w 3714"/>
                <a:gd name="T19" fmla="*/ 2471548 h 7882"/>
                <a:gd name="T20" fmla="*/ 709366 w 3714"/>
                <a:gd name="T21" fmla="*/ 2471548 h 7882"/>
                <a:gd name="T22" fmla="*/ 955899 w 3714"/>
                <a:gd name="T23" fmla="*/ 2224645 h 7882"/>
                <a:gd name="T24" fmla="*/ 955899 w 3714"/>
                <a:gd name="T25" fmla="*/ 1906119 h 7882"/>
                <a:gd name="T26" fmla="*/ 1336315 w 3714"/>
                <a:gd name="T27" fmla="*/ 1906119 h 7882"/>
                <a:gd name="T28" fmla="*/ 1336315 w 3714"/>
                <a:gd name="T29" fmla="*/ 2209528 h 7882"/>
                <a:gd name="T30" fmla="*/ 709366 w 3714"/>
                <a:gd name="T31" fmla="*/ 2836503 h 7882"/>
                <a:gd name="T32" fmla="*/ 626949 w 3714"/>
                <a:gd name="T33" fmla="*/ 2836503 h 7882"/>
                <a:gd name="T34" fmla="*/ 0 w 3714"/>
                <a:gd name="T35" fmla="*/ 2258117 h 7882"/>
                <a:gd name="T36" fmla="*/ 0 w 3714"/>
                <a:gd name="T37" fmla="*/ 675564 h 7882"/>
                <a:gd name="T38" fmla="*/ 626949 w 3714"/>
                <a:gd name="T39" fmla="*/ 0 h 7882"/>
                <a:gd name="T40" fmla="*/ 709366 w 3714"/>
                <a:gd name="T41" fmla="*/ 0 h 7882"/>
                <a:gd name="T42" fmla="*/ 1336315 w 3714"/>
                <a:gd name="T43" fmla="*/ 626975 h 7882"/>
                <a:gd name="T44" fmla="*/ 1334875 w 3714"/>
                <a:gd name="T45" fmla="*/ 1576795 h 7882"/>
                <a:gd name="T46" fmla="*/ 389414 w 3714"/>
                <a:gd name="T47" fmla="*/ 1576795 h 7882"/>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3714" h="7882">
                  <a:moveTo>
                    <a:pt x="1085" y="3336"/>
                  </a:moveTo>
                  <a:lnTo>
                    <a:pt x="2627" y="3336"/>
                  </a:lnTo>
                  <a:lnTo>
                    <a:pt x="2627" y="1699"/>
                  </a:lnTo>
                  <a:cubicBezTo>
                    <a:pt x="2627" y="1242"/>
                    <a:pt x="2399" y="1013"/>
                    <a:pt x="1942" y="1013"/>
                  </a:cubicBezTo>
                  <a:lnTo>
                    <a:pt x="1771" y="1013"/>
                  </a:lnTo>
                  <a:cubicBezTo>
                    <a:pt x="1314" y="1013"/>
                    <a:pt x="1085" y="1242"/>
                    <a:pt x="1085" y="1699"/>
                  </a:cubicBezTo>
                  <a:lnTo>
                    <a:pt x="1085" y="3336"/>
                  </a:lnTo>
                  <a:close/>
                  <a:moveTo>
                    <a:pt x="1082" y="4381"/>
                  </a:moveTo>
                  <a:lnTo>
                    <a:pt x="1085" y="6181"/>
                  </a:lnTo>
                  <a:cubicBezTo>
                    <a:pt x="1085" y="6638"/>
                    <a:pt x="1314" y="6867"/>
                    <a:pt x="1771" y="6867"/>
                  </a:cubicBezTo>
                  <a:lnTo>
                    <a:pt x="1971" y="6867"/>
                  </a:lnTo>
                  <a:cubicBezTo>
                    <a:pt x="2428" y="6867"/>
                    <a:pt x="2656" y="6638"/>
                    <a:pt x="2656" y="6181"/>
                  </a:cubicBezTo>
                  <a:lnTo>
                    <a:pt x="2656" y="5296"/>
                  </a:lnTo>
                  <a:lnTo>
                    <a:pt x="3713" y="5296"/>
                  </a:lnTo>
                  <a:lnTo>
                    <a:pt x="3713" y="6139"/>
                  </a:lnTo>
                  <a:cubicBezTo>
                    <a:pt x="3713" y="7295"/>
                    <a:pt x="3127" y="7881"/>
                    <a:pt x="1971" y="7881"/>
                  </a:cubicBezTo>
                  <a:lnTo>
                    <a:pt x="1742" y="7881"/>
                  </a:lnTo>
                  <a:cubicBezTo>
                    <a:pt x="585" y="7881"/>
                    <a:pt x="0" y="7295"/>
                    <a:pt x="0" y="6274"/>
                  </a:cubicBezTo>
                  <a:lnTo>
                    <a:pt x="0" y="1877"/>
                  </a:lnTo>
                  <a:cubicBezTo>
                    <a:pt x="0" y="585"/>
                    <a:pt x="585" y="0"/>
                    <a:pt x="1742" y="0"/>
                  </a:cubicBezTo>
                  <a:lnTo>
                    <a:pt x="1971" y="0"/>
                  </a:lnTo>
                  <a:cubicBezTo>
                    <a:pt x="3127" y="0"/>
                    <a:pt x="3713" y="585"/>
                    <a:pt x="3713" y="1742"/>
                  </a:cubicBezTo>
                  <a:lnTo>
                    <a:pt x="3709" y="4381"/>
                  </a:lnTo>
                  <a:lnTo>
                    <a:pt x="1082" y="4381"/>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endParaRPr lang="en-US"/>
            </a:p>
          </p:txBody>
        </p:sp>
        <p:sp>
          <p:nvSpPr>
            <p:cNvPr id="9" name="Freeform 2">
              <a:extLst>
                <a:ext uri="{FF2B5EF4-FFF2-40B4-BE49-F238E27FC236}">
                  <a16:creationId xmlns:a16="http://schemas.microsoft.com/office/drawing/2014/main" id="{FE362369-FA97-6474-351F-FD08DB762EBE}"/>
                </a:ext>
              </a:extLst>
            </p:cNvPr>
            <p:cNvSpPr>
              <a:spLocks noChangeArrowheads="1"/>
            </p:cNvSpPr>
            <p:nvPr/>
          </p:nvSpPr>
          <p:spPr bwMode="auto">
            <a:xfrm>
              <a:off x="3109913" y="2035175"/>
              <a:ext cx="1368425" cy="3532188"/>
            </a:xfrm>
            <a:custGeom>
              <a:avLst/>
              <a:gdLst>
                <a:gd name="T0" fmla="*/ 390721 w 3800"/>
                <a:gd name="T1" fmla="*/ 2322993 h 9812"/>
                <a:gd name="T2" fmla="*/ 750833 w 3800"/>
                <a:gd name="T3" fmla="*/ 2466628 h 9812"/>
                <a:gd name="T4" fmla="*/ 976983 w 3800"/>
                <a:gd name="T5" fmla="*/ 2240556 h 9812"/>
                <a:gd name="T6" fmla="*/ 976983 w 3800"/>
                <a:gd name="T7" fmla="*/ 596138 h 9812"/>
                <a:gd name="T8" fmla="*/ 750833 w 3800"/>
                <a:gd name="T9" fmla="*/ 370066 h 9812"/>
                <a:gd name="T10" fmla="*/ 390721 w 3800"/>
                <a:gd name="T11" fmla="*/ 514061 h 9812"/>
                <a:gd name="T12" fmla="*/ 390721 w 3800"/>
                <a:gd name="T13" fmla="*/ 2322993 h 9812"/>
                <a:gd name="T14" fmla="*/ 0 w 3800"/>
                <a:gd name="T15" fmla="*/ 30599 h 9812"/>
                <a:gd name="T16" fmla="*/ 390721 w 3800"/>
                <a:gd name="T17" fmla="*/ 30599 h 9812"/>
                <a:gd name="T18" fmla="*/ 390721 w 3800"/>
                <a:gd name="T19" fmla="*/ 210592 h 9812"/>
                <a:gd name="T20" fmla="*/ 868950 w 3800"/>
                <a:gd name="T21" fmla="*/ 0 h 9812"/>
                <a:gd name="T22" fmla="*/ 1368065 w 3800"/>
                <a:gd name="T23" fmla="*/ 549699 h 9812"/>
                <a:gd name="T24" fmla="*/ 1368065 w 3800"/>
                <a:gd name="T25" fmla="*/ 2286995 h 9812"/>
                <a:gd name="T26" fmla="*/ 868950 w 3800"/>
                <a:gd name="T27" fmla="*/ 2837054 h 9812"/>
                <a:gd name="T28" fmla="*/ 390721 w 3800"/>
                <a:gd name="T29" fmla="*/ 2636541 h 9812"/>
                <a:gd name="T30" fmla="*/ 390721 w 3800"/>
                <a:gd name="T31" fmla="*/ 3531828 h 9812"/>
                <a:gd name="T32" fmla="*/ 0 w 3800"/>
                <a:gd name="T33" fmla="*/ 3531828 h 9812"/>
                <a:gd name="T34" fmla="*/ 0 w 3800"/>
                <a:gd name="T35" fmla="*/ 30599 h 9812"/>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3800" h="9812">
                  <a:moveTo>
                    <a:pt x="1085" y="6453"/>
                  </a:moveTo>
                  <a:cubicBezTo>
                    <a:pt x="1385" y="6710"/>
                    <a:pt x="1728" y="6852"/>
                    <a:pt x="2085" y="6852"/>
                  </a:cubicBezTo>
                  <a:cubicBezTo>
                    <a:pt x="2485" y="6852"/>
                    <a:pt x="2713" y="6667"/>
                    <a:pt x="2713" y="6224"/>
                  </a:cubicBezTo>
                  <a:lnTo>
                    <a:pt x="2713" y="1656"/>
                  </a:lnTo>
                  <a:cubicBezTo>
                    <a:pt x="2713" y="1213"/>
                    <a:pt x="2485" y="1028"/>
                    <a:pt x="2085" y="1028"/>
                  </a:cubicBezTo>
                  <a:cubicBezTo>
                    <a:pt x="1728" y="1028"/>
                    <a:pt x="1385" y="1170"/>
                    <a:pt x="1085" y="1428"/>
                  </a:cubicBezTo>
                  <a:lnTo>
                    <a:pt x="1085" y="6453"/>
                  </a:lnTo>
                  <a:close/>
                  <a:moveTo>
                    <a:pt x="0" y="85"/>
                  </a:moveTo>
                  <a:lnTo>
                    <a:pt x="1085" y="85"/>
                  </a:lnTo>
                  <a:lnTo>
                    <a:pt x="1085" y="585"/>
                  </a:lnTo>
                  <a:cubicBezTo>
                    <a:pt x="1342" y="314"/>
                    <a:pt x="1785" y="0"/>
                    <a:pt x="2413" y="0"/>
                  </a:cubicBezTo>
                  <a:cubicBezTo>
                    <a:pt x="3342" y="0"/>
                    <a:pt x="3799" y="614"/>
                    <a:pt x="3799" y="1527"/>
                  </a:cubicBezTo>
                  <a:lnTo>
                    <a:pt x="3799" y="6353"/>
                  </a:lnTo>
                  <a:cubicBezTo>
                    <a:pt x="3799" y="7267"/>
                    <a:pt x="3342" y="7881"/>
                    <a:pt x="2413" y="7881"/>
                  </a:cubicBezTo>
                  <a:cubicBezTo>
                    <a:pt x="1785" y="7881"/>
                    <a:pt x="1342" y="7581"/>
                    <a:pt x="1085" y="7324"/>
                  </a:cubicBezTo>
                  <a:lnTo>
                    <a:pt x="1085" y="9811"/>
                  </a:lnTo>
                  <a:lnTo>
                    <a:pt x="0" y="9811"/>
                  </a:lnTo>
                  <a:lnTo>
                    <a:pt x="0" y="85"/>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endParaRPr lang="en-US"/>
            </a:p>
          </p:txBody>
        </p:sp>
        <p:sp>
          <p:nvSpPr>
            <p:cNvPr id="10" name="Freeform 3">
              <a:extLst>
                <a:ext uri="{FF2B5EF4-FFF2-40B4-BE49-F238E27FC236}">
                  <a16:creationId xmlns:a16="http://schemas.microsoft.com/office/drawing/2014/main" id="{B1D22326-B1E2-1856-3FD9-0A1FA87A6AF1}"/>
                </a:ext>
              </a:extLst>
            </p:cNvPr>
            <p:cNvSpPr>
              <a:spLocks noChangeArrowheads="1"/>
            </p:cNvSpPr>
            <p:nvPr/>
          </p:nvSpPr>
          <p:spPr bwMode="auto">
            <a:xfrm>
              <a:off x="4711700" y="2035175"/>
              <a:ext cx="1328738" cy="2836863"/>
            </a:xfrm>
            <a:custGeom>
              <a:avLst/>
              <a:gdLst>
                <a:gd name="T0" fmla="*/ 937679 w 3690"/>
                <a:gd name="T1" fmla="*/ 2338019 h 7882"/>
                <a:gd name="T2" fmla="*/ 937679 w 3690"/>
                <a:gd name="T3" fmla="*/ 1422750 h 7882"/>
                <a:gd name="T4" fmla="*/ 582988 w 3690"/>
                <a:gd name="T5" fmla="*/ 1556999 h 7882"/>
                <a:gd name="T6" fmla="*/ 392500 w 3690"/>
                <a:gd name="T7" fmla="*/ 1844573 h 7882"/>
                <a:gd name="T8" fmla="*/ 392500 w 3690"/>
                <a:gd name="T9" fmla="*/ 2266035 h 7882"/>
                <a:gd name="T10" fmla="*/ 582988 w 3690"/>
                <a:gd name="T11" fmla="*/ 2466149 h 7882"/>
                <a:gd name="T12" fmla="*/ 937679 w 3690"/>
                <a:gd name="T13" fmla="*/ 2338019 h 7882"/>
                <a:gd name="T14" fmla="*/ 2161 w 3690"/>
                <a:gd name="T15" fmla="*/ 1839174 h 7882"/>
                <a:gd name="T16" fmla="*/ 413025 w 3690"/>
                <a:gd name="T17" fmla="*/ 1253950 h 7882"/>
                <a:gd name="T18" fmla="*/ 937679 w 3690"/>
                <a:gd name="T19" fmla="*/ 1073991 h 7882"/>
                <a:gd name="T20" fmla="*/ 937679 w 3690"/>
                <a:gd name="T21" fmla="*/ 611498 h 7882"/>
                <a:gd name="T22" fmla="*/ 690656 w 3690"/>
                <a:gd name="T23" fmla="*/ 359557 h 7882"/>
                <a:gd name="T24" fmla="*/ 627280 w 3690"/>
                <a:gd name="T25" fmla="*/ 359557 h 7882"/>
                <a:gd name="T26" fmla="*/ 380257 w 3690"/>
                <a:gd name="T27" fmla="*/ 611498 h 7882"/>
                <a:gd name="T28" fmla="*/ 380257 w 3690"/>
                <a:gd name="T29" fmla="*/ 1004527 h 7882"/>
                <a:gd name="T30" fmla="*/ 0 w 3690"/>
                <a:gd name="T31" fmla="*/ 1004527 h 7882"/>
                <a:gd name="T32" fmla="*/ 0 w 3690"/>
                <a:gd name="T33" fmla="*/ 626975 h 7882"/>
                <a:gd name="T34" fmla="*/ 627280 w 3690"/>
                <a:gd name="T35" fmla="*/ 0 h 7882"/>
                <a:gd name="T36" fmla="*/ 701098 w 3690"/>
                <a:gd name="T37" fmla="*/ 0 h 7882"/>
                <a:gd name="T38" fmla="*/ 1328378 w 3690"/>
                <a:gd name="T39" fmla="*/ 626975 h 7882"/>
                <a:gd name="T40" fmla="*/ 1328378 w 3690"/>
                <a:gd name="T41" fmla="*/ 2805550 h 7882"/>
                <a:gd name="T42" fmla="*/ 937679 w 3690"/>
                <a:gd name="T43" fmla="*/ 2805550 h 7882"/>
                <a:gd name="T44" fmla="*/ 937679 w 3690"/>
                <a:gd name="T45" fmla="*/ 2630631 h 7882"/>
                <a:gd name="T46" fmla="*/ 459477 w 3690"/>
                <a:gd name="T47" fmla="*/ 2836503 h 7882"/>
                <a:gd name="T48" fmla="*/ 2161 w 3690"/>
                <a:gd name="T49" fmla="*/ 2348096 h 7882"/>
                <a:gd name="T50" fmla="*/ 2161 w 3690"/>
                <a:gd name="T51" fmla="*/ 1839174 h 7882"/>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3690" h="7882">
                  <a:moveTo>
                    <a:pt x="2604" y="6496"/>
                  </a:moveTo>
                  <a:lnTo>
                    <a:pt x="2604" y="3953"/>
                  </a:lnTo>
                  <a:lnTo>
                    <a:pt x="1619" y="4326"/>
                  </a:lnTo>
                  <a:cubicBezTo>
                    <a:pt x="1219" y="4483"/>
                    <a:pt x="1090" y="4683"/>
                    <a:pt x="1090" y="5125"/>
                  </a:cubicBezTo>
                  <a:lnTo>
                    <a:pt x="1090" y="6296"/>
                  </a:lnTo>
                  <a:cubicBezTo>
                    <a:pt x="1090" y="6667"/>
                    <a:pt x="1276" y="6852"/>
                    <a:pt x="1619" y="6852"/>
                  </a:cubicBezTo>
                  <a:cubicBezTo>
                    <a:pt x="1947" y="6852"/>
                    <a:pt x="2247" y="6738"/>
                    <a:pt x="2604" y="6496"/>
                  </a:cubicBezTo>
                  <a:close/>
                  <a:moveTo>
                    <a:pt x="6" y="5110"/>
                  </a:moveTo>
                  <a:cubicBezTo>
                    <a:pt x="6" y="4155"/>
                    <a:pt x="320" y="3769"/>
                    <a:pt x="1147" y="3484"/>
                  </a:cubicBezTo>
                  <a:lnTo>
                    <a:pt x="2604" y="2984"/>
                  </a:lnTo>
                  <a:lnTo>
                    <a:pt x="2604" y="1699"/>
                  </a:lnTo>
                  <a:cubicBezTo>
                    <a:pt x="2604" y="1242"/>
                    <a:pt x="2375" y="999"/>
                    <a:pt x="1918" y="999"/>
                  </a:cubicBezTo>
                  <a:lnTo>
                    <a:pt x="1742" y="999"/>
                  </a:lnTo>
                  <a:cubicBezTo>
                    <a:pt x="1285" y="999"/>
                    <a:pt x="1056" y="1242"/>
                    <a:pt x="1056" y="1699"/>
                  </a:cubicBezTo>
                  <a:lnTo>
                    <a:pt x="1056" y="2791"/>
                  </a:lnTo>
                  <a:lnTo>
                    <a:pt x="0" y="2791"/>
                  </a:lnTo>
                  <a:lnTo>
                    <a:pt x="0" y="1742"/>
                  </a:lnTo>
                  <a:cubicBezTo>
                    <a:pt x="0" y="585"/>
                    <a:pt x="586" y="0"/>
                    <a:pt x="1742" y="0"/>
                  </a:cubicBezTo>
                  <a:lnTo>
                    <a:pt x="1947" y="0"/>
                  </a:lnTo>
                  <a:cubicBezTo>
                    <a:pt x="3104" y="0"/>
                    <a:pt x="3689" y="585"/>
                    <a:pt x="3689" y="1742"/>
                  </a:cubicBezTo>
                  <a:lnTo>
                    <a:pt x="3689" y="7795"/>
                  </a:lnTo>
                  <a:lnTo>
                    <a:pt x="2604" y="7795"/>
                  </a:lnTo>
                  <a:lnTo>
                    <a:pt x="2604" y="7309"/>
                  </a:lnTo>
                  <a:cubicBezTo>
                    <a:pt x="2304" y="7595"/>
                    <a:pt x="1904" y="7881"/>
                    <a:pt x="1276" y="7881"/>
                  </a:cubicBezTo>
                  <a:cubicBezTo>
                    <a:pt x="406" y="7881"/>
                    <a:pt x="6" y="7381"/>
                    <a:pt x="6" y="6524"/>
                  </a:cubicBezTo>
                  <a:lnTo>
                    <a:pt x="6" y="5110"/>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endParaRPr lang="en-US"/>
            </a:p>
          </p:txBody>
        </p:sp>
        <p:sp>
          <p:nvSpPr>
            <p:cNvPr id="13" name="Freeform 4">
              <a:extLst>
                <a:ext uri="{FF2B5EF4-FFF2-40B4-BE49-F238E27FC236}">
                  <a16:creationId xmlns:a16="http://schemas.microsoft.com/office/drawing/2014/main" id="{520750A3-F513-E719-0F37-07EE9D8BD67F}"/>
                </a:ext>
              </a:extLst>
            </p:cNvPr>
            <p:cNvSpPr>
              <a:spLocks noChangeArrowheads="1"/>
            </p:cNvSpPr>
            <p:nvPr/>
          </p:nvSpPr>
          <p:spPr bwMode="auto">
            <a:xfrm>
              <a:off x="6292850" y="2035175"/>
              <a:ext cx="2262188" cy="2806700"/>
            </a:xfrm>
            <a:custGeom>
              <a:avLst/>
              <a:gdLst>
                <a:gd name="T0" fmla="*/ 1326358 w 6285"/>
                <a:gd name="T1" fmla="*/ 2806340 h 7796"/>
                <a:gd name="T2" fmla="*/ 935470 w 6285"/>
                <a:gd name="T3" fmla="*/ 2806340 h 7796"/>
                <a:gd name="T4" fmla="*/ 935470 w 6285"/>
                <a:gd name="T5" fmla="*/ 570628 h 7796"/>
                <a:gd name="T6" fmla="*/ 750463 w 6285"/>
                <a:gd name="T7" fmla="*/ 370098 h 7796"/>
                <a:gd name="T8" fmla="*/ 390889 w 6285"/>
                <a:gd name="T9" fmla="*/ 508705 h 7796"/>
                <a:gd name="T10" fmla="*/ 390889 w 6285"/>
                <a:gd name="T11" fmla="*/ 2806340 h 7796"/>
                <a:gd name="T12" fmla="*/ 0 w 6285"/>
                <a:gd name="T13" fmla="*/ 2806340 h 7796"/>
                <a:gd name="T14" fmla="*/ 0 w 6285"/>
                <a:gd name="T15" fmla="*/ 30602 h 7796"/>
                <a:gd name="T16" fmla="*/ 390889 w 6285"/>
                <a:gd name="T17" fmla="*/ 30602 h 7796"/>
                <a:gd name="T18" fmla="*/ 390889 w 6285"/>
                <a:gd name="T19" fmla="*/ 210611 h 7796"/>
                <a:gd name="T20" fmla="*/ 868882 w 6285"/>
                <a:gd name="T21" fmla="*/ 0 h 7796"/>
                <a:gd name="T22" fmla="*/ 1274888 w 6285"/>
                <a:gd name="T23" fmla="*/ 226091 h 7796"/>
                <a:gd name="T24" fmla="*/ 1804351 w 6285"/>
                <a:gd name="T25" fmla="*/ 0 h 7796"/>
                <a:gd name="T26" fmla="*/ 2261828 w 6285"/>
                <a:gd name="T27" fmla="*/ 488184 h 7796"/>
                <a:gd name="T28" fmla="*/ 2261828 w 6285"/>
                <a:gd name="T29" fmla="*/ 2806340 h 7796"/>
                <a:gd name="T30" fmla="*/ 1870939 w 6285"/>
                <a:gd name="T31" fmla="*/ 2806340 h 7796"/>
                <a:gd name="T32" fmla="*/ 1870939 w 6285"/>
                <a:gd name="T33" fmla="*/ 570628 h 7796"/>
                <a:gd name="T34" fmla="*/ 1685933 w 6285"/>
                <a:gd name="T35" fmla="*/ 370098 h 7796"/>
                <a:gd name="T36" fmla="*/ 1326358 w 6285"/>
                <a:gd name="T37" fmla="*/ 508705 h 7796"/>
                <a:gd name="T38" fmla="*/ 1326358 w 6285"/>
                <a:gd name="T39" fmla="*/ 2806340 h 779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6285" h="7796">
                  <a:moveTo>
                    <a:pt x="3685" y="7795"/>
                  </a:moveTo>
                  <a:lnTo>
                    <a:pt x="2599" y="7795"/>
                  </a:lnTo>
                  <a:lnTo>
                    <a:pt x="2599" y="1585"/>
                  </a:lnTo>
                  <a:cubicBezTo>
                    <a:pt x="2599" y="1199"/>
                    <a:pt x="2414" y="1028"/>
                    <a:pt x="2085" y="1028"/>
                  </a:cubicBezTo>
                  <a:cubicBezTo>
                    <a:pt x="1785" y="1028"/>
                    <a:pt x="1471" y="1142"/>
                    <a:pt x="1086" y="1413"/>
                  </a:cubicBezTo>
                  <a:lnTo>
                    <a:pt x="1086" y="7795"/>
                  </a:lnTo>
                  <a:lnTo>
                    <a:pt x="0" y="7795"/>
                  </a:lnTo>
                  <a:lnTo>
                    <a:pt x="0" y="85"/>
                  </a:lnTo>
                  <a:lnTo>
                    <a:pt x="1086" y="85"/>
                  </a:lnTo>
                  <a:lnTo>
                    <a:pt x="1086" y="585"/>
                  </a:lnTo>
                  <a:cubicBezTo>
                    <a:pt x="1400" y="285"/>
                    <a:pt x="1814" y="0"/>
                    <a:pt x="2414" y="0"/>
                  </a:cubicBezTo>
                  <a:cubicBezTo>
                    <a:pt x="2971" y="0"/>
                    <a:pt x="3342" y="228"/>
                    <a:pt x="3542" y="628"/>
                  </a:cubicBezTo>
                  <a:cubicBezTo>
                    <a:pt x="3928" y="299"/>
                    <a:pt x="4385" y="0"/>
                    <a:pt x="5013" y="0"/>
                  </a:cubicBezTo>
                  <a:cubicBezTo>
                    <a:pt x="5855" y="0"/>
                    <a:pt x="6284" y="514"/>
                    <a:pt x="6284" y="1356"/>
                  </a:cubicBezTo>
                  <a:lnTo>
                    <a:pt x="6284" y="7795"/>
                  </a:lnTo>
                  <a:lnTo>
                    <a:pt x="5198" y="7795"/>
                  </a:lnTo>
                  <a:lnTo>
                    <a:pt x="5198" y="1585"/>
                  </a:lnTo>
                  <a:cubicBezTo>
                    <a:pt x="5198" y="1199"/>
                    <a:pt x="5013" y="1028"/>
                    <a:pt x="4684" y="1028"/>
                  </a:cubicBezTo>
                  <a:cubicBezTo>
                    <a:pt x="4385" y="1028"/>
                    <a:pt x="4070" y="1142"/>
                    <a:pt x="3685" y="1413"/>
                  </a:cubicBezTo>
                  <a:lnTo>
                    <a:pt x="3685" y="7795"/>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endParaRPr lang="en-US"/>
            </a:p>
          </p:txBody>
        </p:sp>
        <p:sp>
          <p:nvSpPr>
            <p:cNvPr id="15" name="Freeform 5">
              <a:extLst>
                <a:ext uri="{FF2B5EF4-FFF2-40B4-BE49-F238E27FC236}">
                  <a16:creationId xmlns:a16="http://schemas.microsoft.com/office/drawing/2014/main" id="{A4AE5A60-B0DC-7570-170C-FF3B747F11C7}"/>
                </a:ext>
              </a:extLst>
            </p:cNvPr>
            <p:cNvSpPr>
              <a:spLocks noChangeArrowheads="1"/>
            </p:cNvSpPr>
            <p:nvPr/>
          </p:nvSpPr>
          <p:spPr bwMode="auto">
            <a:xfrm>
              <a:off x="14288" y="2322513"/>
              <a:ext cx="1004887" cy="2274887"/>
            </a:xfrm>
            <a:custGeom>
              <a:avLst/>
              <a:gdLst>
                <a:gd name="T0" fmla="*/ 1004527 w 2790"/>
                <a:gd name="T1" fmla="*/ 0 h 6317"/>
                <a:gd name="T2" fmla="*/ 1004527 w 2790"/>
                <a:gd name="T3" fmla="*/ 510652 h 6317"/>
                <a:gd name="T4" fmla="*/ 346488 w 2790"/>
                <a:gd name="T5" fmla="*/ 1137624 h 6317"/>
                <a:gd name="T6" fmla="*/ 1004527 w 2790"/>
                <a:gd name="T7" fmla="*/ 1752711 h 6317"/>
                <a:gd name="T8" fmla="*/ 1004527 w 2790"/>
                <a:gd name="T9" fmla="*/ 2274527 h 6317"/>
                <a:gd name="T10" fmla="*/ 0 w 2790"/>
                <a:gd name="T11" fmla="*/ 1331009 h 6317"/>
                <a:gd name="T12" fmla="*/ 0 w 2790"/>
                <a:gd name="T13" fmla="*/ 955042 h 6317"/>
                <a:gd name="T14" fmla="*/ 1004527 w 2790"/>
                <a:gd name="T15" fmla="*/ 0 h 6317"/>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2790" h="6317">
                  <a:moveTo>
                    <a:pt x="2789" y="0"/>
                  </a:moveTo>
                  <a:lnTo>
                    <a:pt x="2789" y="1418"/>
                  </a:lnTo>
                  <a:lnTo>
                    <a:pt x="962" y="3159"/>
                  </a:lnTo>
                  <a:lnTo>
                    <a:pt x="2789" y="4867"/>
                  </a:lnTo>
                  <a:lnTo>
                    <a:pt x="2789" y="6316"/>
                  </a:lnTo>
                  <a:lnTo>
                    <a:pt x="0" y="3696"/>
                  </a:lnTo>
                  <a:lnTo>
                    <a:pt x="0" y="2652"/>
                  </a:lnTo>
                  <a:lnTo>
                    <a:pt x="2789"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endParaRPr lang="en-US"/>
            </a:p>
          </p:txBody>
        </p:sp>
        <p:sp>
          <p:nvSpPr>
            <p:cNvPr id="16" name="Freeform 6">
              <a:extLst>
                <a:ext uri="{FF2B5EF4-FFF2-40B4-BE49-F238E27FC236}">
                  <a16:creationId xmlns:a16="http://schemas.microsoft.com/office/drawing/2014/main" id="{478F5E28-2074-8110-0A6A-5980444414E7}"/>
                </a:ext>
              </a:extLst>
            </p:cNvPr>
            <p:cNvSpPr>
              <a:spLocks noChangeArrowheads="1"/>
            </p:cNvSpPr>
            <p:nvPr/>
          </p:nvSpPr>
          <p:spPr bwMode="auto">
            <a:xfrm>
              <a:off x="9050338" y="2322513"/>
              <a:ext cx="1003300" cy="2274887"/>
            </a:xfrm>
            <a:custGeom>
              <a:avLst/>
              <a:gdLst>
                <a:gd name="T0" fmla="*/ 1002940 w 2789"/>
                <a:gd name="T1" fmla="*/ 955042 h 6317"/>
                <a:gd name="T2" fmla="*/ 1002940 w 2789"/>
                <a:gd name="T3" fmla="*/ 1331009 h 6317"/>
                <a:gd name="T4" fmla="*/ 0 w 2789"/>
                <a:gd name="T5" fmla="*/ 2274527 h 6317"/>
                <a:gd name="T6" fmla="*/ 0 w 2789"/>
                <a:gd name="T7" fmla="*/ 1752711 h 6317"/>
                <a:gd name="T8" fmla="*/ 656876 w 2789"/>
                <a:gd name="T9" fmla="*/ 1137624 h 6317"/>
                <a:gd name="T10" fmla="*/ 0 w 2789"/>
                <a:gd name="T11" fmla="*/ 510652 h 6317"/>
                <a:gd name="T12" fmla="*/ 0 w 2789"/>
                <a:gd name="T13" fmla="*/ 0 h 6317"/>
                <a:gd name="T14" fmla="*/ 1002940 w 2789"/>
                <a:gd name="T15" fmla="*/ 955042 h 6317"/>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2789" h="6317">
                  <a:moveTo>
                    <a:pt x="2788" y="2652"/>
                  </a:moveTo>
                  <a:lnTo>
                    <a:pt x="2788" y="3696"/>
                  </a:lnTo>
                  <a:lnTo>
                    <a:pt x="0" y="6316"/>
                  </a:lnTo>
                  <a:lnTo>
                    <a:pt x="0" y="4867"/>
                  </a:lnTo>
                  <a:lnTo>
                    <a:pt x="1826" y="3159"/>
                  </a:lnTo>
                  <a:lnTo>
                    <a:pt x="0" y="1418"/>
                  </a:lnTo>
                  <a:lnTo>
                    <a:pt x="0" y="0"/>
                  </a:lnTo>
                  <a:lnTo>
                    <a:pt x="2788" y="2652"/>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endParaRPr lang="en-US"/>
            </a:p>
          </p:txBody>
        </p:sp>
      </p:grpSp>
      <p:sp>
        <p:nvSpPr>
          <p:cNvPr id="17" name="Footer Placeholder 14">
            <a:extLst>
              <a:ext uri="{FF2B5EF4-FFF2-40B4-BE49-F238E27FC236}">
                <a16:creationId xmlns:a16="http://schemas.microsoft.com/office/drawing/2014/main" id="{01C8F8A1-C667-D124-DD1E-EF6112C26689}"/>
              </a:ext>
            </a:extLst>
          </p:cNvPr>
          <p:cNvSpPr txBox="1">
            <a:spLocks/>
          </p:cNvSpPr>
          <p:nvPr userDrawn="1"/>
        </p:nvSpPr>
        <p:spPr>
          <a:xfrm>
            <a:off x="1205299" y="6410231"/>
            <a:ext cx="2157779" cy="228599"/>
          </a:xfrm>
          <a:prstGeom prst="rect">
            <a:avLst/>
          </a:prstGeom>
        </p:spPr>
        <p:txBody>
          <a:bodyPr vert="horz" lIns="0" tIns="0" rIns="0" bIns="0" rtlCol="0" anchor="ctr"/>
          <a:lstStyle>
            <a:defPPr>
              <a:defRPr lang="en-US"/>
            </a:defPPr>
            <a:lvl1pPr marL="0" algn="r" defTabSz="914400" rtl="0" eaLnBrk="1" latinLnBrk="0" hangingPunct="1">
              <a:defRPr sz="600" b="0" i="0" kern="1200">
                <a:solidFill>
                  <a:schemeClr val="tx1"/>
                </a:solidFill>
                <a:latin typeface="+mn-lt"/>
                <a:ea typeface="Calibri" panose="020F0502020204030204" pitchFamily="34" charset="0"/>
                <a:cs typeface="Calibri" panose="020F050202020403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b="0" i="0">
                <a:solidFill>
                  <a:schemeClr val="tx1"/>
                </a:solidFill>
                <a:latin typeface="+mn-lt"/>
              </a:rPr>
              <a:t>EPAM Proprietary &amp; Confidential</a:t>
            </a:r>
            <a:r>
              <a:rPr lang="ru-RU" b="0" i="0">
                <a:solidFill>
                  <a:schemeClr val="tx1"/>
                </a:solidFill>
                <a:latin typeface="+mn-lt"/>
              </a:rPr>
              <a:t> </a:t>
            </a:r>
            <a:endParaRPr lang="en-US" b="0" i="0">
              <a:solidFill>
                <a:schemeClr val="tx1"/>
              </a:solidFill>
              <a:latin typeface="+mn-lt"/>
            </a:endParaRPr>
          </a:p>
        </p:txBody>
      </p:sp>
      <p:pic>
        <p:nvPicPr>
          <p:cNvPr id="18" name="Graphic 17">
            <a:extLst>
              <a:ext uri="{FF2B5EF4-FFF2-40B4-BE49-F238E27FC236}">
                <a16:creationId xmlns:a16="http://schemas.microsoft.com/office/drawing/2014/main" id="{F0702CAD-5C8C-B481-47BB-859F27D49B3C}"/>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820265" y="6419060"/>
            <a:ext cx="762923" cy="205636"/>
          </a:xfrm>
          <a:prstGeom prst="rect">
            <a:avLst/>
          </a:prstGeom>
        </p:spPr>
      </p:pic>
    </p:spTree>
    <p:extLst>
      <p:ext uri="{BB962C8B-B14F-4D97-AF65-F5344CB8AC3E}">
        <p14:creationId xmlns:p14="http://schemas.microsoft.com/office/powerpoint/2010/main" val="584677727"/>
      </p:ext>
    </p:extLst>
  </p:cSld>
  <p:clrMapOvr>
    <a:masterClrMapping/>
  </p:clrMapOvr>
  <p:extLst>
    <p:ext uri="{DCECCB84-F9BA-43D5-87BE-67443E8EF086}">
      <p15:sldGuideLst xmlns:p15="http://schemas.microsoft.com/office/powerpoint/2012/main"/>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Our_People_1_Person">
    <p:bg>
      <p:bgPr>
        <a:solidFill>
          <a:schemeClr val="tx1"/>
        </a:solidFill>
        <a:effectLst/>
      </p:bgPr>
    </p:bg>
    <p:spTree>
      <p:nvGrpSpPr>
        <p:cNvPr id="1" name=""/>
        <p:cNvGrpSpPr/>
        <p:nvPr/>
      </p:nvGrpSpPr>
      <p:grpSpPr>
        <a:xfrm>
          <a:off x="0" y="0"/>
          <a:ext cx="0" cy="0"/>
          <a:chOff x="0" y="0"/>
          <a:chExt cx="0" cy="0"/>
        </a:xfrm>
      </p:grpSpPr>
      <p:sp>
        <p:nvSpPr>
          <p:cNvPr id="7" name="Text Placeholder 4">
            <a:extLst>
              <a:ext uri="{FF2B5EF4-FFF2-40B4-BE49-F238E27FC236}">
                <a16:creationId xmlns:a16="http://schemas.microsoft.com/office/drawing/2014/main" id="{97881F8F-A8EB-2813-47A6-219B2122F63E}"/>
              </a:ext>
            </a:extLst>
          </p:cNvPr>
          <p:cNvSpPr>
            <a:spLocks noGrp="1"/>
          </p:cNvSpPr>
          <p:nvPr>
            <p:ph type="body" sz="quarter" idx="25" hasCustomPrompt="1"/>
          </p:nvPr>
        </p:nvSpPr>
        <p:spPr>
          <a:xfrm>
            <a:off x="627063" y="948837"/>
            <a:ext cx="3467100" cy="1181285"/>
          </a:xfrm>
          <a:prstGeom prst="rect">
            <a:avLst/>
          </a:prstGeom>
        </p:spPr>
        <p:txBody>
          <a:bodyPr wrap="square">
            <a:spAutoFit/>
          </a:bodyPr>
          <a:lstStyle>
            <a:lvl1pPr>
              <a:lnSpc>
                <a:spcPts val="4600"/>
              </a:lnSpc>
              <a:spcBef>
                <a:spcPts val="0"/>
              </a:spcBef>
              <a:defRPr sz="4400" b="0" i="0" spc="0">
                <a:solidFill>
                  <a:schemeClr val="bg1"/>
                </a:solidFill>
                <a:latin typeface="Calibri" panose="020F0502020204030204" pitchFamily="34" charset="0"/>
                <a:cs typeface="Calibri" panose="020F0502020204030204" pitchFamily="34" charset="0"/>
              </a:defRPr>
            </a:lvl1pPr>
            <a:lvl2pPr>
              <a:buNone/>
              <a:defRPr/>
            </a:lvl2pPr>
          </a:lstStyle>
          <a:p>
            <a:pPr lvl="0"/>
            <a:r>
              <a:rPr lang="en-US">
                <a:effectLst/>
              </a:rPr>
              <a:t>Name</a:t>
            </a:r>
          </a:p>
          <a:p>
            <a:pPr lvl="0"/>
            <a:r>
              <a:rPr lang="en-US" err="1">
                <a:effectLst/>
              </a:rPr>
              <a:t>Lastname</a:t>
            </a:r>
            <a:endParaRPr lang="en-US"/>
          </a:p>
        </p:txBody>
      </p:sp>
      <p:sp>
        <p:nvSpPr>
          <p:cNvPr id="8" name="Text Placeholder 4">
            <a:extLst>
              <a:ext uri="{FF2B5EF4-FFF2-40B4-BE49-F238E27FC236}">
                <a16:creationId xmlns:a16="http://schemas.microsoft.com/office/drawing/2014/main" id="{10CE64FB-25EE-A414-B066-FC99784E85DB}"/>
              </a:ext>
            </a:extLst>
          </p:cNvPr>
          <p:cNvSpPr>
            <a:spLocks noGrp="1"/>
          </p:cNvSpPr>
          <p:nvPr>
            <p:ph type="body" sz="quarter" idx="16" hasCustomPrompt="1"/>
          </p:nvPr>
        </p:nvSpPr>
        <p:spPr>
          <a:xfrm>
            <a:off x="627063" y="2916936"/>
            <a:ext cx="4648200" cy="2548070"/>
          </a:xfrm>
          <a:prstGeom prst="rect">
            <a:avLst/>
          </a:prstGeom>
        </p:spPr>
        <p:txBody>
          <a:bodyPr wrap="square" anchor="t" anchorCtr="0">
            <a:spAutoFit/>
          </a:bodyPr>
          <a:lstStyle>
            <a:lvl1pPr marL="0" marR="0" indent="0" algn="l" defTabSz="914400" rtl="0" eaLnBrk="1" fontAlgn="auto" latinLnBrk="0" hangingPunct="1">
              <a:lnSpc>
                <a:spcPts val="2000"/>
              </a:lnSpc>
              <a:spcBef>
                <a:spcPts val="600"/>
              </a:spcBef>
              <a:spcAft>
                <a:spcPts val="0"/>
              </a:spcAft>
              <a:buClrTx/>
              <a:buSzTx/>
              <a:buFont typeface="Arial" panose="020B0604020202020204" pitchFamily="34" charset="0"/>
              <a:buNone/>
              <a:tabLst/>
              <a:defRPr sz="1400" b="0" i="0">
                <a:solidFill>
                  <a:schemeClr val="bg1"/>
                </a:solidFill>
                <a:latin typeface="Calibri Light" panose="020F0302020204030204" pitchFamily="34" charset="0"/>
                <a:cs typeface="Calibri Light" panose="020F0302020204030204" pitchFamily="34" charset="0"/>
              </a:defRPr>
            </a:lvl1pPr>
          </a:lstStyle>
          <a:p>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Leo </a:t>
            </a:r>
            <a:r>
              <a:rPr lang="en-US" err="1"/>
              <a:t>luctus</a:t>
            </a:r>
            <a:r>
              <a:rPr lang="en-US"/>
              <a:t> </a:t>
            </a:r>
            <a:r>
              <a:rPr lang="en-US" err="1"/>
              <a:t>adipiscing</a:t>
            </a:r>
            <a:r>
              <a:rPr lang="en-US"/>
              <a:t> </a:t>
            </a:r>
            <a:r>
              <a:rPr lang="en-US" err="1"/>
              <a:t>feugiat</a:t>
            </a:r>
            <a:r>
              <a:rPr lang="en-US"/>
              <a:t> </a:t>
            </a:r>
            <a:r>
              <a:rPr lang="en-US" err="1"/>
              <a:t>viverra</a:t>
            </a:r>
            <a:r>
              <a:rPr lang="en-US"/>
              <a:t> </a:t>
            </a:r>
            <a:r>
              <a:rPr lang="en-US" err="1"/>
              <a:t>facilisi</a:t>
            </a:r>
            <a:r>
              <a:rPr lang="en-US"/>
              <a:t>. </a:t>
            </a:r>
            <a:r>
              <a:rPr lang="en-US" err="1"/>
              <a:t>Tristique</a:t>
            </a:r>
            <a:r>
              <a:rPr lang="en-US"/>
              <a:t> </a:t>
            </a:r>
            <a:r>
              <a:rPr lang="en-US" err="1"/>
              <a:t>aliquet</a:t>
            </a:r>
            <a:r>
              <a:rPr lang="en-US"/>
              <a:t> </a:t>
            </a:r>
            <a:r>
              <a:rPr lang="en-US" err="1"/>
              <a:t>tempor</a:t>
            </a:r>
            <a:r>
              <a:rPr lang="en-US"/>
              <a:t>, </a:t>
            </a:r>
            <a:r>
              <a:rPr lang="en-US" err="1"/>
              <a:t>tortor</a:t>
            </a:r>
            <a:r>
              <a:rPr lang="en-US"/>
              <a:t> </a:t>
            </a:r>
            <a:r>
              <a:rPr lang="en-US" err="1"/>
              <a:t>amet</a:t>
            </a:r>
            <a:r>
              <a:rPr lang="en-US"/>
              <a:t> </a:t>
            </a:r>
            <a:r>
              <a:rPr lang="en-US" err="1"/>
              <a:t>scelerisque</a:t>
            </a:r>
            <a:r>
              <a:rPr lang="en-US"/>
              <a:t> fermentum. </a:t>
            </a:r>
            <a:r>
              <a:rPr lang="en-US" err="1"/>
              <a:t>Venenatis</a:t>
            </a:r>
            <a:r>
              <a:rPr lang="en-US"/>
              <a:t>, </a:t>
            </a:r>
            <a:r>
              <a:rPr lang="en-US" err="1"/>
              <a:t>quam</a:t>
            </a:r>
            <a:r>
              <a:rPr lang="en-US"/>
              <a:t> </a:t>
            </a:r>
            <a:r>
              <a:rPr lang="en-US" err="1"/>
              <a:t>consequat</a:t>
            </a:r>
            <a:r>
              <a:rPr lang="en-US"/>
              <a:t> </a:t>
            </a:r>
            <a:r>
              <a:rPr lang="en-US" err="1"/>
              <a:t>netus</a:t>
            </a:r>
            <a:r>
              <a:rPr lang="en-US"/>
              <a:t> magna </a:t>
            </a:r>
            <a:r>
              <a:rPr lang="en-US" err="1"/>
              <a:t>eleifend</a:t>
            </a:r>
            <a:r>
              <a:rPr lang="en-US"/>
              <a:t> </a:t>
            </a:r>
            <a:r>
              <a:rPr lang="en-US" err="1"/>
              <a:t>eget</a:t>
            </a:r>
            <a:r>
              <a:rPr lang="en-US"/>
              <a:t>. Eros </a:t>
            </a:r>
            <a:r>
              <a:rPr lang="en-US" err="1"/>
              <a:t>orci</a:t>
            </a:r>
            <a:r>
              <a:rPr lang="en-US"/>
              <a:t> </a:t>
            </a:r>
            <a:r>
              <a:rPr lang="en-US" err="1"/>
              <a:t>commodo</a:t>
            </a:r>
            <a:r>
              <a:rPr lang="en-US"/>
              <a:t> at </a:t>
            </a:r>
            <a:r>
              <a:rPr lang="en-US" err="1"/>
              <a:t>pellentesque</a:t>
            </a:r>
            <a:r>
              <a:rPr lang="en-US"/>
              <a:t> </a:t>
            </a:r>
            <a:r>
              <a:rPr lang="en-US" err="1"/>
              <a:t>tellus</a:t>
            </a:r>
            <a:r>
              <a:rPr lang="en-US"/>
              <a:t> </a:t>
            </a:r>
            <a:r>
              <a:rPr lang="en-US" err="1"/>
              <a:t>malesuada</a:t>
            </a:r>
            <a:r>
              <a:rPr lang="en-US"/>
              <a:t>. Leo dui </a:t>
            </a:r>
            <a:r>
              <a:rPr lang="en-US" err="1"/>
              <a:t>sapien</a:t>
            </a:r>
            <a:r>
              <a:rPr lang="en-US"/>
              <a:t>, </a:t>
            </a:r>
            <a:r>
              <a:rPr lang="en-US" err="1"/>
              <a:t>imperdiet</a:t>
            </a:r>
            <a:r>
              <a:rPr lang="en-US"/>
              <a:t> </a:t>
            </a:r>
            <a:r>
              <a:rPr lang="en-US" err="1"/>
              <a:t>molestie</a:t>
            </a:r>
            <a:r>
              <a:rPr lang="en-US"/>
              <a:t> </a:t>
            </a:r>
            <a:r>
              <a:rPr lang="en-US" err="1"/>
              <a:t>tristique</a:t>
            </a:r>
            <a:r>
              <a:rPr lang="en-US"/>
              <a:t>. Cras sit integer </a:t>
            </a:r>
            <a:r>
              <a:rPr lang="en-US" err="1"/>
              <a:t>porttitor</a:t>
            </a:r>
            <a:r>
              <a:rPr lang="en-US"/>
              <a:t> </a:t>
            </a:r>
            <a:r>
              <a:rPr lang="en-US" err="1"/>
              <a:t>enim</a:t>
            </a:r>
            <a:r>
              <a:rPr lang="en-US"/>
              <a:t> </a:t>
            </a:r>
            <a:r>
              <a:rPr lang="en-US" err="1"/>
              <a:t>mauris</a:t>
            </a:r>
            <a:r>
              <a:rPr lang="en-US"/>
              <a:t> </a:t>
            </a:r>
            <a:r>
              <a:rPr lang="en-US" err="1"/>
              <a:t>morbi</a:t>
            </a:r>
            <a:r>
              <a:rPr lang="en-US"/>
              <a:t> </a:t>
            </a:r>
            <a:r>
              <a:rPr lang="en-US" err="1"/>
              <a:t>tincidunt</a:t>
            </a:r>
            <a:r>
              <a:rPr lang="en-US"/>
              <a:t> </a:t>
            </a:r>
            <a:r>
              <a:rPr lang="en-US" err="1"/>
              <a:t>sem</a:t>
            </a:r>
            <a:r>
              <a:rPr lang="en-US"/>
              <a:t> </a:t>
            </a:r>
            <a:r>
              <a:rPr lang="en-US" err="1"/>
              <a:t>volutpat</a:t>
            </a:r>
            <a:r>
              <a:rPr lang="en-US"/>
              <a:t>. Magna in </a:t>
            </a:r>
            <a:r>
              <a:rPr lang="en-US" err="1"/>
              <a:t>aliquam</a:t>
            </a:r>
            <a:r>
              <a:rPr lang="en-US"/>
              <a:t> </a:t>
            </a:r>
            <a:r>
              <a:rPr lang="en-US" err="1"/>
              <a:t>eget</a:t>
            </a:r>
            <a:r>
              <a:rPr lang="en-US"/>
              <a:t> </a:t>
            </a:r>
            <a:r>
              <a:rPr lang="en-US" err="1"/>
              <a:t>consectetur</a:t>
            </a:r>
            <a:r>
              <a:rPr lang="en-US"/>
              <a:t> </a:t>
            </a:r>
            <a:r>
              <a:rPr lang="en-US" err="1"/>
              <a:t>consequat</a:t>
            </a:r>
            <a:r>
              <a:rPr lang="en-US"/>
              <a:t>. </a:t>
            </a:r>
            <a:r>
              <a:rPr lang="en-US" err="1"/>
              <a:t>Tortor</a:t>
            </a:r>
            <a:r>
              <a:rPr lang="en-US"/>
              <a:t> </a:t>
            </a:r>
            <a:r>
              <a:rPr lang="en-US" err="1"/>
              <a:t>rutrum</a:t>
            </a:r>
            <a:r>
              <a:rPr lang="en-US"/>
              <a:t> </a:t>
            </a:r>
            <a:r>
              <a:rPr lang="en-US" err="1"/>
              <a:t>laoreet</a:t>
            </a:r>
            <a:r>
              <a:rPr lang="en-US"/>
              <a:t> </a:t>
            </a:r>
            <a:r>
              <a:rPr lang="en-US" err="1"/>
              <a:t>morbi</a:t>
            </a:r>
            <a:r>
              <a:rPr lang="en-US"/>
              <a:t> </a:t>
            </a:r>
            <a:r>
              <a:rPr lang="en-US" err="1"/>
              <a:t>pretium</a:t>
            </a:r>
            <a:r>
              <a:rPr lang="en-US"/>
              <a:t> </a:t>
            </a:r>
            <a:r>
              <a:rPr lang="en-US" err="1"/>
              <a:t>nunc</a:t>
            </a:r>
            <a:r>
              <a:rPr lang="en-US"/>
              <a:t>, </a:t>
            </a:r>
            <a:r>
              <a:rPr lang="en-US" err="1"/>
              <a:t>massa</a:t>
            </a:r>
            <a:r>
              <a:rPr lang="en-US"/>
              <a:t> </a:t>
            </a:r>
            <a:r>
              <a:rPr lang="en-US" err="1"/>
              <a:t>tortor</a:t>
            </a:r>
            <a:r>
              <a:rPr lang="en-US"/>
              <a:t> </a:t>
            </a:r>
            <a:r>
              <a:rPr lang="en-US" err="1"/>
              <a:t>consequat</a:t>
            </a:r>
            <a:r>
              <a:rPr lang="en-US"/>
              <a:t> </a:t>
            </a:r>
            <a:r>
              <a:rPr lang="en-US" err="1"/>
              <a:t>urna</a:t>
            </a:r>
            <a:r>
              <a:rPr lang="en-US"/>
              <a:t>. </a:t>
            </a:r>
            <a:r>
              <a:rPr lang="en-US" err="1"/>
              <a:t>Risus</a:t>
            </a:r>
            <a:r>
              <a:rPr lang="en-US"/>
              <a:t> </a:t>
            </a:r>
            <a:r>
              <a:rPr lang="en-US" err="1"/>
              <a:t>etiam</a:t>
            </a:r>
            <a:r>
              <a:rPr lang="en-US"/>
              <a:t> </a:t>
            </a:r>
            <a:r>
              <a:rPr lang="en-US" err="1"/>
              <a:t>purus</a:t>
            </a:r>
            <a:r>
              <a:rPr lang="en-US"/>
              <a:t> </a:t>
            </a:r>
            <a:r>
              <a:rPr lang="en-US" err="1"/>
              <a:t>mauris</a:t>
            </a:r>
            <a:r>
              <a:rPr lang="en-US"/>
              <a:t> </a:t>
            </a:r>
            <a:r>
              <a:rPr lang="en-US" err="1"/>
              <a:t>donec</a:t>
            </a:r>
            <a:r>
              <a:rPr lang="en-US"/>
              <a:t>. </a:t>
            </a:r>
            <a:r>
              <a:rPr lang="en-US" err="1"/>
              <a:t>Netus</a:t>
            </a:r>
            <a:r>
              <a:rPr lang="en-US"/>
              <a:t> diam </a:t>
            </a:r>
            <a:r>
              <a:rPr lang="en-US" err="1"/>
              <a:t>massa</a:t>
            </a:r>
            <a:r>
              <a:rPr lang="en-US"/>
              <a:t> </a:t>
            </a:r>
            <a:r>
              <a:rPr lang="en-US" err="1"/>
              <a:t>ullamcorper</a:t>
            </a:r>
            <a:r>
              <a:rPr lang="en-US"/>
              <a:t> </a:t>
            </a:r>
            <a:r>
              <a:rPr lang="en-US" err="1"/>
              <a:t>proin</a:t>
            </a:r>
            <a:r>
              <a:rPr lang="en-US"/>
              <a:t> fermentum </a:t>
            </a:r>
            <a:r>
              <a:rPr lang="en-US" err="1"/>
              <a:t>egestas</a:t>
            </a:r>
            <a:r>
              <a:rPr lang="en-US"/>
              <a:t> et </a:t>
            </a:r>
            <a:r>
              <a:rPr lang="en-US" err="1"/>
              <a:t>quis</a:t>
            </a:r>
            <a:r>
              <a:rPr lang="en-US"/>
              <a:t>. </a:t>
            </a:r>
          </a:p>
        </p:txBody>
      </p:sp>
      <p:sp>
        <p:nvSpPr>
          <p:cNvPr id="10" name="Text Placeholder 4">
            <a:extLst>
              <a:ext uri="{FF2B5EF4-FFF2-40B4-BE49-F238E27FC236}">
                <a16:creationId xmlns:a16="http://schemas.microsoft.com/office/drawing/2014/main" id="{52343B4A-3451-DAED-5CA3-845DCEF785DA}"/>
              </a:ext>
            </a:extLst>
          </p:cNvPr>
          <p:cNvSpPr>
            <a:spLocks noGrp="1"/>
          </p:cNvSpPr>
          <p:nvPr>
            <p:ph type="body" sz="quarter" idx="26" hasCustomPrompt="1"/>
          </p:nvPr>
        </p:nvSpPr>
        <p:spPr>
          <a:xfrm>
            <a:off x="627063" y="2406797"/>
            <a:ext cx="4648200" cy="215444"/>
          </a:xfrm>
          <a:prstGeom prst="rect">
            <a:avLst/>
          </a:prstGeom>
        </p:spPr>
        <p:txBody>
          <a:bodyPr wrap="square" anchor="t" anchorCtr="0">
            <a:spAutoFit/>
          </a:bodyPr>
          <a:lstStyle>
            <a:lvl1pPr marL="0" marR="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sz="1400" b="1" i="0">
                <a:solidFill>
                  <a:schemeClr val="bg1"/>
                </a:solidFill>
                <a:latin typeface="Calibri" panose="020F0502020204030204" pitchFamily="34" charset="0"/>
                <a:cs typeface="Calibri" panose="020F0502020204030204" pitchFamily="34" charset="0"/>
              </a:defRPr>
            </a:lvl1pPr>
          </a:lstStyle>
          <a:p>
            <a:r>
              <a:rPr lang="en-US"/>
              <a:t>Title</a:t>
            </a:r>
          </a:p>
        </p:txBody>
      </p:sp>
      <p:sp>
        <p:nvSpPr>
          <p:cNvPr id="12" name="Picture Placeholder 11">
            <a:extLst>
              <a:ext uri="{FF2B5EF4-FFF2-40B4-BE49-F238E27FC236}">
                <a16:creationId xmlns:a16="http://schemas.microsoft.com/office/drawing/2014/main" id="{113F3B94-3699-B384-69C0-18FFCB0A6F02}"/>
              </a:ext>
            </a:extLst>
          </p:cNvPr>
          <p:cNvSpPr>
            <a:spLocks noGrp="1"/>
          </p:cNvSpPr>
          <p:nvPr>
            <p:ph type="pic" sz="quarter" idx="27"/>
          </p:nvPr>
        </p:nvSpPr>
        <p:spPr>
          <a:xfrm>
            <a:off x="6092952" y="0"/>
            <a:ext cx="6099048" cy="6858000"/>
          </a:xfrm>
          <a:prstGeom prst="rect">
            <a:avLst/>
          </a:prstGeom>
        </p:spPr>
        <p:txBody>
          <a:bodyPr/>
          <a:lstStyle/>
          <a:p>
            <a:endParaRPr lang="en-US"/>
          </a:p>
        </p:txBody>
      </p:sp>
      <p:sp>
        <p:nvSpPr>
          <p:cNvPr id="6" name="TextBox 5">
            <a:extLst>
              <a:ext uri="{FF2B5EF4-FFF2-40B4-BE49-F238E27FC236}">
                <a16:creationId xmlns:a16="http://schemas.microsoft.com/office/drawing/2014/main" id="{50024673-46D9-F66F-D8AA-1868CFC21AC5}"/>
              </a:ext>
            </a:extLst>
          </p:cNvPr>
          <p:cNvSpPr txBox="1"/>
          <p:nvPr userDrawn="1"/>
        </p:nvSpPr>
        <p:spPr>
          <a:xfrm>
            <a:off x="9539519" y="6406591"/>
            <a:ext cx="1723301" cy="218934"/>
          </a:xfrm>
          <a:prstGeom prst="rect">
            <a:avLst/>
          </a:prstGeom>
        </p:spPr>
        <p:txBody>
          <a:bodyPr vert="horz" lIns="0" tIns="0" rIns="0" bIns="0" rtlCol="0" anchor="ctr" anchorCtr="0">
            <a:noAutofit/>
          </a:bodyPr>
          <a:lstStyle>
            <a:defPPr>
              <a:defRPr lang="en-US"/>
            </a:defPPr>
            <a:lvl1pPr algn="r">
              <a:defRPr kumimoji="0" sz="600" b="0" i="0" u="none" strike="noStrike" cap="none" spc="0" normalizeH="0" baseline="0">
                <a:ln>
                  <a:noFill/>
                </a:ln>
                <a:solidFill>
                  <a:srgbClr val="222222"/>
                </a:solidFill>
                <a:effectLst/>
                <a:uLnTx/>
                <a:uFillTx/>
                <a:ea typeface="Calibri" panose="020F0502020204030204" pitchFamily="34" charset="0"/>
                <a:cs typeface="Calibri" panose="020F0502020204030204" pitchFamily="34" charset="0"/>
              </a:defRPr>
            </a:lvl1pPr>
          </a:lstStyle>
          <a:p>
            <a:pPr algn="r"/>
            <a:r>
              <a:rPr lang="en-US">
                <a:solidFill>
                  <a:srgbClr val="010000"/>
                </a:solidFill>
              </a:rPr>
              <a:t>EPAM Proprietary &amp; Confidential.</a:t>
            </a:r>
          </a:p>
        </p:txBody>
      </p:sp>
      <p:sp>
        <p:nvSpPr>
          <p:cNvPr id="14" name="Text Placeholder 10">
            <a:extLst>
              <a:ext uri="{FF2B5EF4-FFF2-40B4-BE49-F238E27FC236}">
                <a16:creationId xmlns:a16="http://schemas.microsoft.com/office/drawing/2014/main" id="{E833662F-D4EC-7E5B-F24F-AC7D0C84BFBD}"/>
              </a:ext>
            </a:extLst>
          </p:cNvPr>
          <p:cNvSpPr>
            <a:spLocks noGrp="1"/>
          </p:cNvSpPr>
          <p:nvPr>
            <p:ph type="body" sz="quarter" idx="28" hasCustomPrompt="1"/>
          </p:nvPr>
        </p:nvSpPr>
        <p:spPr>
          <a:xfrm>
            <a:off x="627063" y="419100"/>
            <a:ext cx="3725862" cy="225706"/>
          </a:xfrm>
          <a:prstGeom prst="rect">
            <a:avLst/>
          </a:prstGeom>
        </p:spPr>
        <p:txBody>
          <a:bodyPr vert="horz" lIns="0" tIns="0" rIns="0" bIns="0" rtlCol="0">
            <a:noAutofit/>
          </a:bodyPr>
          <a:lstStyle>
            <a:lvl1pPr>
              <a:defRPr lang="en-US" sz="1000" b="0" cap="all" spc="300" baseline="0">
                <a:solidFill>
                  <a:schemeClr val="bg1"/>
                </a:solidFill>
                <a:latin typeface="Calibri" panose="020F0502020204030204" pitchFamily="34" charset="0"/>
              </a:defRPr>
            </a:lvl1pPr>
          </a:lstStyle>
          <a:p>
            <a:pPr lvl="0"/>
            <a:r>
              <a:rPr lang="en-US"/>
              <a:t>Click to add section title</a:t>
            </a:r>
          </a:p>
        </p:txBody>
      </p:sp>
      <p:grpSp>
        <p:nvGrpSpPr>
          <p:cNvPr id="2" name="Group 1">
            <a:extLst>
              <a:ext uri="{FF2B5EF4-FFF2-40B4-BE49-F238E27FC236}">
                <a16:creationId xmlns:a16="http://schemas.microsoft.com/office/drawing/2014/main" id="{24B828FE-91E7-0003-819E-5ABBC4ACC7FA}"/>
              </a:ext>
            </a:extLst>
          </p:cNvPr>
          <p:cNvGrpSpPr/>
          <p:nvPr userDrawn="1"/>
        </p:nvGrpSpPr>
        <p:grpSpPr>
          <a:xfrm>
            <a:off x="610888" y="6472556"/>
            <a:ext cx="372834" cy="131175"/>
            <a:chOff x="14288" y="2035175"/>
            <a:chExt cx="10039350" cy="3532188"/>
          </a:xfrm>
          <a:solidFill>
            <a:schemeClr val="bg1"/>
          </a:solidFill>
        </p:grpSpPr>
        <p:sp>
          <p:nvSpPr>
            <p:cNvPr id="3" name="Freeform 1">
              <a:extLst>
                <a:ext uri="{FF2B5EF4-FFF2-40B4-BE49-F238E27FC236}">
                  <a16:creationId xmlns:a16="http://schemas.microsoft.com/office/drawing/2014/main" id="{6BBA2A19-4951-909F-DF3A-B6C43CCB08E5}"/>
                </a:ext>
              </a:extLst>
            </p:cNvPr>
            <p:cNvSpPr>
              <a:spLocks noChangeArrowheads="1"/>
            </p:cNvSpPr>
            <p:nvPr/>
          </p:nvSpPr>
          <p:spPr bwMode="auto">
            <a:xfrm>
              <a:off x="1519238" y="2035175"/>
              <a:ext cx="1336675" cy="2836863"/>
            </a:xfrm>
            <a:custGeom>
              <a:avLst/>
              <a:gdLst>
                <a:gd name="T0" fmla="*/ 390493 w 3714"/>
                <a:gd name="T1" fmla="*/ 1200682 h 7882"/>
                <a:gd name="T2" fmla="*/ 945462 w 3714"/>
                <a:gd name="T3" fmla="*/ 1200682 h 7882"/>
                <a:gd name="T4" fmla="*/ 945462 w 3714"/>
                <a:gd name="T5" fmla="*/ 611498 h 7882"/>
                <a:gd name="T6" fmla="*/ 698929 w 3714"/>
                <a:gd name="T7" fmla="*/ 364596 h 7882"/>
                <a:gd name="T8" fmla="*/ 637386 w 3714"/>
                <a:gd name="T9" fmla="*/ 364596 h 7882"/>
                <a:gd name="T10" fmla="*/ 390493 w 3714"/>
                <a:gd name="T11" fmla="*/ 611498 h 7882"/>
                <a:gd name="T12" fmla="*/ 390493 w 3714"/>
                <a:gd name="T13" fmla="*/ 1200682 h 7882"/>
                <a:gd name="T14" fmla="*/ 389414 w 3714"/>
                <a:gd name="T15" fmla="*/ 1576795 h 7882"/>
                <a:gd name="T16" fmla="*/ 390493 w 3714"/>
                <a:gd name="T17" fmla="*/ 2224645 h 7882"/>
                <a:gd name="T18" fmla="*/ 637386 w 3714"/>
                <a:gd name="T19" fmla="*/ 2471548 h 7882"/>
                <a:gd name="T20" fmla="*/ 709366 w 3714"/>
                <a:gd name="T21" fmla="*/ 2471548 h 7882"/>
                <a:gd name="T22" fmla="*/ 955899 w 3714"/>
                <a:gd name="T23" fmla="*/ 2224645 h 7882"/>
                <a:gd name="T24" fmla="*/ 955899 w 3714"/>
                <a:gd name="T25" fmla="*/ 1906119 h 7882"/>
                <a:gd name="T26" fmla="*/ 1336315 w 3714"/>
                <a:gd name="T27" fmla="*/ 1906119 h 7882"/>
                <a:gd name="T28" fmla="*/ 1336315 w 3714"/>
                <a:gd name="T29" fmla="*/ 2209528 h 7882"/>
                <a:gd name="T30" fmla="*/ 709366 w 3714"/>
                <a:gd name="T31" fmla="*/ 2836503 h 7882"/>
                <a:gd name="T32" fmla="*/ 626949 w 3714"/>
                <a:gd name="T33" fmla="*/ 2836503 h 7882"/>
                <a:gd name="T34" fmla="*/ 0 w 3714"/>
                <a:gd name="T35" fmla="*/ 2258117 h 7882"/>
                <a:gd name="T36" fmla="*/ 0 w 3714"/>
                <a:gd name="T37" fmla="*/ 675564 h 7882"/>
                <a:gd name="T38" fmla="*/ 626949 w 3714"/>
                <a:gd name="T39" fmla="*/ 0 h 7882"/>
                <a:gd name="T40" fmla="*/ 709366 w 3714"/>
                <a:gd name="T41" fmla="*/ 0 h 7882"/>
                <a:gd name="T42" fmla="*/ 1336315 w 3714"/>
                <a:gd name="T43" fmla="*/ 626975 h 7882"/>
                <a:gd name="T44" fmla="*/ 1334875 w 3714"/>
                <a:gd name="T45" fmla="*/ 1576795 h 7882"/>
                <a:gd name="T46" fmla="*/ 389414 w 3714"/>
                <a:gd name="T47" fmla="*/ 1576795 h 7882"/>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3714" h="7882">
                  <a:moveTo>
                    <a:pt x="1085" y="3336"/>
                  </a:moveTo>
                  <a:lnTo>
                    <a:pt x="2627" y="3336"/>
                  </a:lnTo>
                  <a:lnTo>
                    <a:pt x="2627" y="1699"/>
                  </a:lnTo>
                  <a:cubicBezTo>
                    <a:pt x="2627" y="1242"/>
                    <a:pt x="2399" y="1013"/>
                    <a:pt x="1942" y="1013"/>
                  </a:cubicBezTo>
                  <a:lnTo>
                    <a:pt x="1771" y="1013"/>
                  </a:lnTo>
                  <a:cubicBezTo>
                    <a:pt x="1314" y="1013"/>
                    <a:pt x="1085" y="1242"/>
                    <a:pt x="1085" y="1699"/>
                  </a:cubicBezTo>
                  <a:lnTo>
                    <a:pt x="1085" y="3336"/>
                  </a:lnTo>
                  <a:close/>
                  <a:moveTo>
                    <a:pt x="1082" y="4381"/>
                  </a:moveTo>
                  <a:lnTo>
                    <a:pt x="1085" y="6181"/>
                  </a:lnTo>
                  <a:cubicBezTo>
                    <a:pt x="1085" y="6638"/>
                    <a:pt x="1314" y="6867"/>
                    <a:pt x="1771" y="6867"/>
                  </a:cubicBezTo>
                  <a:lnTo>
                    <a:pt x="1971" y="6867"/>
                  </a:lnTo>
                  <a:cubicBezTo>
                    <a:pt x="2428" y="6867"/>
                    <a:pt x="2656" y="6638"/>
                    <a:pt x="2656" y="6181"/>
                  </a:cubicBezTo>
                  <a:lnTo>
                    <a:pt x="2656" y="5296"/>
                  </a:lnTo>
                  <a:lnTo>
                    <a:pt x="3713" y="5296"/>
                  </a:lnTo>
                  <a:lnTo>
                    <a:pt x="3713" y="6139"/>
                  </a:lnTo>
                  <a:cubicBezTo>
                    <a:pt x="3713" y="7295"/>
                    <a:pt x="3127" y="7881"/>
                    <a:pt x="1971" y="7881"/>
                  </a:cubicBezTo>
                  <a:lnTo>
                    <a:pt x="1742" y="7881"/>
                  </a:lnTo>
                  <a:cubicBezTo>
                    <a:pt x="585" y="7881"/>
                    <a:pt x="0" y="7295"/>
                    <a:pt x="0" y="6274"/>
                  </a:cubicBezTo>
                  <a:lnTo>
                    <a:pt x="0" y="1877"/>
                  </a:lnTo>
                  <a:cubicBezTo>
                    <a:pt x="0" y="585"/>
                    <a:pt x="585" y="0"/>
                    <a:pt x="1742" y="0"/>
                  </a:cubicBezTo>
                  <a:lnTo>
                    <a:pt x="1971" y="0"/>
                  </a:lnTo>
                  <a:cubicBezTo>
                    <a:pt x="3127" y="0"/>
                    <a:pt x="3713" y="585"/>
                    <a:pt x="3713" y="1742"/>
                  </a:cubicBezTo>
                  <a:lnTo>
                    <a:pt x="3709" y="4381"/>
                  </a:lnTo>
                  <a:lnTo>
                    <a:pt x="1082" y="4381"/>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endParaRPr lang="en-US"/>
            </a:p>
          </p:txBody>
        </p:sp>
        <p:sp>
          <p:nvSpPr>
            <p:cNvPr id="4" name="Freeform 2">
              <a:extLst>
                <a:ext uri="{FF2B5EF4-FFF2-40B4-BE49-F238E27FC236}">
                  <a16:creationId xmlns:a16="http://schemas.microsoft.com/office/drawing/2014/main" id="{F72E6B3E-56BC-DBEA-CCAE-019F908A8230}"/>
                </a:ext>
              </a:extLst>
            </p:cNvPr>
            <p:cNvSpPr>
              <a:spLocks noChangeArrowheads="1"/>
            </p:cNvSpPr>
            <p:nvPr/>
          </p:nvSpPr>
          <p:spPr bwMode="auto">
            <a:xfrm>
              <a:off x="3109913" y="2035175"/>
              <a:ext cx="1368425" cy="3532188"/>
            </a:xfrm>
            <a:custGeom>
              <a:avLst/>
              <a:gdLst>
                <a:gd name="T0" fmla="*/ 390721 w 3800"/>
                <a:gd name="T1" fmla="*/ 2322993 h 9812"/>
                <a:gd name="T2" fmla="*/ 750833 w 3800"/>
                <a:gd name="T3" fmla="*/ 2466628 h 9812"/>
                <a:gd name="T4" fmla="*/ 976983 w 3800"/>
                <a:gd name="T5" fmla="*/ 2240556 h 9812"/>
                <a:gd name="T6" fmla="*/ 976983 w 3800"/>
                <a:gd name="T7" fmla="*/ 596138 h 9812"/>
                <a:gd name="T8" fmla="*/ 750833 w 3800"/>
                <a:gd name="T9" fmla="*/ 370066 h 9812"/>
                <a:gd name="T10" fmla="*/ 390721 w 3800"/>
                <a:gd name="T11" fmla="*/ 514061 h 9812"/>
                <a:gd name="T12" fmla="*/ 390721 w 3800"/>
                <a:gd name="T13" fmla="*/ 2322993 h 9812"/>
                <a:gd name="T14" fmla="*/ 0 w 3800"/>
                <a:gd name="T15" fmla="*/ 30599 h 9812"/>
                <a:gd name="T16" fmla="*/ 390721 w 3800"/>
                <a:gd name="T17" fmla="*/ 30599 h 9812"/>
                <a:gd name="T18" fmla="*/ 390721 w 3800"/>
                <a:gd name="T19" fmla="*/ 210592 h 9812"/>
                <a:gd name="T20" fmla="*/ 868950 w 3800"/>
                <a:gd name="T21" fmla="*/ 0 h 9812"/>
                <a:gd name="T22" fmla="*/ 1368065 w 3800"/>
                <a:gd name="T23" fmla="*/ 549699 h 9812"/>
                <a:gd name="T24" fmla="*/ 1368065 w 3800"/>
                <a:gd name="T25" fmla="*/ 2286995 h 9812"/>
                <a:gd name="T26" fmla="*/ 868950 w 3800"/>
                <a:gd name="T27" fmla="*/ 2837054 h 9812"/>
                <a:gd name="T28" fmla="*/ 390721 w 3800"/>
                <a:gd name="T29" fmla="*/ 2636541 h 9812"/>
                <a:gd name="T30" fmla="*/ 390721 w 3800"/>
                <a:gd name="T31" fmla="*/ 3531828 h 9812"/>
                <a:gd name="T32" fmla="*/ 0 w 3800"/>
                <a:gd name="T33" fmla="*/ 3531828 h 9812"/>
                <a:gd name="T34" fmla="*/ 0 w 3800"/>
                <a:gd name="T35" fmla="*/ 30599 h 9812"/>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3800" h="9812">
                  <a:moveTo>
                    <a:pt x="1085" y="6453"/>
                  </a:moveTo>
                  <a:cubicBezTo>
                    <a:pt x="1385" y="6710"/>
                    <a:pt x="1728" y="6852"/>
                    <a:pt x="2085" y="6852"/>
                  </a:cubicBezTo>
                  <a:cubicBezTo>
                    <a:pt x="2485" y="6852"/>
                    <a:pt x="2713" y="6667"/>
                    <a:pt x="2713" y="6224"/>
                  </a:cubicBezTo>
                  <a:lnTo>
                    <a:pt x="2713" y="1656"/>
                  </a:lnTo>
                  <a:cubicBezTo>
                    <a:pt x="2713" y="1213"/>
                    <a:pt x="2485" y="1028"/>
                    <a:pt x="2085" y="1028"/>
                  </a:cubicBezTo>
                  <a:cubicBezTo>
                    <a:pt x="1728" y="1028"/>
                    <a:pt x="1385" y="1170"/>
                    <a:pt x="1085" y="1428"/>
                  </a:cubicBezTo>
                  <a:lnTo>
                    <a:pt x="1085" y="6453"/>
                  </a:lnTo>
                  <a:close/>
                  <a:moveTo>
                    <a:pt x="0" y="85"/>
                  </a:moveTo>
                  <a:lnTo>
                    <a:pt x="1085" y="85"/>
                  </a:lnTo>
                  <a:lnTo>
                    <a:pt x="1085" y="585"/>
                  </a:lnTo>
                  <a:cubicBezTo>
                    <a:pt x="1342" y="314"/>
                    <a:pt x="1785" y="0"/>
                    <a:pt x="2413" y="0"/>
                  </a:cubicBezTo>
                  <a:cubicBezTo>
                    <a:pt x="3342" y="0"/>
                    <a:pt x="3799" y="614"/>
                    <a:pt x="3799" y="1527"/>
                  </a:cubicBezTo>
                  <a:lnTo>
                    <a:pt x="3799" y="6353"/>
                  </a:lnTo>
                  <a:cubicBezTo>
                    <a:pt x="3799" y="7267"/>
                    <a:pt x="3342" y="7881"/>
                    <a:pt x="2413" y="7881"/>
                  </a:cubicBezTo>
                  <a:cubicBezTo>
                    <a:pt x="1785" y="7881"/>
                    <a:pt x="1342" y="7581"/>
                    <a:pt x="1085" y="7324"/>
                  </a:cubicBezTo>
                  <a:lnTo>
                    <a:pt x="1085" y="9811"/>
                  </a:lnTo>
                  <a:lnTo>
                    <a:pt x="0" y="9811"/>
                  </a:lnTo>
                  <a:lnTo>
                    <a:pt x="0" y="85"/>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endParaRPr lang="en-US"/>
            </a:p>
          </p:txBody>
        </p:sp>
        <p:sp>
          <p:nvSpPr>
            <p:cNvPr id="5" name="Freeform 3">
              <a:extLst>
                <a:ext uri="{FF2B5EF4-FFF2-40B4-BE49-F238E27FC236}">
                  <a16:creationId xmlns:a16="http://schemas.microsoft.com/office/drawing/2014/main" id="{099C80D4-255A-B7A9-263D-637E718FAB5B}"/>
                </a:ext>
              </a:extLst>
            </p:cNvPr>
            <p:cNvSpPr>
              <a:spLocks noChangeArrowheads="1"/>
            </p:cNvSpPr>
            <p:nvPr/>
          </p:nvSpPr>
          <p:spPr bwMode="auto">
            <a:xfrm>
              <a:off x="4711700" y="2035175"/>
              <a:ext cx="1328738" cy="2836863"/>
            </a:xfrm>
            <a:custGeom>
              <a:avLst/>
              <a:gdLst>
                <a:gd name="T0" fmla="*/ 937679 w 3690"/>
                <a:gd name="T1" fmla="*/ 2338019 h 7882"/>
                <a:gd name="T2" fmla="*/ 937679 w 3690"/>
                <a:gd name="T3" fmla="*/ 1422750 h 7882"/>
                <a:gd name="T4" fmla="*/ 582988 w 3690"/>
                <a:gd name="T5" fmla="*/ 1556999 h 7882"/>
                <a:gd name="T6" fmla="*/ 392500 w 3690"/>
                <a:gd name="T7" fmla="*/ 1844573 h 7882"/>
                <a:gd name="T8" fmla="*/ 392500 w 3690"/>
                <a:gd name="T9" fmla="*/ 2266035 h 7882"/>
                <a:gd name="T10" fmla="*/ 582988 w 3690"/>
                <a:gd name="T11" fmla="*/ 2466149 h 7882"/>
                <a:gd name="T12" fmla="*/ 937679 w 3690"/>
                <a:gd name="T13" fmla="*/ 2338019 h 7882"/>
                <a:gd name="T14" fmla="*/ 2161 w 3690"/>
                <a:gd name="T15" fmla="*/ 1839174 h 7882"/>
                <a:gd name="T16" fmla="*/ 413025 w 3690"/>
                <a:gd name="T17" fmla="*/ 1253950 h 7882"/>
                <a:gd name="T18" fmla="*/ 937679 w 3690"/>
                <a:gd name="T19" fmla="*/ 1073991 h 7882"/>
                <a:gd name="T20" fmla="*/ 937679 w 3690"/>
                <a:gd name="T21" fmla="*/ 611498 h 7882"/>
                <a:gd name="T22" fmla="*/ 690656 w 3690"/>
                <a:gd name="T23" fmla="*/ 359557 h 7882"/>
                <a:gd name="T24" fmla="*/ 627280 w 3690"/>
                <a:gd name="T25" fmla="*/ 359557 h 7882"/>
                <a:gd name="T26" fmla="*/ 380257 w 3690"/>
                <a:gd name="T27" fmla="*/ 611498 h 7882"/>
                <a:gd name="T28" fmla="*/ 380257 w 3690"/>
                <a:gd name="T29" fmla="*/ 1004527 h 7882"/>
                <a:gd name="T30" fmla="*/ 0 w 3690"/>
                <a:gd name="T31" fmla="*/ 1004527 h 7882"/>
                <a:gd name="T32" fmla="*/ 0 w 3690"/>
                <a:gd name="T33" fmla="*/ 626975 h 7882"/>
                <a:gd name="T34" fmla="*/ 627280 w 3690"/>
                <a:gd name="T35" fmla="*/ 0 h 7882"/>
                <a:gd name="T36" fmla="*/ 701098 w 3690"/>
                <a:gd name="T37" fmla="*/ 0 h 7882"/>
                <a:gd name="T38" fmla="*/ 1328378 w 3690"/>
                <a:gd name="T39" fmla="*/ 626975 h 7882"/>
                <a:gd name="T40" fmla="*/ 1328378 w 3690"/>
                <a:gd name="T41" fmla="*/ 2805550 h 7882"/>
                <a:gd name="T42" fmla="*/ 937679 w 3690"/>
                <a:gd name="T43" fmla="*/ 2805550 h 7882"/>
                <a:gd name="T44" fmla="*/ 937679 w 3690"/>
                <a:gd name="T45" fmla="*/ 2630631 h 7882"/>
                <a:gd name="T46" fmla="*/ 459477 w 3690"/>
                <a:gd name="T47" fmla="*/ 2836503 h 7882"/>
                <a:gd name="T48" fmla="*/ 2161 w 3690"/>
                <a:gd name="T49" fmla="*/ 2348096 h 7882"/>
                <a:gd name="T50" fmla="*/ 2161 w 3690"/>
                <a:gd name="T51" fmla="*/ 1839174 h 7882"/>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3690" h="7882">
                  <a:moveTo>
                    <a:pt x="2604" y="6496"/>
                  </a:moveTo>
                  <a:lnTo>
                    <a:pt x="2604" y="3953"/>
                  </a:lnTo>
                  <a:lnTo>
                    <a:pt x="1619" y="4326"/>
                  </a:lnTo>
                  <a:cubicBezTo>
                    <a:pt x="1219" y="4483"/>
                    <a:pt x="1090" y="4683"/>
                    <a:pt x="1090" y="5125"/>
                  </a:cubicBezTo>
                  <a:lnTo>
                    <a:pt x="1090" y="6296"/>
                  </a:lnTo>
                  <a:cubicBezTo>
                    <a:pt x="1090" y="6667"/>
                    <a:pt x="1276" y="6852"/>
                    <a:pt x="1619" y="6852"/>
                  </a:cubicBezTo>
                  <a:cubicBezTo>
                    <a:pt x="1947" y="6852"/>
                    <a:pt x="2247" y="6738"/>
                    <a:pt x="2604" y="6496"/>
                  </a:cubicBezTo>
                  <a:close/>
                  <a:moveTo>
                    <a:pt x="6" y="5110"/>
                  </a:moveTo>
                  <a:cubicBezTo>
                    <a:pt x="6" y="4155"/>
                    <a:pt x="320" y="3769"/>
                    <a:pt x="1147" y="3484"/>
                  </a:cubicBezTo>
                  <a:lnTo>
                    <a:pt x="2604" y="2984"/>
                  </a:lnTo>
                  <a:lnTo>
                    <a:pt x="2604" y="1699"/>
                  </a:lnTo>
                  <a:cubicBezTo>
                    <a:pt x="2604" y="1242"/>
                    <a:pt x="2375" y="999"/>
                    <a:pt x="1918" y="999"/>
                  </a:cubicBezTo>
                  <a:lnTo>
                    <a:pt x="1742" y="999"/>
                  </a:lnTo>
                  <a:cubicBezTo>
                    <a:pt x="1285" y="999"/>
                    <a:pt x="1056" y="1242"/>
                    <a:pt x="1056" y="1699"/>
                  </a:cubicBezTo>
                  <a:lnTo>
                    <a:pt x="1056" y="2791"/>
                  </a:lnTo>
                  <a:lnTo>
                    <a:pt x="0" y="2791"/>
                  </a:lnTo>
                  <a:lnTo>
                    <a:pt x="0" y="1742"/>
                  </a:lnTo>
                  <a:cubicBezTo>
                    <a:pt x="0" y="585"/>
                    <a:pt x="586" y="0"/>
                    <a:pt x="1742" y="0"/>
                  </a:cubicBezTo>
                  <a:lnTo>
                    <a:pt x="1947" y="0"/>
                  </a:lnTo>
                  <a:cubicBezTo>
                    <a:pt x="3104" y="0"/>
                    <a:pt x="3689" y="585"/>
                    <a:pt x="3689" y="1742"/>
                  </a:cubicBezTo>
                  <a:lnTo>
                    <a:pt x="3689" y="7795"/>
                  </a:lnTo>
                  <a:lnTo>
                    <a:pt x="2604" y="7795"/>
                  </a:lnTo>
                  <a:lnTo>
                    <a:pt x="2604" y="7309"/>
                  </a:lnTo>
                  <a:cubicBezTo>
                    <a:pt x="2304" y="7595"/>
                    <a:pt x="1904" y="7881"/>
                    <a:pt x="1276" y="7881"/>
                  </a:cubicBezTo>
                  <a:cubicBezTo>
                    <a:pt x="406" y="7881"/>
                    <a:pt x="6" y="7381"/>
                    <a:pt x="6" y="6524"/>
                  </a:cubicBezTo>
                  <a:lnTo>
                    <a:pt x="6" y="5110"/>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endParaRPr lang="en-US"/>
            </a:p>
          </p:txBody>
        </p:sp>
        <p:sp>
          <p:nvSpPr>
            <p:cNvPr id="13" name="Freeform 4">
              <a:extLst>
                <a:ext uri="{FF2B5EF4-FFF2-40B4-BE49-F238E27FC236}">
                  <a16:creationId xmlns:a16="http://schemas.microsoft.com/office/drawing/2014/main" id="{2BECBC49-FC6C-EC02-0E08-A2A39F9028C8}"/>
                </a:ext>
              </a:extLst>
            </p:cNvPr>
            <p:cNvSpPr>
              <a:spLocks noChangeArrowheads="1"/>
            </p:cNvSpPr>
            <p:nvPr/>
          </p:nvSpPr>
          <p:spPr bwMode="auto">
            <a:xfrm>
              <a:off x="6292850" y="2035175"/>
              <a:ext cx="2262188" cy="2806700"/>
            </a:xfrm>
            <a:custGeom>
              <a:avLst/>
              <a:gdLst>
                <a:gd name="T0" fmla="*/ 1326358 w 6285"/>
                <a:gd name="T1" fmla="*/ 2806340 h 7796"/>
                <a:gd name="T2" fmla="*/ 935470 w 6285"/>
                <a:gd name="T3" fmla="*/ 2806340 h 7796"/>
                <a:gd name="T4" fmla="*/ 935470 w 6285"/>
                <a:gd name="T5" fmla="*/ 570628 h 7796"/>
                <a:gd name="T6" fmla="*/ 750463 w 6285"/>
                <a:gd name="T7" fmla="*/ 370098 h 7796"/>
                <a:gd name="T8" fmla="*/ 390889 w 6285"/>
                <a:gd name="T9" fmla="*/ 508705 h 7796"/>
                <a:gd name="T10" fmla="*/ 390889 w 6285"/>
                <a:gd name="T11" fmla="*/ 2806340 h 7796"/>
                <a:gd name="T12" fmla="*/ 0 w 6285"/>
                <a:gd name="T13" fmla="*/ 2806340 h 7796"/>
                <a:gd name="T14" fmla="*/ 0 w 6285"/>
                <a:gd name="T15" fmla="*/ 30602 h 7796"/>
                <a:gd name="T16" fmla="*/ 390889 w 6285"/>
                <a:gd name="T17" fmla="*/ 30602 h 7796"/>
                <a:gd name="T18" fmla="*/ 390889 w 6285"/>
                <a:gd name="T19" fmla="*/ 210611 h 7796"/>
                <a:gd name="T20" fmla="*/ 868882 w 6285"/>
                <a:gd name="T21" fmla="*/ 0 h 7796"/>
                <a:gd name="T22" fmla="*/ 1274888 w 6285"/>
                <a:gd name="T23" fmla="*/ 226091 h 7796"/>
                <a:gd name="T24" fmla="*/ 1804351 w 6285"/>
                <a:gd name="T25" fmla="*/ 0 h 7796"/>
                <a:gd name="T26" fmla="*/ 2261828 w 6285"/>
                <a:gd name="T27" fmla="*/ 488184 h 7796"/>
                <a:gd name="T28" fmla="*/ 2261828 w 6285"/>
                <a:gd name="T29" fmla="*/ 2806340 h 7796"/>
                <a:gd name="T30" fmla="*/ 1870939 w 6285"/>
                <a:gd name="T31" fmla="*/ 2806340 h 7796"/>
                <a:gd name="T32" fmla="*/ 1870939 w 6285"/>
                <a:gd name="T33" fmla="*/ 570628 h 7796"/>
                <a:gd name="T34" fmla="*/ 1685933 w 6285"/>
                <a:gd name="T35" fmla="*/ 370098 h 7796"/>
                <a:gd name="T36" fmla="*/ 1326358 w 6285"/>
                <a:gd name="T37" fmla="*/ 508705 h 7796"/>
                <a:gd name="T38" fmla="*/ 1326358 w 6285"/>
                <a:gd name="T39" fmla="*/ 2806340 h 779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6285" h="7796">
                  <a:moveTo>
                    <a:pt x="3685" y="7795"/>
                  </a:moveTo>
                  <a:lnTo>
                    <a:pt x="2599" y="7795"/>
                  </a:lnTo>
                  <a:lnTo>
                    <a:pt x="2599" y="1585"/>
                  </a:lnTo>
                  <a:cubicBezTo>
                    <a:pt x="2599" y="1199"/>
                    <a:pt x="2414" y="1028"/>
                    <a:pt x="2085" y="1028"/>
                  </a:cubicBezTo>
                  <a:cubicBezTo>
                    <a:pt x="1785" y="1028"/>
                    <a:pt x="1471" y="1142"/>
                    <a:pt x="1086" y="1413"/>
                  </a:cubicBezTo>
                  <a:lnTo>
                    <a:pt x="1086" y="7795"/>
                  </a:lnTo>
                  <a:lnTo>
                    <a:pt x="0" y="7795"/>
                  </a:lnTo>
                  <a:lnTo>
                    <a:pt x="0" y="85"/>
                  </a:lnTo>
                  <a:lnTo>
                    <a:pt x="1086" y="85"/>
                  </a:lnTo>
                  <a:lnTo>
                    <a:pt x="1086" y="585"/>
                  </a:lnTo>
                  <a:cubicBezTo>
                    <a:pt x="1400" y="285"/>
                    <a:pt x="1814" y="0"/>
                    <a:pt x="2414" y="0"/>
                  </a:cubicBezTo>
                  <a:cubicBezTo>
                    <a:pt x="2971" y="0"/>
                    <a:pt x="3342" y="228"/>
                    <a:pt x="3542" y="628"/>
                  </a:cubicBezTo>
                  <a:cubicBezTo>
                    <a:pt x="3928" y="299"/>
                    <a:pt x="4385" y="0"/>
                    <a:pt x="5013" y="0"/>
                  </a:cubicBezTo>
                  <a:cubicBezTo>
                    <a:pt x="5855" y="0"/>
                    <a:pt x="6284" y="514"/>
                    <a:pt x="6284" y="1356"/>
                  </a:cubicBezTo>
                  <a:lnTo>
                    <a:pt x="6284" y="7795"/>
                  </a:lnTo>
                  <a:lnTo>
                    <a:pt x="5198" y="7795"/>
                  </a:lnTo>
                  <a:lnTo>
                    <a:pt x="5198" y="1585"/>
                  </a:lnTo>
                  <a:cubicBezTo>
                    <a:pt x="5198" y="1199"/>
                    <a:pt x="5013" y="1028"/>
                    <a:pt x="4684" y="1028"/>
                  </a:cubicBezTo>
                  <a:cubicBezTo>
                    <a:pt x="4385" y="1028"/>
                    <a:pt x="4070" y="1142"/>
                    <a:pt x="3685" y="1413"/>
                  </a:cubicBezTo>
                  <a:lnTo>
                    <a:pt x="3685" y="7795"/>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endParaRPr lang="en-US"/>
            </a:p>
          </p:txBody>
        </p:sp>
        <p:sp>
          <p:nvSpPr>
            <p:cNvPr id="15" name="Freeform 5">
              <a:extLst>
                <a:ext uri="{FF2B5EF4-FFF2-40B4-BE49-F238E27FC236}">
                  <a16:creationId xmlns:a16="http://schemas.microsoft.com/office/drawing/2014/main" id="{E34154A5-2501-F363-1869-DA20EF43D9CA}"/>
                </a:ext>
              </a:extLst>
            </p:cNvPr>
            <p:cNvSpPr>
              <a:spLocks noChangeArrowheads="1"/>
            </p:cNvSpPr>
            <p:nvPr/>
          </p:nvSpPr>
          <p:spPr bwMode="auto">
            <a:xfrm>
              <a:off x="14288" y="2322513"/>
              <a:ext cx="1004887" cy="2274887"/>
            </a:xfrm>
            <a:custGeom>
              <a:avLst/>
              <a:gdLst>
                <a:gd name="T0" fmla="*/ 1004527 w 2790"/>
                <a:gd name="T1" fmla="*/ 0 h 6317"/>
                <a:gd name="T2" fmla="*/ 1004527 w 2790"/>
                <a:gd name="T3" fmla="*/ 510652 h 6317"/>
                <a:gd name="T4" fmla="*/ 346488 w 2790"/>
                <a:gd name="T5" fmla="*/ 1137624 h 6317"/>
                <a:gd name="T6" fmla="*/ 1004527 w 2790"/>
                <a:gd name="T7" fmla="*/ 1752711 h 6317"/>
                <a:gd name="T8" fmla="*/ 1004527 w 2790"/>
                <a:gd name="T9" fmla="*/ 2274527 h 6317"/>
                <a:gd name="T10" fmla="*/ 0 w 2790"/>
                <a:gd name="T11" fmla="*/ 1331009 h 6317"/>
                <a:gd name="T12" fmla="*/ 0 w 2790"/>
                <a:gd name="T13" fmla="*/ 955042 h 6317"/>
                <a:gd name="T14" fmla="*/ 1004527 w 2790"/>
                <a:gd name="T15" fmla="*/ 0 h 6317"/>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2790" h="6317">
                  <a:moveTo>
                    <a:pt x="2789" y="0"/>
                  </a:moveTo>
                  <a:lnTo>
                    <a:pt x="2789" y="1418"/>
                  </a:lnTo>
                  <a:lnTo>
                    <a:pt x="962" y="3159"/>
                  </a:lnTo>
                  <a:lnTo>
                    <a:pt x="2789" y="4867"/>
                  </a:lnTo>
                  <a:lnTo>
                    <a:pt x="2789" y="6316"/>
                  </a:lnTo>
                  <a:lnTo>
                    <a:pt x="0" y="3696"/>
                  </a:lnTo>
                  <a:lnTo>
                    <a:pt x="0" y="2652"/>
                  </a:lnTo>
                  <a:lnTo>
                    <a:pt x="2789"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endParaRPr lang="en-US"/>
            </a:p>
          </p:txBody>
        </p:sp>
        <p:sp>
          <p:nvSpPr>
            <p:cNvPr id="16" name="Freeform 6">
              <a:extLst>
                <a:ext uri="{FF2B5EF4-FFF2-40B4-BE49-F238E27FC236}">
                  <a16:creationId xmlns:a16="http://schemas.microsoft.com/office/drawing/2014/main" id="{379B02E5-7867-BFD5-D1B5-3F16E84157FC}"/>
                </a:ext>
              </a:extLst>
            </p:cNvPr>
            <p:cNvSpPr>
              <a:spLocks noChangeArrowheads="1"/>
            </p:cNvSpPr>
            <p:nvPr/>
          </p:nvSpPr>
          <p:spPr bwMode="auto">
            <a:xfrm>
              <a:off x="9050338" y="2322513"/>
              <a:ext cx="1003300" cy="2274887"/>
            </a:xfrm>
            <a:custGeom>
              <a:avLst/>
              <a:gdLst>
                <a:gd name="T0" fmla="*/ 1002940 w 2789"/>
                <a:gd name="T1" fmla="*/ 955042 h 6317"/>
                <a:gd name="T2" fmla="*/ 1002940 w 2789"/>
                <a:gd name="T3" fmla="*/ 1331009 h 6317"/>
                <a:gd name="T4" fmla="*/ 0 w 2789"/>
                <a:gd name="T5" fmla="*/ 2274527 h 6317"/>
                <a:gd name="T6" fmla="*/ 0 w 2789"/>
                <a:gd name="T7" fmla="*/ 1752711 h 6317"/>
                <a:gd name="T8" fmla="*/ 656876 w 2789"/>
                <a:gd name="T9" fmla="*/ 1137624 h 6317"/>
                <a:gd name="T10" fmla="*/ 0 w 2789"/>
                <a:gd name="T11" fmla="*/ 510652 h 6317"/>
                <a:gd name="T12" fmla="*/ 0 w 2789"/>
                <a:gd name="T13" fmla="*/ 0 h 6317"/>
                <a:gd name="T14" fmla="*/ 1002940 w 2789"/>
                <a:gd name="T15" fmla="*/ 955042 h 6317"/>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2789" h="6317">
                  <a:moveTo>
                    <a:pt x="2788" y="2652"/>
                  </a:moveTo>
                  <a:lnTo>
                    <a:pt x="2788" y="3696"/>
                  </a:lnTo>
                  <a:lnTo>
                    <a:pt x="0" y="6316"/>
                  </a:lnTo>
                  <a:lnTo>
                    <a:pt x="0" y="4867"/>
                  </a:lnTo>
                  <a:lnTo>
                    <a:pt x="1826" y="3159"/>
                  </a:lnTo>
                  <a:lnTo>
                    <a:pt x="0" y="1418"/>
                  </a:lnTo>
                  <a:lnTo>
                    <a:pt x="0" y="0"/>
                  </a:lnTo>
                  <a:lnTo>
                    <a:pt x="2788" y="2652"/>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endParaRPr lang="en-US"/>
            </a:p>
          </p:txBody>
        </p:sp>
      </p:grpSp>
      <p:sp>
        <p:nvSpPr>
          <p:cNvPr id="17" name="Footer Placeholder 14">
            <a:extLst>
              <a:ext uri="{FF2B5EF4-FFF2-40B4-BE49-F238E27FC236}">
                <a16:creationId xmlns:a16="http://schemas.microsoft.com/office/drawing/2014/main" id="{436969BC-59D6-61F8-E6B2-8E8182F15F3A}"/>
              </a:ext>
            </a:extLst>
          </p:cNvPr>
          <p:cNvSpPr txBox="1">
            <a:spLocks/>
          </p:cNvSpPr>
          <p:nvPr userDrawn="1"/>
        </p:nvSpPr>
        <p:spPr>
          <a:xfrm>
            <a:off x="1206203" y="6411603"/>
            <a:ext cx="2157779" cy="228599"/>
          </a:xfrm>
          <a:prstGeom prst="rect">
            <a:avLst/>
          </a:prstGeom>
        </p:spPr>
        <p:txBody>
          <a:bodyPr vert="horz" lIns="0" tIns="0" rIns="0" bIns="0" rtlCol="0" anchor="ctr"/>
          <a:lstStyle>
            <a:defPPr>
              <a:defRPr lang="en-US"/>
            </a:defPPr>
            <a:lvl1pPr marL="0" algn="r" defTabSz="914400" rtl="0" eaLnBrk="1" latinLnBrk="0" hangingPunct="1">
              <a:defRPr sz="600" b="0" i="0" kern="1200">
                <a:solidFill>
                  <a:schemeClr val="tx1"/>
                </a:solidFill>
                <a:latin typeface="+mn-lt"/>
                <a:ea typeface="Calibri" panose="020F0502020204030204" pitchFamily="34" charset="0"/>
                <a:cs typeface="Calibri" panose="020F050202020403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b="0" i="0">
                <a:solidFill>
                  <a:schemeClr val="bg1"/>
                </a:solidFill>
                <a:latin typeface="+mn-lt"/>
              </a:rPr>
              <a:t>EPAM Proprietary &amp; Confidential</a:t>
            </a:r>
            <a:r>
              <a:rPr lang="ru-RU" b="0" i="0">
                <a:solidFill>
                  <a:schemeClr val="bg1"/>
                </a:solidFill>
                <a:latin typeface="+mn-lt"/>
              </a:rPr>
              <a:t> </a:t>
            </a:r>
            <a:endParaRPr lang="en-US" b="0" i="0">
              <a:solidFill>
                <a:schemeClr val="bg1"/>
              </a:solidFill>
              <a:latin typeface="+mn-lt"/>
            </a:endParaRPr>
          </a:p>
        </p:txBody>
      </p:sp>
      <p:pic>
        <p:nvPicPr>
          <p:cNvPr id="11" name="Graphic 10">
            <a:extLst>
              <a:ext uri="{FF2B5EF4-FFF2-40B4-BE49-F238E27FC236}">
                <a16:creationId xmlns:a16="http://schemas.microsoft.com/office/drawing/2014/main" id="{196A3584-F266-BBDE-6741-937B80EE9AF8}"/>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820266" y="6419060"/>
            <a:ext cx="762921" cy="205636"/>
          </a:xfrm>
          <a:prstGeom prst="rect">
            <a:avLst/>
          </a:prstGeom>
        </p:spPr>
      </p:pic>
    </p:spTree>
    <p:extLst>
      <p:ext uri="{BB962C8B-B14F-4D97-AF65-F5344CB8AC3E}">
        <p14:creationId xmlns:p14="http://schemas.microsoft.com/office/powerpoint/2010/main" val="3199556927"/>
      </p:ext>
    </p:extLst>
  </p:cSld>
  <p:clrMapOvr>
    <a:masterClrMapping/>
  </p:clrMapOvr>
  <p:extLst>
    <p:ext uri="{DCECCB84-F9BA-43D5-87BE-67443E8EF086}">
      <p15:sldGuideLst xmlns:p15="http://schemas.microsoft.com/office/powerpoint/2012/main"/>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eam Bio">
    <p:spTree>
      <p:nvGrpSpPr>
        <p:cNvPr id="1" name=""/>
        <p:cNvGrpSpPr/>
        <p:nvPr/>
      </p:nvGrpSpPr>
      <p:grpSpPr>
        <a:xfrm>
          <a:off x="0" y="0"/>
          <a:ext cx="0" cy="0"/>
          <a:chOff x="0" y="0"/>
          <a:chExt cx="0" cy="0"/>
        </a:xfrm>
      </p:grpSpPr>
      <p:sp>
        <p:nvSpPr>
          <p:cNvPr id="2" name="Text Placeholder 4">
            <a:extLst>
              <a:ext uri="{FF2B5EF4-FFF2-40B4-BE49-F238E27FC236}">
                <a16:creationId xmlns:a16="http://schemas.microsoft.com/office/drawing/2014/main" id="{F2448A75-7F43-265B-5CE3-F67F20CBF63F}"/>
              </a:ext>
            </a:extLst>
          </p:cNvPr>
          <p:cNvSpPr>
            <a:spLocks noGrp="1"/>
          </p:cNvSpPr>
          <p:nvPr>
            <p:ph type="body" sz="quarter" idx="25" hasCustomPrompt="1"/>
          </p:nvPr>
        </p:nvSpPr>
        <p:spPr>
          <a:xfrm>
            <a:off x="647700" y="3856472"/>
            <a:ext cx="3467100" cy="564322"/>
          </a:xfrm>
          <a:prstGeom prst="rect">
            <a:avLst/>
          </a:prstGeom>
        </p:spPr>
        <p:txBody>
          <a:bodyPr wrap="square">
            <a:spAutoFit/>
          </a:bodyPr>
          <a:lstStyle>
            <a:lvl1pPr>
              <a:lnSpc>
                <a:spcPts val="4600"/>
              </a:lnSpc>
              <a:spcBef>
                <a:spcPts val="0"/>
              </a:spcBef>
              <a:defRPr sz="3200" b="0" i="0" spc="0">
                <a:solidFill>
                  <a:schemeClr val="accent6"/>
                </a:solidFill>
                <a:latin typeface="Calibri" panose="020F0502020204030204" pitchFamily="34" charset="0"/>
                <a:cs typeface="Calibri" panose="020F0502020204030204" pitchFamily="34" charset="0"/>
              </a:defRPr>
            </a:lvl1pPr>
            <a:lvl2pPr>
              <a:buNone/>
              <a:defRPr/>
            </a:lvl2pPr>
          </a:lstStyle>
          <a:p>
            <a:pPr lvl="0"/>
            <a:r>
              <a:rPr lang="en-US">
                <a:effectLst/>
              </a:rPr>
              <a:t>Name </a:t>
            </a:r>
            <a:r>
              <a:rPr lang="en-US" err="1">
                <a:effectLst/>
              </a:rPr>
              <a:t>Lastname</a:t>
            </a:r>
            <a:endParaRPr lang="en-US"/>
          </a:p>
        </p:txBody>
      </p:sp>
      <p:sp>
        <p:nvSpPr>
          <p:cNvPr id="3" name="Text Placeholder 4">
            <a:extLst>
              <a:ext uri="{FF2B5EF4-FFF2-40B4-BE49-F238E27FC236}">
                <a16:creationId xmlns:a16="http://schemas.microsoft.com/office/drawing/2014/main" id="{3CE7BB97-0094-DE8F-1C32-652425F20F96}"/>
              </a:ext>
            </a:extLst>
          </p:cNvPr>
          <p:cNvSpPr>
            <a:spLocks noGrp="1"/>
          </p:cNvSpPr>
          <p:nvPr>
            <p:ph type="body" sz="quarter" idx="16" hasCustomPrompt="1"/>
          </p:nvPr>
        </p:nvSpPr>
        <p:spPr>
          <a:xfrm>
            <a:off x="647700" y="4890116"/>
            <a:ext cx="4648200" cy="1265667"/>
          </a:xfrm>
          <a:prstGeom prst="rect">
            <a:avLst/>
          </a:prstGeom>
        </p:spPr>
        <p:txBody>
          <a:bodyPr wrap="square" anchor="t" anchorCtr="0">
            <a:spAutoFit/>
          </a:bodyPr>
          <a:lstStyle>
            <a:lvl1pPr marL="0" marR="0" indent="0" algn="l" defTabSz="914400" rtl="0" eaLnBrk="1" fontAlgn="auto" latinLnBrk="0" hangingPunct="1">
              <a:lnSpc>
                <a:spcPts val="2000"/>
              </a:lnSpc>
              <a:spcBef>
                <a:spcPts val="600"/>
              </a:spcBef>
              <a:spcAft>
                <a:spcPts val="0"/>
              </a:spcAft>
              <a:buClrTx/>
              <a:buSzTx/>
              <a:buFont typeface="Arial" panose="020B0604020202020204" pitchFamily="34" charset="0"/>
              <a:buNone/>
              <a:tabLst/>
              <a:defRPr sz="1400" b="0" i="0">
                <a:solidFill>
                  <a:schemeClr val="tx1"/>
                </a:solidFill>
                <a:latin typeface="Calibri Light" panose="020F0302020204030204" pitchFamily="34" charset="0"/>
                <a:cs typeface="Calibri Light" panose="020F0302020204030204" pitchFamily="34" charset="0"/>
              </a:defRPr>
            </a:lvl1pPr>
          </a:lstStyle>
          <a:p>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Leo </a:t>
            </a:r>
            <a:r>
              <a:rPr lang="en-US" err="1"/>
              <a:t>luctus</a:t>
            </a:r>
            <a:r>
              <a:rPr lang="en-US"/>
              <a:t> </a:t>
            </a:r>
            <a:r>
              <a:rPr lang="en-US" err="1"/>
              <a:t>adipiscing</a:t>
            </a:r>
            <a:r>
              <a:rPr lang="en-US"/>
              <a:t> </a:t>
            </a:r>
            <a:r>
              <a:rPr lang="en-US" err="1"/>
              <a:t>feugiat</a:t>
            </a:r>
            <a:r>
              <a:rPr lang="en-US"/>
              <a:t> </a:t>
            </a:r>
            <a:r>
              <a:rPr lang="en-US" err="1"/>
              <a:t>viverra</a:t>
            </a:r>
            <a:r>
              <a:rPr lang="en-US"/>
              <a:t> </a:t>
            </a:r>
            <a:r>
              <a:rPr lang="en-US" err="1"/>
              <a:t>facilisi</a:t>
            </a:r>
            <a:r>
              <a:rPr lang="en-US"/>
              <a:t>. </a:t>
            </a:r>
            <a:r>
              <a:rPr lang="en-US" err="1"/>
              <a:t>Tristique</a:t>
            </a:r>
            <a:r>
              <a:rPr lang="en-US"/>
              <a:t> </a:t>
            </a:r>
            <a:r>
              <a:rPr lang="en-US" err="1"/>
              <a:t>aliquet</a:t>
            </a:r>
            <a:r>
              <a:rPr lang="en-US"/>
              <a:t> </a:t>
            </a:r>
            <a:r>
              <a:rPr lang="en-US" err="1"/>
              <a:t>tempor</a:t>
            </a:r>
            <a:r>
              <a:rPr lang="en-US"/>
              <a:t>, </a:t>
            </a:r>
            <a:r>
              <a:rPr lang="en-US" err="1"/>
              <a:t>tortor</a:t>
            </a:r>
            <a:r>
              <a:rPr lang="en-US"/>
              <a:t> </a:t>
            </a:r>
            <a:r>
              <a:rPr lang="en-US" err="1"/>
              <a:t>amet</a:t>
            </a:r>
            <a:r>
              <a:rPr lang="en-US"/>
              <a:t> </a:t>
            </a:r>
            <a:r>
              <a:rPr lang="en-US" err="1"/>
              <a:t>scelerisque</a:t>
            </a:r>
            <a:r>
              <a:rPr lang="en-US"/>
              <a:t> fermentum. </a:t>
            </a:r>
            <a:r>
              <a:rPr lang="en-US" err="1"/>
              <a:t>Venenatis</a:t>
            </a:r>
            <a:r>
              <a:rPr lang="en-US"/>
              <a:t>, </a:t>
            </a:r>
            <a:r>
              <a:rPr lang="en-US" err="1"/>
              <a:t>quam</a:t>
            </a:r>
            <a:r>
              <a:rPr lang="en-US"/>
              <a:t> </a:t>
            </a:r>
            <a:r>
              <a:rPr lang="en-US" err="1"/>
              <a:t>consequat</a:t>
            </a:r>
            <a:r>
              <a:rPr lang="en-US"/>
              <a:t> </a:t>
            </a:r>
            <a:r>
              <a:rPr lang="en-US" err="1"/>
              <a:t>netus</a:t>
            </a:r>
            <a:r>
              <a:rPr lang="en-US"/>
              <a:t> magna </a:t>
            </a:r>
            <a:r>
              <a:rPr lang="en-US" err="1"/>
              <a:t>eleifend</a:t>
            </a:r>
            <a:r>
              <a:rPr lang="en-US"/>
              <a:t> </a:t>
            </a:r>
            <a:r>
              <a:rPr lang="en-US" err="1"/>
              <a:t>eget</a:t>
            </a:r>
            <a:r>
              <a:rPr lang="en-US"/>
              <a:t>. Eros </a:t>
            </a:r>
            <a:r>
              <a:rPr lang="en-US" err="1"/>
              <a:t>orci</a:t>
            </a:r>
            <a:r>
              <a:rPr lang="en-US"/>
              <a:t> </a:t>
            </a:r>
            <a:r>
              <a:rPr lang="en-US" err="1"/>
              <a:t>commodo</a:t>
            </a:r>
            <a:r>
              <a:rPr lang="en-US"/>
              <a:t> at </a:t>
            </a:r>
            <a:r>
              <a:rPr lang="en-US" err="1"/>
              <a:t>pellentesque</a:t>
            </a:r>
            <a:r>
              <a:rPr lang="en-US"/>
              <a:t> </a:t>
            </a:r>
            <a:r>
              <a:rPr lang="en-US" err="1"/>
              <a:t>tellus</a:t>
            </a:r>
            <a:r>
              <a:rPr lang="en-US"/>
              <a:t> </a:t>
            </a:r>
            <a:r>
              <a:rPr lang="en-US" err="1"/>
              <a:t>malesuada</a:t>
            </a:r>
            <a:r>
              <a:rPr lang="en-US"/>
              <a:t>. Leo dui </a:t>
            </a:r>
            <a:r>
              <a:rPr lang="en-US" err="1"/>
              <a:t>sapien</a:t>
            </a:r>
            <a:r>
              <a:rPr lang="en-US"/>
              <a:t>, </a:t>
            </a:r>
            <a:r>
              <a:rPr lang="en-US" err="1"/>
              <a:t>imperdiet</a:t>
            </a:r>
            <a:r>
              <a:rPr lang="en-US"/>
              <a:t> </a:t>
            </a:r>
            <a:r>
              <a:rPr lang="en-US" err="1"/>
              <a:t>molestie</a:t>
            </a:r>
            <a:r>
              <a:rPr lang="en-US"/>
              <a:t> </a:t>
            </a:r>
            <a:r>
              <a:rPr lang="en-US" err="1"/>
              <a:t>tristique</a:t>
            </a:r>
            <a:r>
              <a:rPr lang="en-US"/>
              <a:t>. </a:t>
            </a:r>
          </a:p>
        </p:txBody>
      </p:sp>
      <p:sp>
        <p:nvSpPr>
          <p:cNvPr id="5" name="Text Placeholder 4">
            <a:extLst>
              <a:ext uri="{FF2B5EF4-FFF2-40B4-BE49-F238E27FC236}">
                <a16:creationId xmlns:a16="http://schemas.microsoft.com/office/drawing/2014/main" id="{C2C18A1B-3860-2040-E885-43418A4C1630}"/>
              </a:ext>
            </a:extLst>
          </p:cNvPr>
          <p:cNvSpPr>
            <a:spLocks noGrp="1"/>
          </p:cNvSpPr>
          <p:nvPr>
            <p:ph type="body" sz="quarter" idx="26" hasCustomPrompt="1"/>
          </p:nvPr>
        </p:nvSpPr>
        <p:spPr>
          <a:xfrm>
            <a:off x="647700" y="4507992"/>
            <a:ext cx="4648200" cy="215444"/>
          </a:xfrm>
          <a:prstGeom prst="rect">
            <a:avLst/>
          </a:prstGeom>
        </p:spPr>
        <p:txBody>
          <a:bodyPr wrap="square" anchor="t" anchorCtr="0">
            <a:spAutoFit/>
          </a:bodyPr>
          <a:lstStyle>
            <a:lvl1pPr marL="0" marR="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sz="1400" b="1" i="0">
                <a:solidFill>
                  <a:schemeClr val="tx1"/>
                </a:solidFill>
                <a:latin typeface="Calibri" panose="020F0502020204030204" pitchFamily="34" charset="0"/>
                <a:cs typeface="Calibri" panose="020F0502020204030204" pitchFamily="34" charset="0"/>
              </a:defRPr>
            </a:lvl1pPr>
          </a:lstStyle>
          <a:p>
            <a:r>
              <a:rPr lang="en-US"/>
              <a:t>Title</a:t>
            </a:r>
          </a:p>
        </p:txBody>
      </p:sp>
      <p:sp>
        <p:nvSpPr>
          <p:cNvPr id="6" name="Picture Placeholder 11">
            <a:extLst>
              <a:ext uri="{FF2B5EF4-FFF2-40B4-BE49-F238E27FC236}">
                <a16:creationId xmlns:a16="http://schemas.microsoft.com/office/drawing/2014/main" id="{E002F359-ECFF-DA7C-EC1D-119044E43B91}"/>
              </a:ext>
            </a:extLst>
          </p:cNvPr>
          <p:cNvSpPr>
            <a:spLocks noGrp="1"/>
          </p:cNvSpPr>
          <p:nvPr>
            <p:ph type="pic" sz="quarter" idx="28"/>
          </p:nvPr>
        </p:nvSpPr>
        <p:spPr>
          <a:xfrm>
            <a:off x="0" y="0"/>
            <a:ext cx="6099048" cy="3657600"/>
          </a:xfrm>
          <a:prstGeom prst="rect">
            <a:avLst/>
          </a:prstGeom>
        </p:spPr>
        <p:txBody>
          <a:bodyPr/>
          <a:lstStyle/>
          <a:p>
            <a:endParaRPr lang="en-US"/>
          </a:p>
        </p:txBody>
      </p:sp>
      <p:sp>
        <p:nvSpPr>
          <p:cNvPr id="7" name="Text Placeholder 4">
            <a:extLst>
              <a:ext uri="{FF2B5EF4-FFF2-40B4-BE49-F238E27FC236}">
                <a16:creationId xmlns:a16="http://schemas.microsoft.com/office/drawing/2014/main" id="{4DAAE07D-56EF-4816-A7BE-F9631B9B2469}"/>
              </a:ext>
            </a:extLst>
          </p:cNvPr>
          <p:cNvSpPr>
            <a:spLocks noGrp="1"/>
          </p:cNvSpPr>
          <p:nvPr>
            <p:ph type="body" sz="quarter" idx="29" hasCustomPrompt="1"/>
          </p:nvPr>
        </p:nvSpPr>
        <p:spPr>
          <a:xfrm>
            <a:off x="6743700" y="3856472"/>
            <a:ext cx="3467100" cy="564322"/>
          </a:xfrm>
          <a:prstGeom prst="rect">
            <a:avLst/>
          </a:prstGeom>
        </p:spPr>
        <p:txBody>
          <a:bodyPr wrap="square">
            <a:spAutoFit/>
          </a:bodyPr>
          <a:lstStyle>
            <a:lvl1pPr>
              <a:lnSpc>
                <a:spcPts val="4600"/>
              </a:lnSpc>
              <a:spcBef>
                <a:spcPts val="0"/>
              </a:spcBef>
              <a:defRPr sz="3200" b="0" i="0" spc="0">
                <a:solidFill>
                  <a:schemeClr val="accent6"/>
                </a:solidFill>
                <a:latin typeface="Calibri" panose="020F0502020204030204" pitchFamily="34" charset="0"/>
                <a:cs typeface="Calibri" panose="020F0502020204030204" pitchFamily="34" charset="0"/>
              </a:defRPr>
            </a:lvl1pPr>
            <a:lvl2pPr>
              <a:buNone/>
              <a:defRPr/>
            </a:lvl2pPr>
          </a:lstStyle>
          <a:p>
            <a:pPr lvl="0"/>
            <a:r>
              <a:rPr lang="en-US">
                <a:effectLst/>
              </a:rPr>
              <a:t>Name </a:t>
            </a:r>
            <a:r>
              <a:rPr lang="en-US" err="1">
                <a:effectLst/>
              </a:rPr>
              <a:t>Lastname</a:t>
            </a:r>
            <a:endParaRPr lang="en-US"/>
          </a:p>
        </p:txBody>
      </p:sp>
      <p:sp>
        <p:nvSpPr>
          <p:cNvPr id="8" name="Text Placeholder 4">
            <a:extLst>
              <a:ext uri="{FF2B5EF4-FFF2-40B4-BE49-F238E27FC236}">
                <a16:creationId xmlns:a16="http://schemas.microsoft.com/office/drawing/2014/main" id="{F1725D3E-FE46-2C86-6D14-BEA4C138E05C}"/>
              </a:ext>
            </a:extLst>
          </p:cNvPr>
          <p:cNvSpPr>
            <a:spLocks noGrp="1"/>
          </p:cNvSpPr>
          <p:nvPr>
            <p:ph type="body" sz="quarter" idx="30" hasCustomPrompt="1"/>
          </p:nvPr>
        </p:nvSpPr>
        <p:spPr>
          <a:xfrm>
            <a:off x="6743700" y="4890116"/>
            <a:ext cx="4648200" cy="1265667"/>
          </a:xfrm>
          <a:prstGeom prst="rect">
            <a:avLst/>
          </a:prstGeom>
        </p:spPr>
        <p:txBody>
          <a:bodyPr wrap="square" anchor="t" anchorCtr="0">
            <a:spAutoFit/>
          </a:bodyPr>
          <a:lstStyle>
            <a:lvl1pPr marL="0" marR="0" indent="0" algn="l" defTabSz="914400" rtl="0" eaLnBrk="1" fontAlgn="auto" latinLnBrk="0" hangingPunct="1">
              <a:lnSpc>
                <a:spcPts val="2000"/>
              </a:lnSpc>
              <a:spcBef>
                <a:spcPts val="600"/>
              </a:spcBef>
              <a:spcAft>
                <a:spcPts val="0"/>
              </a:spcAft>
              <a:buClrTx/>
              <a:buSzTx/>
              <a:buFont typeface="Arial" panose="020B0604020202020204" pitchFamily="34" charset="0"/>
              <a:buNone/>
              <a:tabLst/>
              <a:defRPr sz="1400" b="0" i="0">
                <a:solidFill>
                  <a:schemeClr val="tx1"/>
                </a:solidFill>
                <a:latin typeface="Calibri Light" panose="020F0302020204030204" pitchFamily="34" charset="0"/>
                <a:cs typeface="Calibri Light" panose="020F0302020204030204" pitchFamily="34" charset="0"/>
              </a:defRPr>
            </a:lvl1pPr>
          </a:lstStyle>
          <a:p>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Leo </a:t>
            </a:r>
            <a:r>
              <a:rPr lang="en-US" err="1"/>
              <a:t>luctus</a:t>
            </a:r>
            <a:r>
              <a:rPr lang="en-US"/>
              <a:t> </a:t>
            </a:r>
            <a:r>
              <a:rPr lang="en-US" err="1"/>
              <a:t>adipiscing</a:t>
            </a:r>
            <a:r>
              <a:rPr lang="en-US"/>
              <a:t> </a:t>
            </a:r>
            <a:r>
              <a:rPr lang="en-US" err="1"/>
              <a:t>feugiat</a:t>
            </a:r>
            <a:r>
              <a:rPr lang="en-US"/>
              <a:t> </a:t>
            </a:r>
            <a:r>
              <a:rPr lang="en-US" err="1"/>
              <a:t>viverra</a:t>
            </a:r>
            <a:r>
              <a:rPr lang="en-US"/>
              <a:t> </a:t>
            </a:r>
            <a:r>
              <a:rPr lang="en-US" err="1"/>
              <a:t>facilisi</a:t>
            </a:r>
            <a:r>
              <a:rPr lang="en-US"/>
              <a:t>. </a:t>
            </a:r>
            <a:r>
              <a:rPr lang="en-US" err="1"/>
              <a:t>Tristique</a:t>
            </a:r>
            <a:r>
              <a:rPr lang="en-US"/>
              <a:t> </a:t>
            </a:r>
            <a:r>
              <a:rPr lang="en-US" err="1"/>
              <a:t>aliquet</a:t>
            </a:r>
            <a:r>
              <a:rPr lang="en-US"/>
              <a:t> </a:t>
            </a:r>
            <a:r>
              <a:rPr lang="en-US" err="1"/>
              <a:t>tempor</a:t>
            </a:r>
            <a:r>
              <a:rPr lang="en-US"/>
              <a:t>, </a:t>
            </a:r>
            <a:r>
              <a:rPr lang="en-US" err="1"/>
              <a:t>tortor</a:t>
            </a:r>
            <a:r>
              <a:rPr lang="en-US"/>
              <a:t> </a:t>
            </a:r>
            <a:r>
              <a:rPr lang="en-US" err="1"/>
              <a:t>amet</a:t>
            </a:r>
            <a:r>
              <a:rPr lang="en-US"/>
              <a:t> </a:t>
            </a:r>
            <a:r>
              <a:rPr lang="en-US" err="1"/>
              <a:t>scelerisque</a:t>
            </a:r>
            <a:r>
              <a:rPr lang="en-US"/>
              <a:t> fermentum. </a:t>
            </a:r>
            <a:r>
              <a:rPr lang="en-US" err="1"/>
              <a:t>Venenatis</a:t>
            </a:r>
            <a:r>
              <a:rPr lang="en-US"/>
              <a:t>, </a:t>
            </a:r>
            <a:r>
              <a:rPr lang="en-US" err="1"/>
              <a:t>quam</a:t>
            </a:r>
            <a:r>
              <a:rPr lang="en-US"/>
              <a:t> </a:t>
            </a:r>
            <a:r>
              <a:rPr lang="en-US" err="1"/>
              <a:t>consequat</a:t>
            </a:r>
            <a:r>
              <a:rPr lang="en-US"/>
              <a:t> </a:t>
            </a:r>
            <a:r>
              <a:rPr lang="en-US" err="1"/>
              <a:t>netus</a:t>
            </a:r>
            <a:r>
              <a:rPr lang="en-US"/>
              <a:t> magna </a:t>
            </a:r>
            <a:r>
              <a:rPr lang="en-US" err="1"/>
              <a:t>eleifend</a:t>
            </a:r>
            <a:r>
              <a:rPr lang="en-US"/>
              <a:t> </a:t>
            </a:r>
            <a:r>
              <a:rPr lang="en-US" err="1"/>
              <a:t>eget</a:t>
            </a:r>
            <a:r>
              <a:rPr lang="en-US"/>
              <a:t>. Eros </a:t>
            </a:r>
            <a:r>
              <a:rPr lang="en-US" err="1"/>
              <a:t>orci</a:t>
            </a:r>
            <a:r>
              <a:rPr lang="en-US"/>
              <a:t> </a:t>
            </a:r>
            <a:r>
              <a:rPr lang="en-US" err="1"/>
              <a:t>commodo</a:t>
            </a:r>
            <a:r>
              <a:rPr lang="en-US"/>
              <a:t> at </a:t>
            </a:r>
            <a:r>
              <a:rPr lang="en-US" err="1"/>
              <a:t>pellentesque</a:t>
            </a:r>
            <a:r>
              <a:rPr lang="en-US"/>
              <a:t> </a:t>
            </a:r>
            <a:r>
              <a:rPr lang="en-US" err="1"/>
              <a:t>tellus</a:t>
            </a:r>
            <a:r>
              <a:rPr lang="en-US"/>
              <a:t> </a:t>
            </a:r>
            <a:r>
              <a:rPr lang="en-US" err="1"/>
              <a:t>malesuada</a:t>
            </a:r>
            <a:r>
              <a:rPr lang="en-US"/>
              <a:t>. Leo dui </a:t>
            </a:r>
            <a:r>
              <a:rPr lang="en-US" err="1"/>
              <a:t>sapien</a:t>
            </a:r>
            <a:r>
              <a:rPr lang="en-US"/>
              <a:t>, </a:t>
            </a:r>
            <a:r>
              <a:rPr lang="en-US" err="1"/>
              <a:t>imperdiet</a:t>
            </a:r>
            <a:r>
              <a:rPr lang="en-US"/>
              <a:t> </a:t>
            </a:r>
            <a:r>
              <a:rPr lang="en-US" err="1"/>
              <a:t>molestie</a:t>
            </a:r>
            <a:r>
              <a:rPr lang="en-US"/>
              <a:t> </a:t>
            </a:r>
            <a:r>
              <a:rPr lang="en-US" err="1"/>
              <a:t>tristique</a:t>
            </a:r>
            <a:r>
              <a:rPr lang="en-US"/>
              <a:t>. </a:t>
            </a:r>
          </a:p>
        </p:txBody>
      </p:sp>
      <p:sp>
        <p:nvSpPr>
          <p:cNvPr id="12" name="Text Placeholder 4">
            <a:extLst>
              <a:ext uri="{FF2B5EF4-FFF2-40B4-BE49-F238E27FC236}">
                <a16:creationId xmlns:a16="http://schemas.microsoft.com/office/drawing/2014/main" id="{53202284-FDB1-DEBC-3876-710760B66920}"/>
              </a:ext>
            </a:extLst>
          </p:cNvPr>
          <p:cNvSpPr>
            <a:spLocks noGrp="1"/>
          </p:cNvSpPr>
          <p:nvPr>
            <p:ph type="body" sz="quarter" idx="31" hasCustomPrompt="1"/>
          </p:nvPr>
        </p:nvSpPr>
        <p:spPr>
          <a:xfrm>
            <a:off x="6743700" y="4507992"/>
            <a:ext cx="4648200" cy="215444"/>
          </a:xfrm>
          <a:prstGeom prst="rect">
            <a:avLst/>
          </a:prstGeom>
        </p:spPr>
        <p:txBody>
          <a:bodyPr wrap="square" anchor="t" anchorCtr="0">
            <a:spAutoFit/>
          </a:bodyPr>
          <a:lstStyle>
            <a:lvl1pPr marL="0" marR="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sz="1400" b="1" i="0">
                <a:solidFill>
                  <a:schemeClr val="tx1"/>
                </a:solidFill>
                <a:latin typeface="Calibri" panose="020F0502020204030204" pitchFamily="34" charset="0"/>
                <a:cs typeface="Calibri" panose="020F0502020204030204" pitchFamily="34" charset="0"/>
              </a:defRPr>
            </a:lvl1pPr>
          </a:lstStyle>
          <a:p>
            <a:r>
              <a:rPr lang="en-US"/>
              <a:t>Title</a:t>
            </a:r>
          </a:p>
        </p:txBody>
      </p:sp>
      <p:sp>
        <p:nvSpPr>
          <p:cNvPr id="13" name="Picture Placeholder 11">
            <a:extLst>
              <a:ext uri="{FF2B5EF4-FFF2-40B4-BE49-F238E27FC236}">
                <a16:creationId xmlns:a16="http://schemas.microsoft.com/office/drawing/2014/main" id="{2309C169-B9C7-9B1B-7684-9663DE2323F9}"/>
              </a:ext>
            </a:extLst>
          </p:cNvPr>
          <p:cNvSpPr>
            <a:spLocks noGrp="1"/>
          </p:cNvSpPr>
          <p:nvPr>
            <p:ph type="pic" sz="quarter" idx="32"/>
          </p:nvPr>
        </p:nvSpPr>
        <p:spPr>
          <a:xfrm>
            <a:off x="6096000" y="0"/>
            <a:ext cx="6099048" cy="3657600"/>
          </a:xfrm>
          <a:prstGeom prst="rect">
            <a:avLst/>
          </a:prstGeom>
        </p:spPr>
        <p:txBody>
          <a:bodyPr/>
          <a:lstStyle/>
          <a:p>
            <a:endParaRPr lang="en-US"/>
          </a:p>
        </p:txBody>
      </p:sp>
    </p:spTree>
    <p:extLst>
      <p:ext uri="{BB962C8B-B14F-4D97-AF65-F5344CB8AC3E}">
        <p14:creationId xmlns:p14="http://schemas.microsoft.com/office/powerpoint/2010/main" val="811683687"/>
      </p:ext>
    </p:extLst>
  </p:cSld>
  <p:clrMapOvr>
    <a:masterClrMapping/>
  </p:clrMapOvr>
  <p:extLst>
    <p:ext uri="{DCECCB84-F9BA-43D5-87BE-67443E8EF086}">
      <p15:sldGuideLst xmlns:p15="http://schemas.microsoft.com/office/powerpoint/2012/main"/>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Our_People_2_People_White">
    <p:bg>
      <p:bgPr>
        <a:solidFill>
          <a:schemeClr val="tx1"/>
        </a:solidFill>
        <a:effectLst/>
      </p:bgPr>
    </p:bg>
    <p:spTree>
      <p:nvGrpSpPr>
        <p:cNvPr id="1" name=""/>
        <p:cNvGrpSpPr/>
        <p:nvPr/>
      </p:nvGrpSpPr>
      <p:grpSpPr>
        <a:xfrm>
          <a:off x="0" y="0"/>
          <a:ext cx="0" cy="0"/>
          <a:chOff x="0" y="0"/>
          <a:chExt cx="0" cy="0"/>
        </a:xfrm>
      </p:grpSpPr>
      <p:sp>
        <p:nvSpPr>
          <p:cNvPr id="8" name="Text Placeholder 4">
            <a:extLst>
              <a:ext uri="{FF2B5EF4-FFF2-40B4-BE49-F238E27FC236}">
                <a16:creationId xmlns:a16="http://schemas.microsoft.com/office/drawing/2014/main" id="{10CE64FB-25EE-A414-B066-FC99784E85DB}"/>
              </a:ext>
            </a:extLst>
          </p:cNvPr>
          <p:cNvSpPr>
            <a:spLocks noGrp="1"/>
          </p:cNvSpPr>
          <p:nvPr>
            <p:ph type="body" sz="quarter" idx="16" hasCustomPrompt="1"/>
          </p:nvPr>
        </p:nvSpPr>
        <p:spPr>
          <a:xfrm>
            <a:off x="647700" y="4890116"/>
            <a:ext cx="4648200" cy="1265667"/>
          </a:xfrm>
          <a:prstGeom prst="rect">
            <a:avLst/>
          </a:prstGeom>
        </p:spPr>
        <p:txBody>
          <a:bodyPr wrap="square" anchor="t" anchorCtr="0">
            <a:spAutoFit/>
          </a:bodyPr>
          <a:lstStyle>
            <a:lvl1pPr marL="0" marR="0" indent="0" algn="l" defTabSz="914400" rtl="0" eaLnBrk="1" fontAlgn="auto" latinLnBrk="0" hangingPunct="1">
              <a:lnSpc>
                <a:spcPts val="2000"/>
              </a:lnSpc>
              <a:spcBef>
                <a:spcPts val="600"/>
              </a:spcBef>
              <a:spcAft>
                <a:spcPts val="0"/>
              </a:spcAft>
              <a:buClrTx/>
              <a:buSzTx/>
              <a:buFont typeface="Arial" panose="020B0604020202020204" pitchFamily="34" charset="0"/>
              <a:buNone/>
              <a:tabLst/>
              <a:defRPr sz="1400" b="0" i="0">
                <a:solidFill>
                  <a:schemeClr val="bg1"/>
                </a:solidFill>
                <a:latin typeface="Calibri Light" panose="020F0302020204030204" pitchFamily="34" charset="0"/>
                <a:cs typeface="Calibri Light" panose="020F0302020204030204" pitchFamily="34" charset="0"/>
              </a:defRPr>
            </a:lvl1pPr>
          </a:lstStyle>
          <a:p>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Leo </a:t>
            </a:r>
            <a:r>
              <a:rPr lang="en-US" err="1"/>
              <a:t>luctus</a:t>
            </a:r>
            <a:r>
              <a:rPr lang="en-US"/>
              <a:t> </a:t>
            </a:r>
            <a:r>
              <a:rPr lang="en-US" err="1"/>
              <a:t>adipiscing</a:t>
            </a:r>
            <a:r>
              <a:rPr lang="en-US"/>
              <a:t> </a:t>
            </a:r>
            <a:r>
              <a:rPr lang="en-US" err="1"/>
              <a:t>feugiat</a:t>
            </a:r>
            <a:r>
              <a:rPr lang="en-US"/>
              <a:t> </a:t>
            </a:r>
            <a:r>
              <a:rPr lang="en-US" err="1"/>
              <a:t>viverra</a:t>
            </a:r>
            <a:r>
              <a:rPr lang="en-US"/>
              <a:t> </a:t>
            </a:r>
            <a:r>
              <a:rPr lang="en-US" err="1"/>
              <a:t>facilisi</a:t>
            </a:r>
            <a:r>
              <a:rPr lang="en-US"/>
              <a:t>. </a:t>
            </a:r>
            <a:r>
              <a:rPr lang="en-US" err="1"/>
              <a:t>Tristique</a:t>
            </a:r>
            <a:r>
              <a:rPr lang="en-US"/>
              <a:t> </a:t>
            </a:r>
            <a:r>
              <a:rPr lang="en-US" err="1"/>
              <a:t>aliquet</a:t>
            </a:r>
            <a:r>
              <a:rPr lang="en-US"/>
              <a:t> </a:t>
            </a:r>
            <a:r>
              <a:rPr lang="en-US" err="1"/>
              <a:t>tempor</a:t>
            </a:r>
            <a:r>
              <a:rPr lang="en-US"/>
              <a:t>, </a:t>
            </a:r>
            <a:r>
              <a:rPr lang="en-US" err="1"/>
              <a:t>tortor</a:t>
            </a:r>
            <a:r>
              <a:rPr lang="en-US"/>
              <a:t> </a:t>
            </a:r>
            <a:r>
              <a:rPr lang="en-US" err="1"/>
              <a:t>amet</a:t>
            </a:r>
            <a:r>
              <a:rPr lang="en-US"/>
              <a:t> </a:t>
            </a:r>
            <a:r>
              <a:rPr lang="en-US" err="1"/>
              <a:t>scelerisque</a:t>
            </a:r>
            <a:r>
              <a:rPr lang="en-US"/>
              <a:t> fermentum. </a:t>
            </a:r>
            <a:r>
              <a:rPr lang="en-US" err="1"/>
              <a:t>Venenatis</a:t>
            </a:r>
            <a:r>
              <a:rPr lang="en-US"/>
              <a:t>, </a:t>
            </a:r>
            <a:r>
              <a:rPr lang="en-US" err="1"/>
              <a:t>quam</a:t>
            </a:r>
            <a:r>
              <a:rPr lang="en-US"/>
              <a:t> </a:t>
            </a:r>
            <a:r>
              <a:rPr lang="en-US" err="1"/>
              <a:t>consequat</a:t>
            </a:r>
            <a:r>
              <a:rPr lang="en-US"/>
              <a:t> </a:t>
            </a:r>
            <a:r>
              <a:rPr lang="en-US" err="1"/>
              <a:t>netus</a:t>
            </a:r>
            <a:r>
              <a:rPr lang="en-US"/>
              <a:t> magna </a:t>
            </a:r>
            <a:r>
              <a:rPr lang="en-US" err="1"/>
              <a:t>eleifend</a:t>
            </a:r>
            <a:r>
              <a:rPr lang="en-US"/>
              <a:t> </a:t>
            </a:r>
            <a:r>
              <a:rPr lang="en-US" err="1"/>
              <a:t>eget</a:t>
            </a:r>
            <a:r>
              <a:rPr lang="en-US"/>
              <a:t>. Eros </a:t>
            </a:r>
            <a:r>
              <a:rPr lang="en-US" err="1"/>
              <a:t>orci</a:t>
            </a:r>
            <a:r>
              <a:rPr lang="en-US"/>
              <a:t> </a:t>
            </a:r>
            <a:r>
              <a:rPr lang="en-US" err="1"/>
              <a:t>commodo</a:t>
            </a:r>
            <a:r>
              <a:rPr lang="en-US"/>
              <a:t> at </a:t>
            </a:r>
            <a:r>
              <a:rPr lang="en-US" err="1"/>
              <a:t>pellentesque</a:t>
            </a:r>
            <a:r>
              <a:rPr lang="en-US"/>
              <a:t> </a:t>
            </a:r>
            <a:r>
              <a:rPr lang="en-US" err="1"/>
              <a:t>tellus</a:t>
            </a:r>
            <a:r>
              <a:rPr lang="en-US"/>
              <a:t> </a:t>
            </a:r>
            <a:r>
              <a:rPr lang="en-US" err="1"/>
              <a:t>malesuada</a:t>
            </a:r>
            <a:r>
              <a:rPr lang="en-US"/>
              <a:t>. Leo dui </a:t>
            </a:r>
            <a:r>
              <a:rPr lang="en-US" err="1"/>
              <a:t>sapien</a:t>
            </a:r>
            <a:r>
              <a:rPr lang="en-US"/>
              <a:t>, </a:t>
            </a:r>
            <a:r>
              <a:rPr lang="en-US" err="1"/>
              <a:t>imperdiet</a:t>
            </a:r>
            <a:r>
              <a:rPr lang="en-US"/>
              <a:t> </a:t>
            </a:r>
            <a:r>
              <a:rPr lang="en-US" err="1"/>
              <a:t>molestie</a:t>
            </a:r>
            <a:r>
              <a:rPr lang="en-US"/>
              <a:t> </a:t>
            </a:r>
            <a:r>
              <a:rPr lang="en-US" err="1"/>
              <a:t>tristique</a:t>
            </a:r>
            <a:r>
              <a:rPr lang="en-US"/>
              <a:t>. </a:t>
            </a:r>
          </a:p>
        </p:txBody>
      </p:sp>
      <p:sp>
        <p:nvSpPr>
          <p:cNvPr id="2" name="Picture Placeholder 11">
            <a:extLst>
              <a:ext uri="{FF2B5EF4-FFF2-40B4-BE49-F238E27FC236}">
                <a16:creationId xmlns:a16="http://schemas.microsoft.com/office/drawing/2014/main" id="{D059CF42-DE64-D215-F33D-AEF5AC07DB76}"/>
              </a:ext>
            </a:extLst>
          </p:cNvPr>
          <p:cNvSpPr>
            <a:spLocks noGrp="1"/>
          </p:cNvSpPr>
          <p:nvPr>
            <p:ph type="pic" sz="quarter" idx="28"/>
          </p:nvPr>
        </p:nvSpPr>
        <p:spPr>
          <a:xfrm>
            <a:off x="0" y="0"/>
            <a:ext cx="6099048" cy="3657600"/>
          </a:xfrm>
          <a:prstGeom prst="rect">
            <a:avLst/>
          </a:prstGeom>
        </p:spPr>
        <p:txBody>
          <a:bodyPr/>
          <a:lstStyle/>
          <a:p>
            <a:endParaRPr lang="en-US"/>
          </a:p>
        </p:txBody>
      </p:sp>
      <p:sp>
        <p:nvSpPr>
          <p:cNvPr id="6" name="Text Placeholder 4">
            <a:extLst>
              <a:ext uri="{FF2B5EF4-FFF2-40B4-BE49-F238E27FC236}">
                <a16:creationId xmlns:a16="http://schemas.microsoft.com/office/drawing/2014/main" id="{BA836C28-DF9E-9EF6-F137-8474B6C0845A}"/>
              </a:ext>
            </a:extLst>
          </p:cNvPr>
          <p:cNvSpPr>
            <a:spLocks noGrp="1"/>
          </p:cNvSpPr>
          <p:nvPr>
            <p:ph type="body" sz="quarter" idx="30" hasCustomPrompt="1"/>
          </p:nvPr>
        </p:nvSpPr>
        <p:spPr>
          <a:xfrm>
            <a:off x="6743700" y="4890116"/>
            <a:ext cx="4648200" cy="1265667"/>
          </a:xfrm>
          <a:prstGeom prst="rect">
            <a:avLst/>
          </a:prstGeom>
        </p:spPr>
        <p:txBody>
          <a:bodyPr wrap="square" anchor="t" anchorCtr="0">
            <a:spAutoFit/>
          </a:bodyPr>
          <a:lstStyle>
            <a:lvl1pPr marL="0" marR="0" indent="0" algn="l" defTabSz="914400" rtl="0" eaLnBrk="1" fontAlgn="auto" latinLnBrk="0" hangingPunct="1">
              <a:lnSpc>
                <a:spcPts val="2000"/>
              </a:lnSpc>
              <a:spcBef>
                <a:spcPts val="600"/>
              </a:spcBef>
              <a:spcAft>
                <a:spcPts val="0"/>
              </a:spcAft>
              <a:buClrTx/>
              <a:buSzTx/>
              <a:buFont typeface="Arial" panose="020B0604020202020204" pitchFamily="34" charset="0"/>
              <a:buNone/>
              <a:tabLst/>
              <a:defRPr sz="1400" b="0" i="0">
                <a:solidFill>
                  <a:schemeClr val="bg1"/>
                </a:solidFill>
                <a:latin typeface="Calibri Light" panose="020F0302020204030204" pitchFamily="34" charset="0"/>
                <a:cs typeface="Calibri Light" panose="020F0302020204030204" pitchFamily="34" charset="0"/>
              </a:defRPr>
            </a:lvl1pPr>
          </a:lstStyle>
          <a:p>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Leo </a:t>
            </a:r>
            <a:r>
              <a:rPr lang="en-US" err="1"/>
              <a:t>luctus</a:t>
            </a:r>
            <a:r>
              <a:rPr lang="en-US"/>
              <a:t> </a:t>
            </a:r>
            <a:r>
              <a:rPr lang="en-US" err="1"/>
              <a:t>adipiscing</a:t>
            </a:r>
            <a:r>
              <a:rPr lang="en-US"/>
              <a:t> </a:t>
            </a:r>
            <a:r>
              <a:rPr lang="en-US" err="1"/>
              <a:t>feugiat</a:t>
            </a:r>
            <a:r>
              <a:rPr lang="en-US"/>
              <a:t> </a:t>
            </a:r>
            <a:r>
              <a:rPr lang="en-US" err="1"/>
              <a:t>viverra</a:t>
            </a:r>
            <a:r>
              <a:rPr lang="en-US"/>
              <a:t> </a:t>
            </a:r>
            <a:r>
              <a:rPr lang="en-US" err="1"/>
              <a:t>facilisi</a:t>
            </a:r>
            <a:r>
              <a:rPr lang="en-US"/>
              <a:t>. </a:t>
            </a:r>
            <a:r>
              <a:rPr lang="en-US" err="1"/>
              <a:t>Tristique</a:t>
            </a:r>
            <a:r>
              <a:rPr lang="en-US"/>
              <a:t> </a:t>
            </a:r>
            <a:r>
              <a:rPr lang="en-US" err="1"/>
              <a:t>aliquet</a:t>
            </a:r>
            <a:r>
              <a:rPr lang="en-US"/>
              <a:t> </a:t>
            </a:r>
            <a:r>
              <a:rPr lang="en-US" err="1"/>
              <a:t>tempor</a:t>
            </a:r>
            <a:r>
              <a:rPr lang="en-US"/>
              <a:t>, </a:t>
            </a:r>
            <a:r>
              <a:rPr lang="en-US" err="1"/>
              <a:t>tortor</a:t>
            </a:r>
            <a:r>
              <a:rPr lang="en-US"/>
              <a:t> </a:t>
            </a:r>
            <a:r>
              <a:rPr lang="en-US" err="1"/>
              <a:t>amet</a:t>
            </a:r>
            <a:r>
              <a:rPr lang="en-US"/>
              <a:t> </a:t>
            </a:r>
            <a:r>
              <a:rPr lang="en-US" err="1"/>
              <a:t>scelerisque</a:t>
            </a:r>
            <a:r>
              <a:rPr lang="en-US"/>
              <a:t> fermentum. </a:t>
            </a:r>
            <a:r>
              <a:rPr lang="en-US" err="1"/>
              <a:t>Venenatis</a:t>
            </a:r>
            <a:r>
              <a:rPr lang="en-US"/>
              <a:t>, </a:t>
            </a:r>
            <a:r>
              <a:rPr lang="en-US" err="1"/>
              <a:t>quam</a:t>
            </a:r>
            <a:r>
              <a:rPr lang="en-US"/>
              <a:t> </a:t>
            </a:r>
            <a:r>
              <a:rPr lang="en-US" err="1"/>
              <a:t>consequat</a:t>
            </a:r>
            <a:r>
              <a:rPr lang="en-US"/>
              <a:t> </a:t>
            </a:r>
            <a:r>
              <a:rPr lang="en-US" err="1"/>
              <a:t>netus</a:t>
            </a:r>
            <a:r>
              <a:rPr lang="en-US"/>
              <a:t> magna </a:t>
            </a:r>
            <a:r>
              <a:rPr lang="en-US" err="1"/>
              <a:t>eleifend</a:t>
            </a:r>
            <a:r>
              <a:rPr lang="en-US"/>
              <a:t> </a:t>
            </a:r>
            <a:r>
              <a:rPr lang="en-US" err="1"/>
              <a:t>eget</a:t>
            </a:r>
            <a:r>
              <a:rPr lang="en-US"/>
              <a:t>. Eros </a:t>
            </a:r>
            <a:r>
              <a:rPr lang="en-US" err="1"/>
              <a:t>orci</a:t>
            </a:r>
            <a:r>
              <a:rPr lang="en-US"/>
              <a:t> </a:t>
            </a:r>
            <a:r>
              <a:rPr lang="en-US" err="1"/>
              <a:t>commodo</a:t>
            </a:r>
            <a:r>
              <a:rPr lang="en-US"/>
              <a:t> at </a:t>
            </a:r>
            <a:r>
              <a:rPr lang="en-US" err="1"/>
              <a:t>pellentesque</a:t>
            </a:r>
            <a:r>
              <a:rPr lang="en-US"/>
              <a:t> </a:t>
            </a:r>
            <a:r>
              <a:rPr lang="en-US" err="1"/>
              <a:t>tellus</a:t>
            </a:r>
            <a:r>
              <a:rPr lang="en-US"/>
              <a:t> </a:t>
            </a:r>
            <a:r>
              <a:rPr lang="en-US" err="1"/>
              <a:t>malesuada</a:t>
            </a:r>
            <a:r>
              <a:rPr lang="en-US"/>
              <a:t>. Leo dui </a:t>
            </a:r>
            <a:r>
              <a:rPr lang="en-US" err="1"/>
              <a:t>sapien</a:t>
            </a:r>
            <a:r>
              <a:rPr lang="en-US"/>
              <a:t>, </a:t>
            </a:r>
            <a:r>
              <a:rPr lang="en-US" err="1"/>
              <a:t>imperdiet</a:t>
            </a:r>
            <a:r>
              <a:rPr lang="en-US"/>
              <a:t> </a:t>
            </a:r>
            <a:r>
              <a:rPr lang="en-US" err="1"/>
              <a:t>molestie</a:t>
            </a:r>
            <a:r>
              <a:rPr lang="en-US"/>
              <a:t> </a:t>
            </a:r>
            <a:r>
              <a:rPr lang="en-US" err="1"/>
              <a:t>tristique</a:t>
            </a:r>
            <a:r>
              <a:rPr lang="en-US"/>
              <a:t>. </a:t>
            </a:r>
          </a:p>
        </p:txBody>
      </p:sp>
      <p:sp>
        <p:nvSpPr>
          <p:cNvPr id="11" name="Picture Placeholder 11">
            <a:extLst>
              <a:ext uri="{FF2B5EF4-FFF2-40B4-BE49-F238E27FC236}">
                <a16:creationId xmlns:a16="http://schemas.microsoft.com/office/drawing/2014/main" id="{8A42E0B9-1EB1-1EAF-142C-C1A8686CF7F0}"/>
              </a:ext>
            </a:extLst>
          </p:cNvPr>
          <p:cNvSpPr>
            <a:spLocks noGrp="1"/>
          </p:cNvSpPr>
          <p:nvPr>
            <p:ph type="pic" sz="quarter" idx="32"/>
          </p:nvPr>
        </p:nvSpPr>
        <p:spPr>
          <a:xfrm>
            <a:off x="6096000" y="0"/>
            <a:ext cx="6099048" cy="3657600"/>
          </a:xfrm>
          <a:prstGeom prst="rect">
            <a:avLst/>
          </a:prstGeom>
        </p:spPr>
        <p:txBody>
          <a:bodyPr/>
          <a:lstStyle/>
          <a:p>
            <a:endParaRPr lang="en-US"/>
          </a:p>
        </p:txBody>
      </p:sp>
      <p:sp>
        <p:nvSpPr>
          <p:cNvPr id="5" name="Text Placeholder 4">
            <a:extLst>
              <a:ext uri="{FF2B5EF4-FFF2-40B4-BE49-F238E27FC236}">
                <a16:creationId xmlns:a16="http://schemas.microsoft.com/office/drawing/2014/main" id="{FDCE0C92-AAEE-B661-AE86-C03F4C2EC65D}"/>
              </a:ext>
            </a:extLst>
          </p:cNvPr>
          <p:cNvSpPr>
            <a:spLocks noGrp="1"/>
          </p:cNvSpPr>
          <p:nvPr>
            <p:ph type="body" sz="quarter" idx="25" hasCustomPrompt="1"/>
          </p:nvPr>
        </p:nvSpPr>
        <p:spPr>
          <a:xfrm>
            <a:off x="647700" y="3856472"/>
            <a:ext cx="3467100" cy="564322"/>
          </a:xfrm>
          <a:prstGeom prst="rect">
            <a:avLst/>
          </a:prstGeom>
        </p:spPr>
        <p:txBody>
          <a:bodyPr wrap="square">
            <a:spAutoFit/>
          </a:bodyPr>
          <a:lstStyle>
            <a:lvl1pPr>
              <a:lnSpc>
                <a:spcPts val="4600"/>
              </a:lnSpc>
              <a:spcBef>
                <a:spcPts val="0"/>
              </a:spcBef>
              <a:defRPr sz="3200" b="0" i="0" spc="0">
                <a:solidFill>
                  <a:schemeClr val="bg1"/>
                </a:solidFill>
                <a:latin typeface="Calibri" panose="020F0502020204030204" pitchFamily="34" charset="0"/>
                <a:cs typeface="Calibri" panose="020F0502020204030204" pitchFamily="34" charset="0"/>
              </a:defRPr>
            </a:lvl1pPr>
            <a:lvl2pPr>
              <a:buNone/>
              <a:defRPr/>
            </a:lvl2pPr>
          </a:lstStyle>
          <a:p>
            <a:pPr lvl="0"/>
            <a:r>
              <a:rPr lang="en-US">
                <a:effectLst/>
              </a:rPr>
              <a:t>Name </a:t>
            </a:r>
            <a:r>
              <a:rPr lang="en-US" err="1">
                <a:effectLst/>
              </a:rPr>
              <a:t>Lastname</a:t>
            </a:r>
            <a:endParaRPr lang="en-US"/>
          </a:p>
        </p:txBody>
      </p:sp>
      <p:sp>
        <p:nvSpPr>
          <p:cNvPr id="7" name="Text Placeholder 4">
            <a:extLst>
              <a:ext uri="{FF2B5EF4-FFF2-40B4-BE49-F238E27FC236}">
                <a16:creationId xmlns:a16="http://schemas.microsoft.com/office/drawing/2014/main" id="{1021E40A-AA28-C1C7-1A84-FDB6A201E33D}"/>
              </a:ext>
            </a:extLst>
          </p:cNvPr>
          <p:cNvSpPr>
            <a:spLocks noGrp="1"/>
          </p:cNvSpPr>
          <p:nvPr>
            <p:ph type="body" sz="quarter" idx="26" hasCustomPrompt="1"/>
          </p:nvPr>
        </p:nvSpPr>
        <p:spPr>
          <a:xfrm>
            <a:off x="647700" y="4507992"/>
            <a:ext cx="4648200" cy="215444"/>
          </a:xfrm>
          <a:prstGeom prst="rect">
            <a:avLst/>
          </a:prstGeom>
        </p:spPr>
        <p:txBody>
          <a:bodyPr wrap="square" anchor="t" anchorCtr="0">
            <a:spAutoFit/>
          </a:bodyPr>
          <a:lstStyle>
            <a:lvl1pPr marL="0" marR="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sz="1400" b="1" i="0">
                <a:solidFill>
                  <a:schemeClr val="bg1"/>
                </a:solidFill>
                <a:latin typeface="Calibri" panose="020F0502020204030204" pitchFamily="34" charset="0"/>
                <a:cs typeface="Calibri" panose="020F0502020204030204" pitchFamily="34" charset="0"/>
              </a:defRPr>
            </a:lvl1pPr>
          </a:lstStyle>
          <a:p>
            <a:r>
              <a:rPr lang="en-US"/>
              <a:t>Title</a:t>
            </a:r>
          </a:p>
        </p:txBody>
      </p:sp>
      <p:sp>
        <p:nvSpPr>
          <p:cNvPr id="9" name="Text Placeholder 4">
            <a:extLst>
              <a:ext uri="{FF2B5EF4-FFF2-40B4-BE49-F238E27FC236}">
                <a16:creationId xmlns:a16="http://schemas.microsoft.com/office/drawing/2014/main" id="{4E69CF9A-4EB5-0692-8B9C-83ECFCEF4419}"/>
              </a:ext>
            </a:extLst>
          </p:cNvPr>
          <p:cNvSpPr>
            <a:spLocks noGrp="1"/>
          </p:cNvSpPr>
          <p:nvPr>
            <p:ph type="body" sz="quarter" idx="29" hasCustomPrompt="1"/>
          </p:nvPr>
        </p:nvSpPr>
        <p:spPr>
          <a:xfrm>
            <a:off x="6743700" y="3856472"/>
            <a:ext cx="3467100" cy="564322"/>
          </a:xfrm>
          <a:prstGeom prst="rect">
            <a:avLst/>
          </a:prstGeom>
        </p:spPr>
        <p:txBody>
          <a:bodyPr wrap="square">
            <a:spAutoFit/>
          </a:bodyPr>
          <a:lstStyle>
            <a:lvl1pPr>
              <a:lnSpc>
                <a:spcPts val="4600"/>
              </a:lnSpc>
              <a:spcBef>
                <a:spcPts val="0"/>
              </a:spcBef>
              <a:defRPr sz="3200" b="0" i="0" spc="0">
                <a:solidFill>
                  <a:schemeClr val="bg1"/>
                </a:solidFill>
                <a:latin typeface="Calibri" panose="020F0502020204030204" pitchFamily="34" charset="0"/>
                <a:cs typeface="Calibri" panose="020F0502020204030204" pitchFamily="34" charset="0"/>
              </a:defRPr>
            </a:lvl1pPr>
            <a:lvl2pPr>
              <a:buNone/>
              <a:defRPr/>
            </a:lvl2pPr>
          </a:lstStyle>
          <a:p>
            <a:pPr lvl="0"/>
            <a:r>
              <a:rPr lang="en-US">
                <a:effectLst/>
              </a:rPr>
              <a:t>Name </a:t>
            </a:r>
            <a:r>
              <a:rPr lang="en-US" err="1">
                <a:effectLst/>
              </a:rPr>
              <a:t>Lastname</a:t>
            </a:r>
            <a:endParaRPr lang="en-US"/>
          </a:p>
        </p:txBody>
      </p:sp>
      <p:sp>
        <p:nvSpPr>
          <p:cNvPr id="10" name="Text Placeholder 4">
            <a:extLst>
              <a:ext uri="{FF2B5EF4-FFF2-40B4-BE49-F238E27FC236}">
                <a16:creationId xmlns:a16="http://schemas.microsoft.com/office/drawing/2014/main" id="{9B5D8A78-17EC-9BB8-5A4B-839DA5B4760C}"/>
              </a:ext>
            </a:extLst>
          </p:cNvPr>
          <p:cNvSpPr>
            <a:spLocks noGrp="1"/>
          </p:cNvSpPr>
          <p:nvPr>
            <p:ph type="body" sz="quarter" idx="31" hasCustomPrompt="1"/>
          </p:nvPr>
        </p:nvSpPr>
        <p:spPr>
          <a:xfrm>
            <a:off x="6743700" y="4507992"/>
            <a:ext cx="4648200" cy="215444"/>
          </a:xfrm>
          <a:prstGeom prst="rect">
            <a:avLst/>
          </a:prstGeom>
        </p:spPr>
        <p:txBody>
          <a:bodyPr wrap="square" anchor="t" anchorCtr="0">
            <a:spAutoFit/>
          </a:bodyPr>
          <a:lstStyle>
            <a:lvl1pPr marL="0" marR="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sz="1400" b="1" i="0">
                <a:solidFill>
                  <a:schemeClr val="bg1"/>
                </a:solidFill>
                <a:latin typeface="Calibri" panose="020F0502020204030204" pitchFamily="34" charset="0"/>
                <a:cs typeface="Calibri" panose="020F0502020204030204" pitchFamily="34" charset="0"/>
              </a:defRPr>
            </a:lvl1pPr>
          </a:lstStyle>
          <a:p>
            <a:r>
              <a:rPr lang="en-US"/>
              <a:t>Title</a:t>
            </a:r>
          </a:p>
        </p:txBody>
      </p:sp>
      <p:grpSp>
        <p:nvGrpSpPr>
          <p:cNvPr id="12" name="Group 11">
            <a:extLst>
              <a:ext uri="{FF2B5EF4-FFF2-40B4-BE49-F238E27FC236}">
                <a16:creationId xmlns:a16="http://schemas.microsoft.com/office/drawing/2014/main" id="{8CCE4E62-898A-CA76-2BBB-6A9397988C45}"/>
              </a:ext>
            </a:extLst>
          </p:cNvPr>
          <p:cNvGrpSpPr/>
          <p:nvPr userDrawn="1"/>
        </p:nvGrpSpPr>
        <p:grpSpPr>
          <a:xfrm>
            <a:off x="610888" y="6472556"/>
            <a:ext cx="372834" cy="131175"/>
            <a:chOff x="14288" y="2035175"/>
            <a:chExt cx="10039350" cy="3532188"/>
          </a:xfrm>
          <a:solidFill>
            <a:schemeClr val="bg1"/>
          </a:solidFill>
        </p:grpSpPr>
        <p:sp>
          <p:nvSpPr>
            <p:cNvPr id="13" name="Freeform 1">
              <a:extLst>
                <a:ext uri="{FF2B5EF4-FFF2-40B4-BE49-F238E27FC236}">
                  <a16:creationId xmlns:a16="http://schemas.microsoft.com/office/drawing/2014/main" id="{676B1471-638E-3A1D-9A08-100351585304}"/>
                </a:ext>
              </a:extLst>
            </p:cNvPr>
            <p:cNvSpPr>
              <a:spLocks noChangeArrowheads="1"/>
            </p:cNvSpPr>
            <p:nvPr/>
          </p:nvSpPr>
          <p:spPr bwMode="auto">
            <a:xfrm>
              <a:off x="1519238" y="2035175"/>
              <a:ext cx="1336675" cy="2836863"/>
            </a:xfrm>
            <a:custGeom>
              <a:avLst/>
              <a:gdLst>
                <a:gd name="T0" fmla="*/ 390493 w 3714"/>
                <a:gd name="T1" fmla="*/ 1200682 h 7882"/>
                <a:gd name="T2" fmla="*/ 945462 w 3714"/>
                <a:gd name="T3" fmla="*/ 1200682 h 7882"/>
                <a:gd name="T4" fmla="*/ 945462 w 3714"/>
                <a:gd name="T5" fmla="*/ 611498 h 7882"/>
                <a:gd name="T6" fmla="*/ 698929 w 3714"/>
                <a:gd name="T7" fmla="*/ 364596 h 7882"/>
                <a:gd name="T8" fmla="*/ 637386 w 3714"/>
                <a:gd name="T9" fmla="*/ 364596 h 7882"/>
                <a:gd name="T10" fmla="*/ 390493 w 3714"/>
                <a:gd name="T11" fmla="*/ 611498 h 7882"/>
                <a:gd name="T12" fmla="*/ 390493 w 3714"/>
                <a:gd name="T13" fmla="*/ 1200682 h 7882"/>
                <a:gd name="T14" fmla="*/ 389414 w 3714"/>
                <a:gd name="T15" fmla="*/ 1576795 h 7882"/>
                <a:gd name="T16" fmla="*/ 390493 w 3714"/>
                <a:gd name="T17" fmla="*/ 2224645 h 7882"/>
                <a:gd name="T18" fmla="*/ 637386 w 3714"/>
                <a:gd name="T19" fmla="*/ 2471548 h 7882"/>
                <a:gd name="T20" fmla="*/ 709366 w 3714"/>
                <a:gd name="T21" fmla="*/ 2471548 h 7882"/>
                <a:gd name="T22" fmla="*/ 955899 w 3714"/>
                <a:gd name="T23" fmla="*/ 2224645 h 7882"/>
                <a:gd name="T24" fmla="*/ 955899 w 3714"/>
                <a:gd name="T25" fmla="*/ 1906119 h 7882"/>
                <a:gd name="T26" fmla="*/ 1336315 w 3714"/>
                <a:gd name="T27" fmla="*/ 1906119 h 7882"/>
                <a:gd name="T28" fmla="*/ 1336315 w 3714"/>
                <a:gd name="T29" fmla="*/ 2209528 h 7882"/>
                <a:gd name="T30" fmla="*/ 709366 w 3714"/>
                <a:gd name="T31" fmla="*/ 2836503 h 7882"/>
                <a:gd name="T32" fmla="*/ 626949 w 3714"/>
                <a:gd name="T33" fmla="*/ 2836503 h 7882"/>
                <a:gd name="T34" fmla="*/ 0 w 3714"/>
                <a:gd name="T35" fmla="*/ 2258117 h 7882"/>
                <a:gd name="T36" fmla="*/ 0 w 3714"/>
                <a:gd name="T37" fmla="*/ 675564 h 7882"/>
                <a:gd name="T38" fmla="*/ 626949 w 3714"/>
                <a:gd name="T39" fmla="*/ 0 h 7882"/>
                <a:gd name="T40" fmla="*/ 709366 w 3714"/>
                <a:gd name="T41" fmla="*/ 0 h 7882"/>
                <a:gd name="T42" fmla="*/ 1336315 w 3714"/>
                <a:gd name="T43" fmla="*/ 626975 h 7882"/>
                <a:gd name="T44" fmla="*/ 1334875 w 3714"/>
                <a:gd name="T45" fmla="*/ 1576795 h 7882"/>
                <a:gd name="T46" fmla="*/ 389414 w 3714"/>
                <a:gd name="T47" fmla="*/ 1576795 h 7882"/>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3714" h="7882">
                  <a:moveTo>
                    <a:pt x="1085" y="3336"/>
                  </a:moveTo>
                  <a:lnTo>
                    <a:pt x="2627" y="3336"/>
                  </a:lnTo>
                  <a:lnTo>
                    <a:pt x="2627" y="1699"/>
                  </a:lnTo>
                  <a:cubicBezTo>
                    <a:pt x="2627" y="1242"/>
                    <a:pt x="2399" y="1013"/>
                    <a:pt x="1942" y="1013"/>
                  </a:cubicBezTo>
                  <a:lnTo>
                    <a:pt x="1771" y="1013"/>
                  </a:lnTo>
                  <a:cubicBezTo>
                    <a:pt x="1314" y="1013"/>
                    <a:pt x="1085" y="1242"/>
                    <a:pt x="1085" y="1699"/>
                  </a:cubicBezTo>
                  <a:lnTo>
                    <a:pt x="1085" y="3336"/>
                  </a:lnTo>
                  <a:close/>
                  <a:moveTo>
                    <a:pt x="1082" y="4381"/>
                  </a:moveTo>
                  <a:lnTo>
                    <a:pt x="1085" y="6181"/>
                  </a:lnTo>
                  <a:cubicBezTo>
                    <a:pt x="1085" y="6638"/>
                    <a:pt x="1314" y="6867"/>
                    <a:pt x="1771" y="6867"/>
                  </a:cubicBezTo>
                  <a:lnTo>
                    <a:pt x="1971" y="6867"/>
                  </a:lnTo>
                  <a:cubicBezTo>
                    <a:pt x="2428" y="6867"/>
                    <a:pt x="2656" y="6638"/>
                    <a:pt x="2656" y="6181"/>
                  </a:cubicBezTo>
                  <a:lnTo>
                    <a:pt x="2656" y="5296"/>
                  </a:lnTo>
                  <a:lnTo>
                    <a:pt x="3713" y="5296"/>
                  </a:lnTo>
                  <a:lnTo>
                    <a:pt x="3713" y="6139"/>
                  </a:lnTo>
                  <a:cubicBezTo>
                    <a:pt x="3713" y="7295"/>
                    <a:pt x="3127" y="7881"/>
                    <a:pt x="1971" y="7881"/>
                  </a:cubicBezTo>
                  <a:lnTo>
                    <a:pt x="1742" y="7881"/>
                  </a:lnTo>
                  <a:cubicBezTo>
                    <a:pt x="585" y="7881"/>
                    <a:pt x="0" y="7295"/>
                    <a:pt x="0" y="6274"/>
                  </a:cubicBezTo>
                  <a:lnTo>
                    <a:pt x="0" y="1877"/>
                  </a:lnTo>
                  <a:cubicBezTo>
                    <a:pt x="0" y="585"/>
                    <a:pt x="585" y="0"/>
                    <a:pt x="1742" y="0"/>
                  </a:cubicBezTo>
                  <a:lnTo>
                    <a:pt x="1971" y="0"/>
                  </a:lnTo>
                  <a:cubicBezTo>
                    <a:pt x="3127" y="0"/>
                    <a:pt x="3713" y="585"/>
                    <a:pt x="3713" y="1742"/>
                  </a:cubicBezTo>
                  <a:lnTo>
                    <a:pt x="3709" y="4381"/>
                  </a:lnTo>
                  <a:lnTo>
                    <a:pt x="1082" y="4381"/>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endParaRPr lang="en-US"/>
            </a:p>
          </p:txBody>
        </p:sp>
        <p:sp>
          <p:nvSpPr>
            <p:cNvPr id="14" name="Freeform 2">
              <a:extLst>
                <a:ext uri="{FF2B5EF4-FFF2-40B4-BE49-F238E27FC236}">
                  <a16:creationId xmlns:a16="http://schemas.microsoft.com/office/drawing/2014/main" id="{42E34E66-67D3-DD06-5868-7A870C3EE8DE}"/>
                </a:ext>
              </a:extLst>
            </p:cNvPr>
            <p:cNvSpPr>
              <a:spLocks noChangeArrowheads="1"/>
            </p:cNvSpPr>
            <p:nvPr/>
          </p:nvSpPr>
          <p:spPr bwMode="auto">
            <a:xfrm>
              <a:off x="3109913" y="2035175"/>
              <a:ext cx="1368425" cy="3532188"/>
            </a:xfrm>
            <a:custGeom>
              <a:avLst/>
              <a:gdLst>
                <a:gd name="T0" fmla="*/ 390721 w 3800"/>
                <a:gd name="T1" fmla="*/ 2322993 h 9812"/>
                <a:gd name="T2" fmla="*/ 750833 w 3800"/>
                <a:gd name="T3" fmla="*/ 2466628 h 9812"/>
                <a:gd name="T4" fmla="*/ 976983 w 3800"/>
                <a:gd name="T5" fmla="*/ 2240556 h 9812"/>
                <a:gd name="T6" fmla="*/ 976983 w 3800"/>
                <a:gd name="T7" fmla="*/ 596138 h 9812"/>
                <a:gd name="T8" fmla="*/ 750833 w 3800"/>
                <a:gd name="T9" fmla="*/ 370066 h 9812"/>
                <a:gd name="T10" fmla="*/ 390721 w 3800"/>
                <a:gd name="T11" fmla="*/ 514061 h 9812"/>
                <a:gd name="T12" fmla="*/ 390721 w 3800"/>
                <a:gd name="T13" fmla="*/ 2322993 h 9812"/>
                <a:gd name="T14" fmla="*/ 0 w 3800"/>
                <a:gd name="T15" fmla="*/ 30599 h 9812"/>
                <a:gd name="T16" fmla="*/ 390721 w 3800"/>
                <a:gd name="T17" fmla="*/ 30599 h 9812"/>
                <a:gd name="T18" fmla="*/ 390721 w 3800"/>
                <a:gd name="T19" fmla="*/ 210592 h 9812"/>
                <a:gd name="T20" fmla="*/ 868950 w 3800"/>
                <a:gd name="T21" fmla="*/ 0 h 9812"/>
                <a:gd name="T22" fmla="*/ 1368065 w 3800"/>
                <a:gd name="T23" fmla="*/ 549699 h 9812"/>
                <a:gd name="T24" fmla="*/ 1368065 w 3800"/>
                <a:gd name="T25" fmla="*/ 2286995 h 9812"/>
                <a:gd name="T26" fmla="*/ 868950 w 3800"/>
                <a:gd name="T27" fmla="*/ 2837054 h 9812"/>
                <a:gd name="T28" fmla="*/ 390721 w 3800"/>
                <a:gd name="T29" fmla="*/ 2636541 h 9812"/>
                <a:gd name="T30" fmla="*/ 390721 w 3800"/>
                <a:gd name="T31" fmla="*/ 3531828 h 9812"/>
                <a:gd name="T32" fmla="*/ 0 w 3800"/>
                <a:gd name="T33" fmla="*/ 3531828 h 9812"/>
                <a:gd name="T34" fmla="*/ 0 w 3800"/>
                <a:gd name="T35" fmla="*/ 30599 h 9812"/>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3800" h="9812">
                  <a:moveTo>
                    <a:pt x="1085" y="6453"/>
                  </a:moveTo>
                  <a:cubicBezTo>
                    <a:pt x="1385" y="6710"/>
                    <a:pt x="1728" y="6852"/>
                    <a:pt x="2085" y="6852"/>
                  </a:cubicBezTo>
                  <a:cubicBezTo>
                    <a:pt x="2485" y="6852"/>
                    <a:pt x="2713" y="6667"/>
                    <a:pt x="2713" y="6224"/>
                  </a:cubicBezTo>
                  <a:lnTo>
                    <a:pt x="2713" y="1656"/>
                  </a:lnTo>
                  <a:cubicBezTo>
                    <a:pt x="2713" y="1213"/>
                    <a:pt x="2485" y="1028"/>
                    <a:pt x="2085" y="1028"/>
                  </a:cubicBezTo>
                  <a:cubicBezTo>
                    <a:pt x="1728" y="1028"/>
                    <a:pt x="1385" y="1170"/>
                    <a:pt x="1085" y="1428"/>
                  </a:cubicBezTo>
                  <a:lnTo>
                    <a:pt x="1085" y="6453"/>
                  </a:lnTo>
                  <a:close/>
                  <a:moveTo>
                    <a:pt x="0" y="85"/>
                  </a:moveTo>
                  <a:lnTo>
                    <a:pt x="1085" y="85"/>
                  </a:lnTo>
                  <a:lnTo>
                    <a:pt x="1085" y="585"/>
                  </a:lnTo>
                  <a:cubicBezTo>
                    <a:pt x="1342" y="314"/>
                    <a:pt x="1785" y="0"/>
                    <a:pt x="2413" y="0"/>
                  </a:cubicBezTo>
                  <a:cubicBezTo>
                    <a:pt x="3342" y="0"/>
                    <a:pt x="3799" y="614"/>
                    <a:pt x="3799" y="1527"/>
                  </a:cubicBezTo>
                  <a:lnTo>
                    <a:pt x="3799" y="6353"/>
                  </a:lnTo>
                  <a:cubicBezTo>
                    <a:pt x="3799" y="7267"/>
                    <a:pt x="3342" y="7881"/>
                    <a:pt x="2413" y="7881"/>
                  </a:cubicBezTo>
                  <a:cubicBezTo>
                    <a:pt x="1785" y="7881"/>
                    <a:pt x="1342" y="7581"/>
                    <a:pt x="1085" y="7324"/>
                  </a:cubicBezTo>
                  <a:lnTo>
                    <a:pt x="1085" y="9811"/>
                  </a:lnTo>
                  <a:lnTo>
                    <a:pt x="0" y="9811"/>
                  </a:lnTo>
                  <a:lnTo>
                    <a:pt x="0" y="85"/>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endParaRPr lang="en-US"/>
            </a:p>
          </p:txBody>
        </p:sp>
        <p:sp>
          <p:nvSpPr>
            <p:cNvPr id="16" name="Freeform 3">
              <a:extLst>
                <a:ext uri="{FF2B5EF4-FFF2-40B4-BE49-F238E27FC236}">
                  <a16:creationId xmlns:a16="http://schemas.microsoft.com/office/drawing/2014/main" id="{5147E203-F5BC-DD86-0B4A-36935ADFD824}"/>
                </a:ext>
              </a:extLst>
            </p:cNvPr>
            <p:cNvSpPr>
              <a:spLocks noChangeArrowheads="1"/>
            </p:cNvSpPr>
            <p:nvPr/>
          </p:nvSpPr>
          <p:spPr bwMode="auto">
            <a:xfrm>
              <a:off x="4711700" y="2035175"/>
              <a:ext cx="1328738" cy="2836863"/>
            </a:xfrm>
            <a:custGeom>
              <a:avLst/>
              <a:gdLst>
                <a:gd name="T0" fmla="*/ 937679 w 3690"/>
                <a:gd name="T1" fmla="*/ 2338019 h 7882"/>
                <a:gd name="T2" fmla="*/ 937679 w 3690"/>
                <a:gd name="T3" fmla="*/ 1422750 h 7882"/>
                <a:gd name="T4" fmla="*/ 582988 w 3690"/>
                <a:gd name="T5" fmla="*/ 1556999 h 7882"/>
                <a:gd name="T6" fmla="*/ 392500 w 3690"/>
                <a:gd name="T7" fmla="*/ 1844573 h 7882"/>
                <a:gd name="T8" fmla="*/ 392500 w 3690"/>
                <a:gd name="T9" fmla="*/ 2266035 h 7882"/>
                <a:gd name="T10" fmla="*/ 582988 w 3690"/>
                <a:gd name="T11" fmla="*/ 2466149 h 7882"/>
                <a:gd name="T12" fmla="*/ 937679 w 3690"/>
                <a:gd name="T13" fmla="*/ 2338019 h 7882"/>
                <a:gd name="T14" fmla="*/ 2161 w 3690"/>
                <a:gd name="T15" fmla="*/ 1839174 h 7882"/>
                <a:gd name="T16" fmla="*/ 413025 w 3690"/>
                <a:gd name="T17" fmla="*/ 1253950 h 7882"/>
                <a:gd name="T18" fmla="*/ 937679 w 3690"/>
                <a:gd name="T19" fmla="*/ 1073991 h 7882"/>
                <a:gd name="T20" fmla="*/ 937679 w 3690"/>
                <a:gd name="T21" fmla="*/ 611498 h 7882"/>
                <a:gd name="T22" fmla="*/ 690656 w 3690"/>
                <a:gd name="T23" fmla="*/ 359557 h 7882"/>
                <a:gd name="T24" fmla="*/ 627280 w 3690"/>
                <a:gd name="T25" fmla="*/ 359557 h 7882"/>
                <a:gd name="T26" fmla="*/ 380257 w 3690"/>
                <a:gd name="T27" fmla="*/ 611498 h 7882"/>
                <a:gd name="T28" fmla="*/ 380257 w 3690"/>
                <a:gd name="T29" fmla="*/ 1004527 h 7882"/>
                <a:gd name="T30" fmla="*/ 0 w 3690"/>
                <a:gd name="T31" fmla="*/ 1004527 h 7882"/>
                <a:gd name="T32" fmla="*/ 0 w 3690"/>
                <a:gd name="T33" fmla="*/ 626975 h 7882"/>
                <a:gd name="T34" fmla="*/ 627280 w 3690"/>
                <a:gd name="T35" fmla="*/ 0 h 7882"/>
                <a:gd name="T36" fmla="*/ 701098 w 3690"/>
                <a:gd name="T37" fmla="*/ 0 h 7882"/>
                <a:gd name="T38" fmla="*/ 1328378 w 3690"/>
                <a:gd name="T39" fmla="*/ 626975 h 7882"/>
                <a:gd name="T40" fmla="*/ 1328378 w 3690"/>
                <a:gd name="T41" fmla="*/ 2805550 h 7882"/>
                <a:gd name="T42" fmla="*/ 937679 w 3690"/>
                <a:gd name="T43" fmla="*/ 2805550 h 7882"/>
                <a:gd name="T44" fmla="*/ 937679 w 3690"/>
                <a:gd name="T45" fmla="*/ 2630631 h 7882"/>
                <a:gd name="T46" fmla="*/ 459477 w 3690"/>
                <a:gd name="T47" fmla="*/ 2836503 h 7882"/>
                <a:gd name="T48" fmla="*/ 2161 w 3690"/>
                <a:gd name="T49" fmla="*/ 2348096 h 7882"/>
                <a:gd name="T50" fmla="*/ 2161 w 3690"/>
                <a:gd name="T51" fmla="*/ 1839174 h 7882"/>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3690" h="7882">
                  <a:moveTo>
                    <a:pt x="2604" y="6496"/>
                  </a:moveTo>
                  <a:lnTo>
                    <a:pt x="2604" y="3953"/>
                  </a:lnTo>
                  <a:lnTo>
                    <a:pt x="1619" y="4326"/>
                  </a:lnTo>
                  <a:cubicBezTo>
                    <a:pt x="1219" y="4483"/>
                    <a:pt x="1090" y="4683"/>
                    <a:pt x="1090" y="5125"/>
                  </a:cubicBezTo>
                  <a:lnTo>
                    <a:pt x="1090" y="6296"/>
                  </a:lnTo>
                  <a:cubicBezTo>
                    <a:pt x="1090" y="6667"/>
                    <a:pt x="1276" y="6852"/>
                    <a:pt x="1619" y="6852"/>
                  </a:cubicBezTo>
                  <a:cubicBezTo>
                    <a:pt x="1947" y="6852"/>
                    <a:pt x="2247" y="6738"/>
                    <a:pt x="2604" y="6496"/>
                  </a:cubicBezTo>
                  <a:close/>
                  <a:moveTo>
                    <a:pt x="6" y="5110"/>
                  </a:moveTo>
                  <a:cubicBezTo>
                    <a:pt x="6" y="4155"/>
                    <a:pt x="320" y="3769"/>
                    <a:pt x="1147" y="3484"/>
                  </a:cubicBezTo>
                  <a:lnTo>
                    <a:pt x="2604" y="2984"/>
                  </a:lnTo>
                  <a:lnTo>
                    <a:pt x="2604" y="1699"/>
                  </a:lnTo>
                  <a:cubicBezTo>
                    <a:pt x="2604" y="1242"/>
                    <a:pt x="2375" y="999"/>
                    <a:pt x="1918" y="999"/>
                  </a:cubicBezTo>
                  <a:lnTo>
                    <a:pt x="1742" y="999"/>
                  </a:lnTo>
                  <a:cubicBezTo>
                    <a:pt x="1285" y="999"/>
                    <a:pt x="1056" y="1242"/>
                    <a:pt x="1056" y="1699"/>
                  </a:cubicBezTo>
                  <a:lnTo>
                    <a:pt x="1056" y="2791"/>
                  </a:lnTo>
                  <a:lnTo>
                    <a:pt x="0" y="2791"/>
                  </a:lnTo>
                  <a:lnTo>
                    <a:pt x="0" y="1742"/>
                  </a:lnTo>
                  <a:cubicBezTo>
                    <a:pt x="0" y="585"/>
                    <a:pt x="586" y="0"/>
                    <a:pt x="1742" y="0"/>
                  </a:cubicBezTo>
                  <a:lnTo>
                    <a:pt x="1947" y="0"/>
                  </a:lnTo>
                  <a:cubicBezTo>
                    <a:pt x="3104" y="0"/>
                    <a:pt x="3689" y="585"/>
                    <a:pt x="3689" y="1742"/>
                  </a:cubicBezTo>
                  <a:lnTo>
                    <a:pt x="3689" y="7795"/>
                  </a:lnTo>
                  <a:lnTo>
                    <a:pt x="2604" y="7795"/>
                  </a:lnTo>
                  <a:lnTo>
                    <a:pt x="2604" y="7309"/>
                  </a:lnTo>
                  <a:cubicBezTo>
                    <a:pt x="2304" y="7595"/>
                    <a:pt x="1904" y="7881"/>
                    <a:pt x="1276" y="7881"/>
                  </a:cubicBezTo>
                  <a:cubicBezTo>
                    <a:pt x="406" y="7881"/>
                    <a:pt x="6" y="7381"/>
                    <a:pt x="6" y="6524"/>
                  </a:cubicBezTo>
                  <a:lnTo>
                    <a:pt x="6" y="5110"/>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endParaRPr lang="en-US"/>
            </a:p>
          </p:txBody>
        </p:sp>
        <p:sp>
          <p:nvSpPr>
            <p:cNvPr id="17" name="Freeform 4">
              <a:extLst>
                <a:ext uri="{FF2B5EF4-FFF2-40B4-BE49-F238E27FC236}">
                  <a16:creationId xmlns:a16="http://schemas.microsoft.com/office/drawing/2014/main" id="{98B25805-764D-FDFD-5DA8-05892C560EA8}"/>
                </a:ext>
              </a:extLst>
            </p:cNvPr>
            <p:cNvSpPr>
              <a:spLocks noChangeArrowheads="1"/>
            </p:cNvSpPr>
            <p:nvPr/>
          </p:nvSpPr>
          <p:spPr bwMode="auto">
            <a:xfrm>
              <a:off x="6292850" y="2035175"/>
              <a:ext cx="2262188" cy="2806700"/>
            </a:xfrm>
            <a:custGeom>
              <a:avLst/>
              <a:gdLst>
                <a:gd name="T0" fmla="*/ 1326358 w 6285"/>
                <a:gd name="T1" fmla="*/ 2806340 h 7796"/>
                <a:gd name="T2" fmla="*/ 935470 w 6285"/>
                <a:gd name="T3" fmla="*/ 2806340 h 7796"/>
                <a:gd name="T4" fmla="*/ 935470 w 6285"/>
                <a:gd name="T5" fmla="*/ 570628 h 7796"/>
                <a:gd name="T6" fmla="*/ 750463 w 6285"/>
                <a:gd name="T7" fmla="*/ 370098 h 7796"/>
                <a:gd name="T8" fmla="*/ 390889 w 6285"/>
                <a:gd name="T9" fmla="*/ 508705 h 7796"/>
                <a:gd name="T10" fmla="*/ 390889 w 6285"/>
                <a:gd name="T11" fmla="*/ 2806340 h 7796"/>
                <a:gd name="T12" fmla="*/ 0 w 6285"/>
                <a:gd name="T13" fmla="*/ 2806340 h 7796"/>
                <a:gd name="T14" fmla="*/ 0 w 6285"/>
                <a:gd name="T15" fmla="*/ 30602 h 7796"/>
                <a:gd name="T16" fmla="*/ 390889 w 6285"/>
                <a:gd name="T17" fmla="*/ 30602 h 7796"/>
                <a:gd name="T18" fmla="*/ 390889 w 6285"/>
                <a:gd name="T19" fmla="*/ 210611 h 7796"/>
                <a:gd name="T20" fmla="*/ 868882 w 6285"/>
                <a:gd name="T21" fmla="*/ 0 h 7796"/>
                <a:gd name="T22" fmla="*/ 1274888 w 6285"/>
                <a:gd name="T23" fmla="*/ 226091 h 7796"/>
                <a:gd name="T24" fmla="*/ 1804351 w 6285"/>
                <a:gd name="T25" fmla="*/ 0 h 7796"/>
                <a:gd name="T26" fmla="*/ 2261828 w 6285"/>
                <a:gd name="T27" fmla="*/ 488184 h 7796"/>
                <a:gd name="T28" fmla="*/ 2261828 w 6285"/>
                <a:gd name="T29" fmla="*/ 2806340 h 7796"/>
                <a:gd name="T30" fmla="*/ 1870939 w 6285"/>
                <a:gd name="T31" fmla="*/ 2806340 h 7796"/>
                <a:gd name="T32" fmla="*/ 1870939 w 6285"/>
                <a:gd name="T33" fmla="*/ 570628 h 7796"/>
                <a:gd name="T34" fmla="*/ 1685933 w 6285"/>
                <a:gd name="T35" fmla="*/ 370098 h 7796"/>
                <a:gd name="T36" fmla="*/ 1326358 w 6285"/>
                <a:gd name="T37" fmla="*/ 508705 h 7796"/>
                <a:gd name="T38" fmla="*/ 1326358 w 6285"/>
                <a:gd name="T39" fmla="*/ 2806340 h 779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6285" h="7796">
                  <a:moveTo>
                    <a:pt x="3685" y="7795"/>
                  </a:moveTo>
                  <a:lnTo>
                    <a:pt x="2599" y="7795"/>
                  </a:lnTo>
                  <a:lnTo>
                    <a:pt x="2599" y="1585"/>
                  </a:lnTo>
                  <a:cubicBezTo>
                    <a:pt x="2599" y="1199"/>
                    <a:pt x="2414" y="1028"/>
                    <a:pt x="2085" y="1028"/>
                  </a:cubicBezTo>
                  <a:cubicBezTo>
                    <a:pt x="1785" y="1028"/>
                    <a:pt x="1471" y="1142"/>
                    <a:pt x="1086" y="1413"/>
                  </a:cubicBezTo>
                  <a:lnTo>
                    <a:pt x="1086" y="7795"/>
                  </a:lnTo>
                  <a:lnTo>
                    <a:pt x="0" y="7795"/>
                  </a:lnTo>
                  <a:lnTo>
                    <a:pt x="0" y="85"/>
                  </a:lnTo>
                  <a:lnTo>
                    <a:pt x="1086" y="85"/>
                  </a:lnTo>
                  <a:lnTo>
                    <a:pt x="1086" y="585"/>
                  </a:lnTo>
                  <a:cubicBezTo>
                    <a:pt x="1400" y="285"/>
                    <a:pt x="1814" y="0"/>
                    <a:pt x="2414" y="0"/>
                  </a:cubicBezTo>
                  <a:cubicBezTo>
                    <a:pt x="2971" y="0"/>
                    <a:pt x="3342" y="228"/>
                    <a:pt x="3542" y="628"/>
                  </a:cubicBezTo>
                  <a:cubicBezTo>
                    <a:pt x="3928" y="299"/>
                    <a:pt x="4385" y="0"/>
                    <a:pt x="5013" y="0"/>
                  </a:cubicBezTo>
                  <a:cubicBezTo>
                    <a:pt x="5855" y="0"/>
                    <a:pt x="6284" y="514"/>
                    <a:pt x="6284" y="1356"/>
                  </a:cubicBezTo>
                  <a:lnTo>
                    <a:pt x="6284" y="7795"/>
                  </a:lnTo>
                  <a:lnTo>
                    <a:pt x="5198" y="7795"/>
                  </a:lnTo>
                  <a:lnTo>
                    <a:pt x="5198" y="1585"/>
                  </a:lnTo>
                  <a:cubicBezTo>
                    <a:pt x="5198" y="1199"/>
                    <a:pt x="5013" y="1028"/>
                    <a:pt x="4684" y="1028"/>
                  </a:cubicBezTo>
                  <a:cubicBezTo>
                    <a:pt x="4385" y="1028"/>
                    <a:pt x="4070" y="1142"/>
                    <a:pt x="3685" y="1413"/>
                  </a:cubicBezTo>
                  <a:lnTo>
                    <a:pt x="3685" y="7795"/>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endParaRPr lang="en-US"/>
            </a:p>
          </p:txBody>
        </p:sp>
        <p:sp>
          <p:nvSpPr>
            <p:cNvPr id="18" name="Freeform 5">
              <a:extLst>
                <a:ext uri="{FF2B5EF4-FFF2-40B4-BE49-F238E27FC236}">
                  <a16:creationId xmlns:a16="http://schemas.microsoft.com/office/drawing/2014/main" id="{07A6092E-C8AC-7753-DE44-2274223FDE85}"/>
                </a:ext>
              </a:extLst>
            </p:cNvPr>
            <p:cNvSpPr>
              <a:spLocks noChangeArrowheads="1"/>
            </p:cNvSpPr>
            <p:nvPr/>
          </p:nvSpPr>
          <p:spPr bwMode="auto">
            <a:xfrm>
              <a:off x="14288" y="2322513"/>
              <a:ext cx="1004887" cy="2274887"/>
            </a:xfrm>
            <a:custGeom>
              <a:avLst/>
              <a:gdLst>
                <a:gd name="T0" fmla="*/ 1004527 w 2790"/>
                <a:gd name="T1" fmla="*/ 0 h 6317"/>
                <a:gd name="T2" fmla="*/ 1004527 w 2790"/>
                <a:gd name="T3" fmla="*/ 510652 h 6317"/>
                <a:gd name="T4" fmla="*/ 346488 w 2790"/>
                <a:gd name="T5" fmla="*/ 1137624 h 6317"/>
                <a:gd name="T6" fmla="*/ 1004527 w 2790"/>
                <a:gd name="T7" fmla="*/ 1752711 h 6317"/>
                <a:gd name="T8" fmla="*/ 1004527 w 2790"/>
                <a:gd name="T9" fmla="*/ 2274527 h 6317"/>
                <a:gd name="T10" fmla="*/ 0 w 2790"/>
                <a:gd name="T11" fmla="*/ 1331009 h 6317"/>
                <a:gd name="T12" fmla="*/ 0 w 2790"/>
                <a:gd name="T13" fmla="*/ 955042 h 6317"/>
                <a:gd name="T14" fmla="*/ 1004527 w 2790"/>
                <a:gd name="T15" fmla="*/ 0 h 6317"/>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2790" h="6317">
                  <a:moveTo>
                    <a:pt x="2789" y="0"/>
                  </a:moveTo>
                  <a:lnTo>
                    <a:pt x="2789" y="1418"/>
                  </a:lnTo>
                  <a:lnTo>
                    <a:pt x="962" y="3159"/>
                  </a:lnTo>
                  <a:lnTo>
                    <a:pt x="2789" y="4867"/>
                  </a:lnTo>
                  <a:lnTo>
                    <a:pt x="2789" y="6316"/>
                  </a:lnTo>
                  <a:lnTo>
                    <a:pt x="0" y="3696"/>
                  </a:lnTo>
                  <a:lnTo>
                    <a:pt x="0" y="2652"/>
                  </a:lnTo>
                  <a:lnTo>
                    <a:pt x="2789"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endParaRPr lang="en-US"/>
            </a:p>
          </p:txBody>
        </p:sp>
        <p:sp>
          <p:nvSpPr>
            <p:cNvPr id="19" name="Freeform 6">
              <a:extLst>
                <a:ext uri="{FF2B5EF4-FFF2-40B4-BE49-F238E27FC236}">
                  <a16:creationId xmlns:a16="http://schemas.microsoft.com/office/drawing/2014/main" id="{9C206B34-5D5D-7BD5-B029-46822DF17836}"/>
                </a:ext>
              </a:extLst>
            </p:cNvPr>
            <p:cNvSpPr>
              <a:spLocks noChangeArrowheads="1"/>
            </p:cNvSpPr>
            <p:nvPr/>
          </p:nvSpPr>
          <p:spPr bwMode="auto">
            <a:xfrm>
              <a:off x="9050338" y="2322513"/>
              <a:ext cx="1003300" cy="2274887"/>
            </a:xfrm>
            <a:custGeom>
              <a:avLst/>
              <a:gdLst>
                <a:gd name="T0" fmla="*/ 1002940 w 2789"/>
                <a:gd name="T1" fmla="*/ 955042 h 6317"/>
                <a:gd name="T2" fmla="*/ 1002940 w 2789"/>
                <a:gd name="T3" fmla="*/ 1331009 h 6317"/>
                <a:gd name="T4" fmla="*/ 0 w 2789"/>
                <a:gd name="T5" fmla="*/ 2274527 h 6317"/>
                <a:gd name="T6" fmla="*/ 0 w 2789"/>
                <a:gd name="T7" fmla="*/ 1752711 h 6317"/>
                <a:gd name="T8" fmla="*/ 656876 w 2789"/>
                <a:gd name="T9" fmla="*/ 1137624 h 6317"/>
                <a:gd name="T10" fmla="*/ 0 w 2789"/>
                <a:gd name="T11" fmla="*/ 510652 h 6317"/>
                <a:gd name="T12" fmla="*/ 0 w 2789"/>
                <a:gd name="T13" fmla="*/ 0 h 6317"/>
                <a:gd name="T14" fmla="*/ 1002940 w 2789"/>
                <a:gd name="T15" fmla="*/ 955042 h 6317"/>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2789" h="6317">
                  <a:moveTo>
                    <a:pt x="2788" y="2652"/>
                  </a:moveTo>
                  <a:lnTo>
                    <a:pt x="2788" y="3696"/>
                  </a:lnTo>
                  <a:lnTo>
                    <a:pt x="0" y="6316"/>
                  </a:lnTo>
                  <a:lnTo>
                    <a:pt x="0" y="4867"/>
                  </a:lnTo>
                  <a:lnTo>
                    <a:pt x="1826" y="3159"/>
                  </a:lnTo>
                  <a:lnTo>
                    <a:pt x="0" y="1418"/>
                  </a:lnTo>
                  <a:lnTo>
                    <a:pt x="0" y="0"/>
                  </a:lnTo>
                  <a:lnTo>
                    <a:pt x="2788" y="2652"/>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endParaRPr lang="en-US"/>
            </a:p>
          </p:txBody>
        </p:sp>
      </p:grpSp>
      <p:sp>
        <p:nvSpPr>
          <p:cNvPr id="20" name="Footer Placeholder 14">
            <a:extLst>
              <a:ext uri="{FF2B5EF4-FFF2-40B4-BE49-F238E27FC236}">
                <a16:creationId xmlns:a16="http://schemas.microsoft.com/office/drawing/2014/main" id="{F5D52208-A13B-4A45-006E-111CC8543728}"/>
              </a:ext>
            </a:extLst>
          </p:cNvPr>
          <p:cNvSpPr txBox="1">
            <a:spLocks/>
          </p:cNvSpPr>
          <p:nvPr userDrawn="1"/>
        </p:nvSpPr>
        <p:spPr>
          <a:xfrm>
            <a:off x="1206203" y="6411603"/>
            <a:ext cx="2157779" cy="228599"/>
          </a:xfrm>
          <a:prstGeom prst="rect">
            <a:avLst/>
          </a:prstGeom>
        </p:spPr>
        <p:txBody>
          <a:bodyPr vert="horz" lIns="0" tIns="0" rIns="0" bIns="0" rtlCol="0" anchor="ctr"/>
          <a:lstStyle>
            <a:defPPr>
              <a:defRPr lang="en-US"/>
            </a:defPPr>
            <a:lvl1pPr marL="0" algn="r" defTabSz="914400" rtl="0" eaLnBrk="1" latinLnBrk="0" hangingPunct="1">
              <a:defRPr sz="600" b="0" i="0" kern="1200">
                <a:solidFill>
                  <a:schemeClr val="tx1"/>
                </a:solidFill>
                <a:latin typeface="+mn-lt"/>
                <a:ea typeface="Calibri" panose="020F0502020204030204" pitchFamily="34" charset="0"/>
                <a:cs typeface="Calibri" panose="020F050202020403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b="0" i="0">
                <a:solidFill>
                  <a:schemeClr val="bg1"/>
                </a:solidFill>
                <a:latin typeface="+mn-lt"/>
              </a:rPr>
              <a:t>EPAM Proprietary &amp; Confidential</a:t>
            </a:r>
            <a:r>
              <a:rPr lang="ru-RU" b="0" i="0">
                <a:solidFill>
                  <a:schemeClr val="bg1"/>
                </a:solidFill>
                <a:latin typeface="+mn-lt"/>
              </a:rPr>
              <a:t> </a:t>
            </a:r>
            <a:endParaRPr lang="en-US" b="0" i="0">
              <a:solidFill>
                <a:schemeClr val="bg1"/>
              </a:solidFill>
              <a:latin typeface="+mn-lt"/>
            </a:endParaRPr>
          </a:p>
        </p:txBody>
      </p:sp>
      <p:pic>
        <p:nvPicPr>
          <p:cNvPr id="4" name="Graphic 3">
            <a:extLst>
              <a:ext uri="{FF2B5EF4-FFF2-40B4-BE49-F238E27FC236}">
                <a16:creationId xmlns:a16="http://schemas.microsoft.com/office/drawing/2014/main" id="{EF778935-AE72-971D-E3CE-DF49FE52077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820266" y="6419060"/>
            <a:ext cx="762921" cy="205636"/>
          </a:xfrm>
          <a:prstGeom prst="rect">
            <a:avLst/>
          </a:prstGeom>
        </p:spPr>
      </p:pic>
    </p:spTree>
    <p:extLst>
      <p:ext uri="{BB962C8B-B14F-4D97-AF65-F5344CB8AC3E}">
        <p14:creationId xmlns:p14="http://schemas.microsoft.com/office/powerpoint/2010/main" val="1219477699"/>
      </p:ext>
    </p:extLst>
  </p:cSld>
  <p:clrMapOvr>
    <a:masterClrMapping/>
  </p:clrMapOvr>
  <p:extLst>
    <p:ext uri="{DCECCB84-F9BA-43D5-87BE-67443E8EF086}">
      <p15:sldGuideLst xmlns:p15="http://schemas.microsoft.com/office/powerpoint/2012/main"/>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1_Our_People_3_People">
    <p:bg>
      <p:bgPr>
        <a:solidFill>
          <a:schemeClr val="bg1"/>
        </a:solidFill>
        <a:effectLst/>
      </p:bgPr>
    </p:bg>
    <p:spTree>
      <p:nvGrpSpPr>
        <p:cNvPr id="1" name=""/>
        <p:cNvGrpSpPr/>
        <p:nvPr/>
      </p:nvGrpSpPr>
      <p:grpSpPr>
        <a:xfrm>
          <a:off x="0" y="0"/>
          <a:ext cx="0" cy="0"/>
          <a:chOff x="0" y="0"/>
          <a:chExt cx="0" cy="0"/>
        </a:xfrm>
      </p:grpSpPr>
      <p:sp>
        <p:nvSpPr>
          <p:cNvPr id="7" name="Text Placeholder 4">
            <a:extLst>
              <a:ext uri="{FF2B5EF4-FFF2-40B4-BE49-F238E27FC236}">
                <a16:creationId xmlns:a16="http://schemas.microsoft.com/office/drawing/2014/main" id="{97881F8F-A8EB-2813-47A6-219B2122F63E}"/>
              </a:ext>
            </a:extLst>
          </p:cNvPr>
          <p:cNvSpPr>
            <a:spLocks noGrp="1"/>
          </p:cNvSpPr>
          <p:nvPr>
            <p:ph type="body" sz="quarter" idx="25" hasCustomPrompt="1"/>
          </p:nvPr>
        </p:nvSpPr>
        <p:spPr>
          <a:xfrm>
            <a:off x="647700" y="2916672"/>
            <a:ext cx="3467100" cy="537198"/>
          </a:xfrm>
          <a:prstGeom prst="rect">
            <a:avLst/>
          </a:prstGeom>
        </p:spPr>
        <p:txBody>
          <a:bodyPr wrap="square">
            <a:spAutoFit/>
          </a:bodyPr>
          <a:lstStyle>
            <a:lvl1pPr>
              <a:lnSpc>
                <a:spcPts val="4600"/>
              </a:lnSpc>
              <a:spcBef>
                <a:spcPts val="0"/>
              </a:spcBef>
              <a:defRPr sz="2400" b="1" i="0" spc="0">
                <a:solidFill>
                  <a:schemeClr val="tx1"/>
                </a:solidFill>
                <a:latin typeface="Calibri" panose="020F0502020204030204" pitchFamily="34" charset="0"/>
                <a:cs typeface="Calibri" panose="020F0502020204030204" pitchFamily="34" charset="0"/>
              </a:defRPr>
            </a:lvl1pPr>
            <a:lvl2pPr>
              <a:buNone/>
              <a:defRPr/>
            </a:lvl2pPr>
          </a:lstStyle>
          <a:p>
            <a:pPr lvl="0"/>
            <a:r>
              <a:rPr lang="en-US">
                <a:effectLst/>
              </a:rPr>
              <a:t>Name </a:t>
            </a:r>
            <a:r>
              <a:rPr lang="en-US" err="1">
                <a:effectLst/>
              </a:rPr>
              <a:t>Lastname</a:t>
            </a:r>
            <a:endParaRPr lang="en-US"/>
          </a:p>
        </p:txBody>
      </p:sp>
      <p:sp>
        <p:nvSpPr>
          <p:cNvPr id="10" name="Text Placeholder 4">
            <a:extLst>
              <a:ext uri="{FF2B5EF4-FFF2-40B4-BE49-F238E27FC236}">
                <a16:creationId xmlns:a16="http://schemas.microsoft.com/office/drawing/2014/main" id="{52343B4A-3451-DAED-5CA3-845DCEF785DA}"/>
              </a:ext>
            </a:extLst>
          </p:cNvPr>
          <p:cNvSpPr>
            <a:spLocks noGrp="1"/>
          </p:cNvSpPr>
          <p:nvPr>
            <p:ph type="body" sz="quarter" idx="26" hasCustomPrompt="1"/>
          </p:nvPr>
        </p:nvSpPr>
        <p:spPr>
          <a:xfrm>
            <a:off x="647700" y="3530414"/>
            <a:ext cx="3467100" cy="215444"/>
          </a:xfrm>
          <a:prstGeom prst="rect">
            <a:avLst/>
          </a:prstGeom>
        </p:spPr>
        <p:txBody>
          <a:bodyPr wrap="square" anchor="t" anchorCtr="0">
            <a:spAutoFit/>
          </a:bodyPr>
          <a:lstStyle>
            <a:lvl1pPr marL="0" marR="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sz="1400" b="1" i="0">
                <a:solidFill>
                  <a:schemeClr val="tx1"/>
                </a:solidFill>
                <a:latin typeface="Calibri" panose="020F0502020204030204" pitchFamily="34" charset="0"/>
                <a:cs typeface="Calibri" panose="020F0502020204030204" pitchFamily="34" charset="0"/>
              </a:defRPr>
            </a:lvl1pPr>
          </a:lstStyle>
          <a:p>
            <a:r>
              <a:rPr lang="en-US"/>
              <a:t>Title</a:t>
            </a:r>
          </a:p>
        </p:txBody>
      </p:sp>
      <p:sp>
        <p:nvSpPr>
          <p:cNvPr id="2" name="Picture Placeholder 11">
            <a:extLst>
              <a:ext uri="{FF2B5EF4-FFF2-40B4-BE49-F238E27FC236}">
                <a16:creationId xmlns:a16="http://schemas.microsoft.com/office/drawing/2014/main" id="{D059CF42-DE64-D215-F33D-AEF5AC07DB76}"/>
              </a:ext>
            </a:extLst>
          </p:cNvPr>
          <p:cNvSpPr>
            <a:spLocks noGrp="1"/>
          </p:cNvSpPr>
          <p:nvPr>
            <p:ph type="pic" sz="quarter" idx="28"/>
          </p:nvPr>
        </p:nvSpPr>
        <p:spPr>
          <a:xfrm>
            <a:off x="647700" y="795020"/>
            <a:ext cx="1866900" cy="1981200"/>
          </a:xfrm>
          <a:prstGeom prst="rect">
            <a:avLst/>
          </a:prstGeom>
        </p:spPr>
        <p:txBody>
          <a:bodyPr/>
          <a:lstStyle/>
          <a:p>
            <a:endParaRPr lang="en-US"/>
          </a:p>
        </p:txBody>
      </p:sp>
      <p:sp>
        <p:nvSpPr>
          <p:cNvPr id="3" name="Text Placeholder 4">
            <a:extLst>
              <a:ext uri="{FF2B5EF4-FFF2-40B4-BE49-F238E27FC236}">
                <a16:creationId xmlns:a16="http://schemas.microsoft.com/office/drawing/2014/main" id="{FC1C1359-8F08-C0F3-2D34-47EA322BD228}"/>
              </a:ext>
            </a:extLst>
          </p:cNvPr>
          <p:cNvSpPr>
            <a:spLocks noGrp="1"/>
          </p:cNvSpPr>
          <p:nvPr>
            <p:ph type="body" sz="quarter" idx="16" hasCustomPrompt="1"/>
          </p:nvPr>
        </p:nvSpPr>
        <p:spPr>
          <a:xfrm>
            <a:off x="647700" y="3972655"/>
            <a:ext cx="2781300" cy="2035109"/>
          </a:xfrm>
          <a:prstGeom prst="rect">
            <a:avLst/>
          </a:prstGeom>
        </p:spPr>
        <p:txBody>
          <a:bodyPr wrap="square" anchor="t" anchorCtr="0">
            <a:spAutoFit/>
          </a:bodyPr>
          <a:lstStyle>
            <a:lvl1pPr marL="0" marR="0" indent="0" algn="l" defTabSz="914400" rtl="0" eaLnBrk="1" fontAlgn="auto" latinLnBrk="0" hangingPunct="1">
              <a:lnSpc>
                <a:spcPts val="2000"/>
              </a:lnSpc>
              <a:spcBef>
                <a:spcPts val="600"/>
              </a:spcBef>
              <a:spcAft>
                <a:spcPts val="0"/>
              </a:spcAft>
              <a:buClrTx/>
              <a:buSzTx/>
              <a:buFont typeface="Arial" panose="020B0604020202020204" pitchFamily="34" charset="0"/>
              <a:buNone/>
              <a:tabLst/>
              <a:defRPr sz="1400" b="0" i="0">
                <a:solidFill>
                  <a:schemeClr val="tx1"/>
                </a:solidFill>
                <a:latin typeface="Calibri Light" panose="020F0302020204030204" pitchFamily="34" charset="0"/>
                <a:cs typeface="Calibri Light" panose="020F0302020204030204" pitchFamily="34" charset="0"/>
              </a:defRPr>
            </a:lvl1pPr>
          </a:lstStyle>
          <a:p>
            <a:r>
              <a:rPr lang="en-US"/>
              <a:t>Lorem ipsum </a:t>
            </a:r>
            <a:r>
              <a:rPr lang="en-US" err="1"/>
              <a:t>nulla</a:t>
            </a:r>
            <a:r>
              <a:rPr lang="en-US"/>
              <a:t> </a:t>
            </a:r>
            <a:r>
              <a:rPr lang="en-US" err="1"/>
              <a:t>primis</a:t>
            </a:r>
            <a:r>
              <a:rPr lang="en-US"/>
              <a:t> eros mi </a:t>
            </a:r>
            <a:r>
              <a:rPr lang="en-US" err="1"/>
              <a:t>maecenas</a:t>
            </a:r>
            <a:r>
              <a:rPr lang="en-US"/>
              <a:t> ligula magna, </a:t>
            </a:r>
            <a:r>
              <a:rPr lang="en-US" err="1"/>
              <a:t>nibh</a:t>
            </a:r>
            <a:r>
              <a:rPr lang="en-US"/>
              <a:t> </a:t>
            </a:r>
            <a:r>
              <a:rPr lang="en-US" err="1"/>
              <a:t>commodo</a:t>
            </a:r>
            <a:r>
              <a:rPr lang="en-US"/>
              <a:t> </a:t>
            </a:r>
            <a:r>
              <a:rPr lang="en-US" err="1"/>
              <a:t>aenean</a:t>
            </a:r>
            <a:r>
              <a:rPr lang="en-US"/>
              <a:t> </a:t>
            </a:r>
            <a:r>
              <a:rPr lang="en-US" err="1"/>
              <a:t>leo</a:t>
            </a:r>
            <a:r>
              <a:rPr lang="en-US"/>
              <a:t> porta </a:t>
            </a:r>
            <a:r>
              <a:rPr lang="en-US" err="1"/>
              <a:t>duis</a:t>
            </a:r>
            <a:r>
              <a:rPr lang="en-US"/>
              <a:t> magna </a:t>
            </a:r>
            <a:r>
              <a:rPr lang="en-US" err="1"/>
              <a:t>felis</a:t>
            </a:r>
            <a:r>
              <a:rPr lang="en-US"/>
              <a:t> </a:t>
            </a:r>
            <a:r>
              <a:rPr lang="en-US" err="1"/>
              <a:t>bibendum</a:t>
            </a:r>
            <a:r>
              <a:rPr lang="en-US"/>
              <a:t> </a:t>
            </a:r>
            <a:r>
              <a:rPr lang="en-US" err="1"/>
              <a:t>tempor</a:t>
            </a:r>
            <a:r>
              <a:rPr lang="en-US"/>
              <a:t> </a:t>
            </a:r>
            <a:r>
              <a:rPr lang="en-US" err="1"/>
              <a:t>cubilia</a:t>
            </a:r>
            <a:r>
              <a:rPr lang="en-US"/>
              <a:t> gravida </a:t>
            </a:r>
            <a:r>
              <a:rPr lang="en-US" err="1"/>
              <a:t>molestie</a:t>
            </a:r>
            <a:r>
              <a:rPr lang="en-US"/>
              <a:t> a </a:t>
            </a:r>
            <a:r>
              <a:rPr lang="en-US" err="1"/>
              <a:t>pretium</a:t>
            </a:r>
            <a:r>
              <a:rPr lang="en-US"/>
              <a:t> </a:t>
            </a:r>
            <a:r>
              <a:rPr lang="en-US" err="1"/>
              <a:t>egestas</a:t>
            </a:r>
            <a:r>
              <a:rPr lang="en-US"/>
              <a:t> </a:t>
            </a:r>
            <a:r>
              <a:rPr lang="en-US" err="1"/>
              <a:t>iaculis</a:t>
            </a:r>
            <a:r>
              <a:rPr lang="en-US"/>
              <a:t> per, eros sit </a:t>
            </a:r>
            <a:r>
              <a:rPr lang="en-US" err="1"/>
              <a:t>leo</a:t>
            </a:r>
            <a:r>
              <a:rPr lang="en-US"/>
              <a:t> </a:t>
            </a:r>
            <a:r>
              <a:rPr lang="en-US" err="1"/>
              <a:t>augue</a:t>
            </a:r>
            <a:r>
              <a:rPr lang="en-US"/>
              <a:t> tempus </a:t>
            </a:r>
            <a:r>
              <a:rPr lang="en-US" err="1"/>
              <a:t>consectetur</a:t>
            </a:r>
            <a:r>
              <a:rPr lang="en-US"/>
              <a:t> </a:t>
            </a:r>
            <a:r>
              <a:rPr lang="en-US" err="1"/>
              <a:t>primis</a:t>
            </a:r>
            <a:r>
              <a:rPr lang="en-US"/>
              <a:t> dolor ac </a:t>
            </a:r>
            <a:r>
              <a:rPr lang="en-US" err="1"/>
              <a:t>euismod</a:t>
            </a:r>
            <a:r>
              <a:rPr lang="en-US"/>
              <a:t> </a:t>
            </a:r>
            <a:r>
              <a:rPr lang="en-US" err="1"/>
              <a:t>accumsan</a:t>
            </a:r>
            <a:r>
              <a:rPr lang="en-US"/>
              <a:t>, </a:t>
            </a:r>
            <a:r>
              <a:rPr lang="en-US" err="1"/>
              <a:t>vivamus</a:t>
            </a:r>
            <a:r>
              <a:rPr lang="en-US"/>
              <a:t> </a:t>
            </a:r>
            <a:r>
              <a:rPr lang="en-US" err="1"/>
              <a:t>feugiat</a:t>
            </a:r>
            <a:r>
              <a:rPr lang="en-US"/>
              <a:t>.</a:t>
            </a:r>
          </a:p>
        </p:txBody>
      </p:sp>
      <p:sp>
        <p:nvSpPr>
          <p:cNvPr id="14" name="Text Placeholder 4">
            <a:extLst>
              <a:ext uri="{FF2B5EF4-FFF2-40B4-BE49-F238E27FC236}">
                <a16:creationId xmlns:a16="http://schemas.microsoft.com/office/drawing/2014/main" id="{0CF16E01-7092-EE1E-8080-DCF72DAA2405}"/>
              </a:ext>
            </a:extLst>
          </p:cNvPr>
          <p:cNvSpPr>
            <a:spLocks noGrp="1"/>
          </p:cNvSpPr>
          <p:nvPr>
            <p:ph type="body" sz="quarter" idx="29" hasCustomPrompt="1"/>
          </p:nvPr>
        </p:nvSpPr>
        <p:spPr>
          <a:xfrm>
            <a:off x="4394200" y="2916672"/>
            <a:ext cx="3467100" cy="537198"/>
          </a:xfrm>
          <a:prstGeom prst="rect">
            <a:avLst/>
          </a:prstGeom>
        </p:spPr>
        <p:txBody>
          <a:bodyPr wrap="square">
            <a:spAutoFit/>
          </a:bodyPr>
          <a:lstStyle>
            <a:lvl1pPr>
              <a:lnSpc>
                <a:spcPts val="4600"/>
              </a:lnSpc>
              <a:spcBef>
                <a:spcPts val="0"/>
              </a:spcBef>
              <a:defRPr sz="2400" b="1" i="0" spc="0">
                <a:solidFill>
                  <a:schemeClr val="tx1"/>
                </a:solidFill>
                <a:latin typeface="Calibri" panose="020F0502020204030204" pitchFamily="34" charset="0"/>
                <a:cs typeface="Calibri" panose="020F0502020204030204" pitchFamily="34" charset="0"/>
              </a:defRPr>
            </a:lvl1pPr>
            <a:lvl2pPr>
              <a:buNone/>
              <a:defRPr/>
            </a:lvl2pPr>
          </a:lstStyle>
          <a:p>
            <a:pPr lvl="0"/>
            <a:r>
              <a:rPr lang="en-US">
                <a:effectLst/>
              </a:rPr>
              <a:t>Name </a:t>
            </a:r>
            <a:r>
              <a:rPr lang="en-US" err="1">
                <a:effectLst/>
              </a:rPr>
              <a:t>Lastname</a:t>
            </a:r>
            <a:endParaRPr lang="en-US"/>
          </a:p>
        </p:txBody>
      </p:sp>
      <p:sp>
        <p:nvSpPr>
          <p:cNvPr id="15" name="Text Placeholder 4">
            <a:extLst>
              <a:ext uri="{FF2B5EF4-FFF2-40B4-BE49-F238E27FC236}">
                <a16:creationId xmlns:a16="http://schemas.microsoft.com/office/drawing/2014/main" id="{3CA67D79-120D-160C-DD3C-77D27D493F36}"/>
              </a:ext>
            </a:extLst>
          </p:cNvPr>
          <p:cNvSpPr>
            <a:spLocks noGrp="1"/>
          </p:cNvSpPr>
          <p:nvPr>
            <p:ph type="body" sz="quarter" idx="30" hasCustomPrompt="1"/>
          </p:nvPr>
        </p:nvSpPr>
        <p:spPr>
          <a:xfrm>
            <a:off x="4394200" y="3530414"/>
            <a:ext cx="3467100" cy="215444"/>
          </a:xfrm>
          <a:prstGeom prst="rect">
            <a:avLst/>
          </a:prstGeom>
        </p:spPr>
        <p:txBody>
          <a:bodyPr wrap="square" anchor="t" anchorCtr="0">
            <a:spAutoFit/>
          </a:bodyPr>
          <a:lstStyle>
            <a:lvl1pPr marL="0" marR="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sz="1400" b="1" i="0">
                <a:solidFill>
                  <a:schemeClr val="tx1"/>
                </a:solidFill>
                <a:latin typeface="Calibri" panose="020F0502020204030204" pitchFamily="34" charset="0"/>
                <a:cs typeface="Calibri" panose="020F0502020204030204" pitchFamily="34" charset="0"/>
              </a:defRPr>
            </a:lvl1pPr>
          </a:lstStyle>
          <a:p>
            <a:r>
              <a:rPr lang="en-US"/>
              <a:t>Title</a:t>
            </a:r>
          </a:p>
        </p:txBody>
      </p:sp>
      <p:sp>
        <p:nvSpPr>
          <p:cNvPr id="16" name="Picture Placeholder 11">
            <a:extLst>
              <a:ext uri="{FF2B5EF4-FFF2-40B4-BE49-F238E27FC236}">
                <a16:creationId xmlns:a16="http://schemas.microsoft.com/office/drawing/2014/main" id="{8BF8ECD0-B431-B638-27D5-32D70A5C2A1C}"/>
              </a:ext>
            </a:extLst>
          </p:cNvPr>
          <p:cNvSpPr>
            <a:spLocks noGrp="1"/>
          </p:cNvSpPr>
          <p:nvPr>
            <p:ph type="pic" sz="quarter" idx="31"/>
          </p:nvPr>
        </p:nvSpPr>
        <p:spPr>
          <a:xfrm>
            <a:off x="4394200" y="795020"/>
            <a:ext cx="1866900" cy="1981200"/>
          </a:xfrm>
          <a:prstGeom prst="rect">
            <a:avLst/>
          </a:prstGeom>
        </p:spPr>
        <p:txBody>
          <a:bodyPr/>
          <a:lstStyle/>
          <a:p>
            <a:endParaRPr lang="en-US"/>
          </a:p>
        </p:txBody>
      </p:sp>
      <p:sp>
        <p:nvSpPr>
          <p:cNvPr id="17" name="Text Placeholder 4">
            <a:extLst>
              <a:ext uri="{FF2B5EF4-FFF2-40B4-BE49-F238E27FC236}">
                <a16:creationId xmlns:a16="http://schemas.microsoft.com/office/drawing/2014/main" id="{66E89CDA-AA89-1D71-39FA-7994E05AE92F}"/>
              </a:ext>
            </a:extLst>
          </p:cNvPr>
          <p:cNvSpPr>
            <a:spLocks noGrp="1"/>
          </p:cNvSpPr>
          <p:nvPr>
            <p:ph type="body" sz="quarter" idx="32" hasCustomPrompt="1"/>
          </p:nvPr>
        </p:nvSpPr>
        <p:spPr>
          <a:xfrm>
            <a:off x="4394200" y="3972655"/>
            <a:ext cx="2781300" cy="2035109"/>
          </a:xfrm>
          <a:prstGeom prst="rect">
            <a:avLst/>
          </a:prstGeom>
        </p:spPr>
        <p:txBody>
          <a:bodyPr wrap="square" anchor="t" anchorCtr="0">
            <a:spAutoFit/>
          </a:bodyPr>
          <a:lstStyle>
            <a:lvl1pPr marL="0" marR="0" indent="0" algn="l" defTabSz="914400" rtl="0" eaLnBrk="1" fontAlgn="auto" latinLnBrk="0" hangingPunct="1">
              <a:lnSpc>
                <a:spcPts val="2000"/>
              </a:lnSpc>
              <a:spcBef>
                <a:spcPts val="600"/>
              </a:spcBef>
              <a:spcAft>
                <a:spcPts val="0"/>
              </a:spcAft>
              <a:buClrTx/>
              <a:buSzTx/>
              <a:buFont typeface="Arial" panose="020B0604020202020204" pitchFamily="34" charset="0"/>
              <a:buNone/>
              <a:tabLst/>
              <a:defRPr sz="1400" b="0" i="0">
                <a:solidFill>
                  <a:schemeClr val="tx1"/>
                </a:solidFill>
                <a:latin typeface="Calibri Light" panose="020F0302020204030204" pitchFamily="34" charset="0"/>
                <a:cs typeface="Calibri Light" panose="020F0302020204030204" pitchFamily="34" charset="0"/>
              </a:defRPr>
            </a:lvl1pPr>
          </a:lstStyle>
          <a:p>
            <a:r>
              <a:rPr lang="en-US"/>
              <a:t>Lorem ipsum </a:t>
            </a:r>
            <a:r>
              <a:rPr lang="en-US" err="1"/>
              <a:t>nulla</a:t>
            </a:r>
            <a:r>
              <a:rPr lang="en-US"/>
              <a:t> </a:t>
            </a:r>
            <a:r>
              <a:rPr lang="en-US" err="1"/>
              <a:t>primis</a:t>
            </a:r>
            <a:r>
              <a:rPr lang="en-US"/>
              <a:t> eros mi </a:t>
            </a:r>
            <a:r>
              <a:rPr lang="en-US" err="1"/>
              <a:t>maecenas</a:t>
            </a:r>
            <a:r>
              <a:rPr lang="en-US"/>
              <a:t> ligula magna, </a:t>
            </a:r>
            <a:r>
              <a:rPr lang="en-US" err="1"/>
              <a:t>nibh</a:t>
            </a:r>
            <a:r>
              <a:rPr lang="en-US"/>
              <a:t> </a:t>
            </a:r>
            <a:r>
              <a:rPr lang="en-US" err="1"/>
              <a:t>commodo</a:t>
            </a:r>
            <a:r>
              <a:rPr lang="en-US"/>
              <a:t> </a:t>
            </a:r>
            <a:r>
              <a:rPr lang="en-US" err="1"/>
              <a:t>aenean</a:t>
            </a:r>
            <a:r>
              <a:rPr lang="en-US"/>
              <a:t> </a:t>
            </a:r>
            <a:r>
              <a:rPr lang="en-US" err="1"/>
              <a:t>leo</a:t>
            </a:r>
            <a:r>
              <a:rPr lang="en-US"/>
              <a:t> porta </a:t>
            </a:r>
            <a:r>
              <a:rPr lang="en-US" err="1"/>
              <a:t>duis</a:t>
            </a:r>
            <a:r>
              <a:rPr lang="en-US"/>
              <a:t> magna </a:t>
            </a:r>
            <a:r>
              <a:rPr lang="en-US" err="1"/>
              <a:t>felis</a:t>
            </a:r>
            <a:r>
              <a:rPr lang="en-US"/>
              <a:t> </a:t>
            </a:r>
            <a:r>
              <a:rPr lang="en-US" err="1"/>
              <a:t>bibendum</a:t>
            </a:r>
            <a:r>
              <a:rPr lang="en-US"/>
              <a:t> </a:t>
            </a:r>
            <a:r>
              <a:rPr lang="en-US" err="1"/>
              <a:t>tempor</a:t>
            </a:r>
            <a:r>
              <a:rPr lang="en-US"/>
              <a:t> </a:t>
            </a:r>
            <a:r>
              <a:rPr lang="en-US" err="1"/>
              <a:t>cubilia</a:t>
            </a:r>
            <a:r>
              <a:rPr lang="en-US"/>
              <a:t> gravida </a:t>
            </a:r>
            <a:r>
              <a:rPr lang="en-US" err="1"/>
              <a:t>molestie</a:t>
            </a:r>
            <a:r>
              <a:rPr lang="en-US"/>
              <a:t> a </a:t>
            </a:r>
            <a:r>
              <a:rPr lang="en-US" err="1"/>
              <a:t>pretium</a:t>
            </a:r>
            <a:r>
              <a:rPr lang="en-US"/>
              <a:t> </a:t>
            </a:r>
            <a:r>
              <a:rPr lang="en-US" err="1"/>
              <a:t>egestas</a:t>
            </a:r>
            <a:r>
              <a:rPr lang="en-US"/>
              <a:t> </a:t>
            </a:r>
            <a:r>
              <a:rPr lang="en-US" err="1"/>
              <a:t>iaculis</a:t>
            </a:r>
            <a:r>
              <a:rPr lang="en-US"/>
              <a:t> per, eros sit </a:t>
            </a:r>
            <a:r>
              <a:rPr lang="en-US" err="1"/>
              <a:t>leo</a:t>
            </a:r>
            <a:r>
              <a:rPr lang="en-US"/>
              <a:t> </a:t>
            </a:r>
            <a:r>
              <a:rPr lang="en-US" err="1"/>
              <a:t>augue</a:t>
            </a:r>
            <a:r>
              <a:rPr lang="en-US"/>
              <a:t> tempus </a:t>
            </a:r>
            <a:r>
              <a:rPr lang="en-US" err="1"/>
              <a:t>consectetur</a:t>
            </a:r>
            <a:r>
              <a:rPr lang="en-US"/>
              <a:t> </a:t>
            </a:r>
            <a:r>
              <a:rPr lang="en-US" err="1"/>
              <a:t>primis</a:t>
            </a:r>
            <a:r>
              <a:rPr lang="en-US"/>
              <a:t> dolor ac </a:t>
            </a:r>
            <a:r>
              <a:rPr lang="en-US" err="1"/>
              <a:t>euismod</a:t>
            </a:r>
            <a:r>
              <a:rPr lang="en-US"/>
              <a:t> </a:t>
            </a:r>
            <a:r>
              <a:rPr lang="en-US" err="1"/>
              <a:t>accumsan</a:t>
            </a:r>
            <a:r>
              <a:rPr lang="en-US"/>
              <a:t>, </a:t>
            </a:r>
            <a:r>
              <a:rPr lang="en-US" err="1"/>
              <a:t>vivamus</a:t>
            </a:r>
            <a:r>
              <a:rPr lang="en-US"/>
              <a:t> </a:t>
            </a:r>
            <a:r>
              <a:rPr lang="en-US" err="1"/>
              <a:t>feugiat</a:t>
            </a:r>
            <a:r>
              <a:rPr lang="en-US"/>
              <a:t>.</a:t>
            </a:r>
          </a:p>
        </p:txBody>
      </p:sp>
      <p:sp>
        <p:nvSpPr>
          <p:cNvPr id="18" name="Text Placeholder 4">
            <a:extLst>
              <a:ext uri="{FF2B5EF4-FFF2-40B4-BE49-F238E27FC236}">
                <a16:creationId xmlns:a16="http://schemas.microsoft.com/office/drawing/2014/main" id="{4B3BDFDF-6AC9-EF9C-D008-AB293FA5AAC3}"/>
              </a:ext>
            </a:extLst>
          </p:cNvPr>
          <p:cNvSpPr>
            <a:spLocks noGrp="1"/>
          </p:cNvSpPr>
          <p:nvPr>
            <p:ph type="body" sz="quarter" idx="33" hasCustomPrompt="1"/>
          </p:nvPr>
        </p:nvSpPr>
        <p:spPr>
          <a:xfrm>
            <a:off x="8128000" y="2916672"/>
            <a:ext cx="3467100" cy="537198"/>
          </a:xfrm>
          <a:prstGeom prst="rect">
            <a:avLst/>
          </a:prstGeom>
        </p:spPr>
        <p:txBody>
          <a:bodyPr wrap="square">
            <a:spAutoFit/>
          </a:bodyPr>
          <a:lstStyle>
            <a:lvl1pPr>
              <a:lnSpc>
                <a:spcPts val="4600"/>
              </a:lnSpc>
              <a:spcBef>
                <a:spcPts val="0"/>
              </a:spcBef>
              <a:defRPr sz="2400" b="1" i="0" spc="0">
                <a:solidFill>
                  <a:schemeClr val="tx1"/>
                </a:solidFill>
                <a:latin typeface="Calibri" panose="020F0502020204030204" pitchFamily="34" charset="0"/>
                <a:cs typeface="Calibri" panose="020F0502020204030204" pitchFamily="34" charset="0"/>
              </a:defRPr>
            </a:lvl1pPr>
            <a:lvl2pPr>
              <a:buNone/>
              <a:defRPr/>
            </a:lvl2pPr>
          </a:lstStyle>
          <a:p>
            <a:pPr lvl="0"/>
            <a:r>
              <a:rPr lang="en-US">
                <a:effectLst/>
              </a:rPr>
              <a:t>Name </a:t>
            </a:r>
            <a:r>
              <a:rPr lang="en-US" err="1">
                <a:effectLst/>
              </a:rPr>
              <a:t>Lastname</a:t>
            </a:r>
            <a:endParaRPr lang="en-US"/>
          </a:p>
        </p:txBody>
      </p:sp>
      <p:sp>
        <p:nvSpPr>
          <p:cNvPr id="19" name="Text Placeholder 4">
            <a:extLst>
              <a:ext uri="{FF2B5EF4-FFF2-40B4-BE49-F238E27FC236}">
                <a16:creationId xmlns:a16="http://schemas.microsoft.com/office/drawing/2014/main" id="{AF6F850E-875C-CE1C-C696-B9119881C140}"/>
              </a:ext>
            </a:extLst>
          </p:cNvPr>
          <p:cNvSpPr>
            <a:spLocks noGrp="1"/>
          </p:cNvSpPr>
          <p:nvPr>
            <p:ph type="body" sz="quarter" idx="34" hasCustomPrompt="1"/>
          </p:nvPr>
        </p:nvSpPr>
        <p:spPr>
          <a:xfrm>
            <a:off x="8128000" y="3530414"/>
            <a:ext cx="3467100" cy="215444"/>
          </a:xfrm>
          <a:prstGeom prst="rect">
            <a:avLst/>
          </a:prstGeom>
        </p:spPr>
        <p:txBody>
          <a:bodyPr wrap="square" anchor="t" anchorCtr="0">
            <a:spAutoFit/>
          </a:bodyPr>
          <a:lstStyle>
            <a:lvl1pPr marL="0" marR="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sz="1400" b="1" i="0">
                <a:solidFill>
                  <a:schemeClr val="tx1"/>
                </a:solidFill>
                <a:latin typeface="Calibri" panose="020F0502020204030204" pitchFamily="34" charset="0"/>
                <a:cs typeface="Calibri" panose="020F0502020204030204" pitchFamily="34" charset="0"/>
              </a:defRPr>
            </a:lvl1pPr>
          </a:lstStyle>
          <a:p>
            <a:r>
              <a:rPr lang="en-US"/>
              <a:t>Title</a:t>
            </a:r>
          </a:p>
        </p:txBody>
      </p:sp>
      <p:sp>
        <p:nvSpPr>
          <p:cNvPr id="20" name="Picture Placeholder 11">
            <a:extLst>
              <a:ext uri="{FF2B5EF4-FFF2-40B4-BE49-F238E27FC236}">
                <a16:creationId xmlns:a16="http://schemas.microsoft.com/office/drawing/2014/main" id="{EE0176D5-725E-3E5F-2AB8-0A9D56960DEE}"/>
              </a:ext>
            </a:extLst>
          </p:cNvPr>
          <p:cNvSpPr>
            <a:spLocks noGrp="1"/>
          </p:cNvSpPr>
          <p:nvPr>
            <p:ph type="pic" sz="quarter" idx="35"/>
          </p:nvPr>
        </p:nvSpPr>
        <p:spPr>
          <a:xfrm>
            <a:off x="8128000" y="795020"/>
            <a:ext cx="1866900" cy="1981200"/>
          </a:xfrm>
          <a:prstGeom prst="rect">
            <a:avLst/>
          </a:prstGeom>
        </p:spPr>
        <p:txBody>
          <a:bodyPr/>
          <a:lstStyle/>
          <a:p>
            <a:endParaRPr lang="en-US"/>
          </a:p>
        </p:txBody>
      </p:sp>
      <p:sp>
        <p:nvSpPr>
          <p:cNvPr id="21" name="Text Placeholder 4">
            <a:extLst>
              <a:ext uri="{FF2B5EF4-FFF2-40B4-BE49-F238E27FC236}">
                <a16:creationId xmlns:a16="http://schemas.microsoft.com/office/drawing/2014/main" id="{6A11A961-3944-A416-6D0E-F19285260E57}"/>
              </a:ext>
            </a:extLst>
          </p:cNvPr>
          <p:cNvSpPr>
            <a:spLocks noGrp="1"/>
          </p:cNvSpPr>
          <p:nvPr>
            <p:ph type="body" sz="quarter" idx="36" hasCustomPrompt="1"/>
          </p:nvPr>
        </p:nvSpPr>
        <p:spPr>
          <a:xfrm>
            <a:off x="8128000" y="3972655"/>
            <a:ext cx="2781300" cy="2035109"/>
          </a:xfrm>
          <a:prstGeom prst="rect">
            <a:avLst/>
          </a:prstGeom>
        </p:spPr>
        <p:txBody>
          <a:bodyPr wrap="square" anchor="t" anchorCtr="0">
            <a:spAutoFit/>
          </a:bodyPr>
          <a:lstStyle>
            <a:lvl1pPr marL="0" marR="0" indent="0" algn="l" defTabSz="914400" rtl="0" eaLnBrk="1" fontAlgn="auto" latinLnBrk="0" hangingPunct="1">
              <a:lnSpc>
                <a:spcPts val="2000"/>
              </a:lnSpc>
              <a:spcBef>
                <a:spcPts val="600"/>
              </a:spcBef>
              <a:spcAft>
                <a:spcPts val="0"/>
              </a:spcAft>
              <a:buClrTx/>
              <a:buSzTx/>
              <a:buFont typeface="Arial" panose="020B0604020202020204" pitchFamily="34" charset="0"/>
              <a:buNone/>
              <a:tabLst/>
              <a:defRPr sz="1400" b="0" i="0">
                <a:solidFill>
                  <a:schemeClr val="tx1"/>
                </a:solidFill>
                <a:latin typeface="Calibri Light" panose="020F0302020204030204" pitchFamily="34" charset="0"/>
                <a:cs typeface="Calibri Light" panose="020F0302020204030204" pitchFamily="34" charset="0"/>
              </a:defRPr>
            </a:lvl1pPr>
          </a:lstStyle>
          <a:p>
            <a:r>
              <a:rPr lang="en-US"/>
              <a:t>Lorem ipsum </a:t>
            </a:r>
            <a:r>
              <a:rPr lang="en-US" err="1"/>
              <a:t>nulla</a:t>
            </a:r>
            <a:r>
              <a:rPr lang="en-US"/>
              <a:t> </a:t>
            </a:r>
            <a:r>
              <a:rPr lang="en-US" err="1"/>
              <a:t>primis</a:t>
            </a:r>
            <a:r>
              <a:rPr lang="en-US"/>
              <a:t> eros mi </a:t>
            </a:r>
            <a:r>
              <a:rPr lang="en-US" err="1"/>
              <a:t>maecenas</a:t>
            </a:r>
            <a:r>
              <a:rPr lang="en-US"/>
              <a:t> ligula magna, </a:t>
            </a:r>
            <a:r>
              <a:rPr lang="en-US" err="1"/>
              <a:t>nibh</a:t>
            </a:r>
            <a:r>
              <a:rPr lang="en-US"/>
              <a:t> </a:t>
            </a:r>
            <a:r>
              <a:rPr lang="en-US" err="1"/>
              <a:t>commodo</a:t>
            </a:r>
            <a:r>
              <a:rPr lang="en-US"/>
              <a:t> </a:t>
            </a:r>
            <a:r>
              <a:rPr lang="en-US" err="1"/>
              <a:t>aenean</a:t>
            </a:r>
            <a:r>
              <a:rPr lang="en-US"/>
              <a:t> </a:t>
            </a:r>
            <a:r>
              <a:rPr lang="en-US" err="1"/>
              <a:t>leo</a:t>
            </a:r>
            <a:r>
              <a:rPr lang="en-US"/>
              <a:t> porta </a:t>
            </a:r>
            <a:r>
              <a:rPr lang="en-US" err="1"/>
              <a:t>duis</a:t>
            </a:r>
            <a:r>
              <a:rPr lang="en-US"/>
              <a:t> magna </a:t>
            </a:r>
            <a:r>
              <a:rPr lang="en-US" err="1"/>
              <a:t>felis</a:t>
            </a:r>
            <a:r>
              <a:rPr lang="en-US"/>
              <a:t> </a:t>
            </a:r>
            <a:r>
              <a:rPr lang="en-US" err="1"/>
              <a:t>bibendum</a:t>
            </a:r>
            <a:r>
              <a:rPr lang="en-US"/>
              <a:t> </a:t>
            </a:r>
            <a:r>
              <a:rPr lang="en-US" err="1"/>
              <a:t>tempor</a:t>
            </a:r>
            <a:r>
              <a:rPr lang="en-US"/>
              <a:t> </a:t>
            </a:r>
            <a:r>
              <a:rPr lang="en-US" err="1"/>
              <a:t>cubilia</a:t>
            </a:r>
            <a:r>
              <a:rPr lang="en-US"/>
              <a:t> gravida </a:t>
            </a:r>
            <a:r>
              <a:rPr lang="en-US" err="1"/>
              <a:t>molestie</a:t>
            </a:r>
            <a:r>
              <a:rPr lang="en-US"/>
              <a:t> a </a:t>
            </a:r>
            <a:r>
              <a:rPr lang="en-US" err="1"/>
              <a:t>pretium</a:t>
            </a:r>
            <a:r>
              <a:rPr lang="en-US"/>
              <a:t> </a:t>
            </a:r>
            <a:r>
              <a:rPr lang="en-US" err="1"/>
              <a:t>egestas</a:t>
            </a:r>
            <a:r>
              <a:rPr lang="en-US"/>
              <a:t> </a:t>
            </a:r>
            <a:r>
              <a:rPr lang="en-US" err="1"/>
              <a:t>iaculis</a:t>
            </a:r>
            <a:r>
              <a:rPr lang="en-US"/>
              <a:t> per, eros sit </a:t>
            </a:r>
            <a:r>
              <a:rPr lang="en-US" err="1"/>
              <a:t>leo</a:t>
            </a:r>
            <a:r>
              <a:rPr lang="en-US"/>
              <a:t> </a:t>
            </a:r>
            <a:r>
              <a:rPr lang="en-US" err="1"/>
              <a:t>augue</a:t>
            </a:r>
            <a:r>
              <a:rPr lang="en-US"/>
              <a:t> tempus </a:t>
            </a:r>
            <a:r>
              <a:rPr lang="en-US" err="1"/>
              <a:t>consectetur</a:t>
            </a:r>
            <a:r>
              <a:rPr lang="en-US"/>
              <a:t> </a:t>
            </a:r>
            <a:r>
              <a:rPr lang="en-US" err="1"/>
              <a:t>primis</a:t>
            </a:r>
            <a:r>
              <a:rPr lang="en-US"/>
              <a:t> dolor ac </a:t>
            </a:r>
            <a:r>
              <a:rPr lang="en-US" err="1"/>
              <a:t>euismod</a:t>
            </a:r>
            <a:r>
              <a:rPr lang="en-US"/>
              <a:t> </a:t>
            </a:r>
            <a:r>
              <a:rPr lang="en-US" err="1"/>
              <a:t>accumsan</a:t>
            </a:r>
            <a:r>
              <a:rPr lang="en-US"/>
              <a:t>, </a:t>
            </a:r>
            <a:r>
              <a:rPr lang="en-US" err="1"/>
              <a:t>vivamus</a:t>
            </a:r>
            <a:r>
              <a:rPr lang="en-US"/>
              <a:t> </a:t>
            </a:r>
            <a:r>
              <a:rPr lang="en-US" err="1"/>
              <a:t>feugiat</a:t>
            </a:r>
            <a:r>
              <a:rPr lang="en-US"/>
              <a:t>.</a:t>
            </a:r>
          </a:p>
        </p:txBody>
      </p:sp>
      <p:sp>
        <p:nvSpPr>
          <p:cNvPr id="22" name="Text Placeholder 4">
            <a:extLst>
              <a:ext uri="{FF2B5EF4-FFF2-40B4-BE49-F238E27FC236}">
                <a16:creationId xmlns:a16="http://schemas.microsoft.com/office/drawing/2014/main" id="{31ABE214-CBB4-3A34-095A-0370A5C4AFE6}"/>
              </a:ext>
            </a:extLst>
          </p:cNvPr>
          <p:cNvSpPr>
            <a:spLocks noGrp="1"/>
          </p:cNvSpPr>
          <p:nvPr>
            <p:ph type="body" sz="quarter" idx="11" hasCustomPrompt="1"/>
          </p:nvPr>
        </p:nvSpPr>
        <p:spPr>
          <a:xfrm>
            <a:off x="647700" y="419100"/>
            <a:ext cx="3467100" cy="153888"/>
          </a:xfrm>
          <a:prstGeom prst="rect">
            <a:avLst/>
          </a:prstGeom>
        </p:spPr>
        <p:txBody>
          <a:bodyPr wrap="square">
            <a:spAutoFit/>
          </a:bodyPr>
          <a:lstStyle>
            <a:lvl1pPr>
              <a:lnSpc>
                <a:spcPct val="100000"/>
              </a:lnSpc>
              <a:spcBef>
                <a:spcPts val="0"/>
              </a:spcBef>
              <a:defRPr sz="1000" b="0" i="0" spc="300">
                <a:solidFill>
                  <a:schemeClr val="tx1"/>
                </a:solidFill>
                <a:latin typeface="Calibri" panose="020F0502020204030204" pitchFamily="34" charset="0"/>
                <a:cs typeface="Calibri" panose="020F0502020204030204" pitchFamily="34" charset="0"/>
              </a:defRPr>
            </a:lvl1pPr>
            <a:lvl2pPr>
              <a:buNone/>
              <a:defRPr/>
            </a:lvl2pPr>
          </a:lstStyle>
          <a:p>
            <a:pPr lvl="0"/>
            <a:r>
              <a:rPr lang="en-US">
                <a:effectLst/>
              </a:rPr>
              <a:t>SECTION TITLE</a:t>
            </a:r>
            <a:endParaRPr lang="en-US"/>
          </a:p>
        </p:txBody>
      </p:sp>
      <p:grpSp>
        <p:nvGrpSpPr>
          <p:cNvPr id="8" name="Group 7">
            <a:extLst>
              <a:ext uri="{FF2B5EF4-FFF2-40B4-BE49-F238E27FC236}">
                <a16:creationId xmlns:a16="http://schemas.microsoft.com/office/drawing/2014/main" id="{F31391F8-F3F6-A6BB-EA5A-8860DF2615DD}"/>
              </a:ext>
            </a:extLst>
          </p:cNvPr>
          <p:cNvGrpSpPr/>
          <p:nvPr userDrawn="1"/>
        </p:nvGrpSpPr>
        <p:grpSpPr>
          <a:xfrm>
            <a:off x="611054" y="6471298"/>
            <a:ext cx="372834" cy="131175"/>
            <a:chOff x="14288" y="2035175"/>
            <a:chExt cx="10039350" cy="3532188"/>
          </a:xfrm>
          <a:solidFill>
            <a:schemeClr val="tx1"/>
          </a:solidFill>
        </p:grpSpPr>
        <p:sp>
          <p:nvSpPr>
            <p:cNvPr id="9" name="Freeform 1">
              <a:extLst>
                <a:ext uri="{FF2B5EF4-FFF2-40B4-BE49-F238E27FC236}">
                  <a16:creationId xmlns:a16="http://schemas.microsoft.com/office/drawing/2014/main" id="{01CDC517-0FA0-7580-6C86-C23E91B2A8C4}"/>
                </a:ext>
              </a:extLst>
            </p:cNvPr>
            <p:cNvSpPr>
              <a:spLocks noChangeArrowheads="1"/>
            </p:cNvSpPr>
            <p:nvPr/>
          </p:nvSpPr>
          <p:spPr bwMode="auto">
            <a:xfrm>
              <a:off x="1519238" y="2035175"/>
              <a:ext cx="1336675" cy="2836863"/>
            </a:xfrm>
            <a:custGeom>
              <a:avLst/>
              <a:gdLst>
                <a:gd name="T0" fmla="*/ 390493 w 3714"/>
                <a:gd name="T1" fmla="*/ 1200682 h 7882"/>
                <a:gd name="T2" fmla="*/ 945462 w 3714"/>
                <a:gd name="T3" fmla="*/ 1200682 h 7882"/>
                <a:gd name="T4" fmla="*/ 945462 w 3714"/>
                <a:gd name="T5" fmla="*/ 611498 h 7882"/>
                <a:gd name="T6" fmla="*/ 698929 w 3714"/>
                <a:gd name="T7" fmla="*/ 364596 h 7882"/>
                <a:gd name="T8" fmla="*/ 637386 w 3714"/>
                <a:gd name="T9" fmla="*/ 364596 h 7882"/>
                <a:gd name="T10" fmla="*/ 390493 w 3714"/>
                <a:gd name="T11" fmla="*/ 611498 h 7882"/>
                <a:gd name="T12" fmla="*/ 390493 w 3714"/>
                <a:gd name="T13" fmla="*/ 1200682 h 7882"/>
                <a:gd name="T14" fmla="*/ 389414 w 3714"/>
                <a:gd name="T15" fmla="*/ 1576795 h 7882"/>
                <a:gd name="T16" fmla="*/ 390493 w 3714"/>
                <a:gd name="T17" fmla="*/ 2224645 h 7882"/>
                <a:gd name="T18" fmla="*/ 637386 w 3714"/>
                <a:gd name="T19" fmla="*/ 2471548 h 7882"/>
                <a:gd name="T20" fmla="*/ 709366 w 3714"/>
                <a:gd name="T21" fmla="*/ 2471548 h 7882"/>
                <a:gd name="T22" fmla="*/ 955899 w 3714"/>
                <a:gd name="T23" fmla="*/ 2224645 h 7882"/>
                <a:gd name="T24" fmla="*/ 955899 w 3714"/>
                <a:gd name="T25" fmla="*/ 1906119 h 7882"/>
                <a:gd name="T26" fmla="*/ 1336315 w 3714"/>
                <a:gd name="T27" fmla="*/ 1906119 h 7882"/>
                <a:gd name="T28" fmla="*/ 1336315 w 3714"/>
                <a:gd name="T29" fmla="*/ 2209528 h 7882"/>
                <a:gd name="T30" fmla="*/ 709366 w 3714"/>
                <a:gd name="T31" fmla="*/ 2836503 h 7882"/>
                <a:gd name="T32" fmla="*/ 626949 w 3714"/>
                <a:gd name="T33" fmla="*/ 2836503 h 7882"/>
                <a:gd name="T34" fmla="*/ 0 w 3714"/>
                <a:gd name="T35" fmla="*/ 2258117 h 7882"/>
                <a:gd name="T36" fmla="*/ 0 w 3714"/>
                <a:gd name="T37" fmla="*/ 675564 h 7882"/>
                <a:gd name="T38" fmla="*/ 626949 w 3714"/>
                <a:gd name="T39" fmla="*/ 0 h 7882"/>
                <a:gd name="T40" fmla="*/ 709366 w 3714"/>
                <a:gd name="T41" fmla="*/ 0 h 7882"/>
                <a:gd name="T42" fmla="*/ 1336315 w 3714"/>
                <a:gd name="T43" fmla="*/ 626975 h 7882"/>
                <a:gd name="T44" fmla="*/ 1334875 w 3714"/>
                <a:gd name="T45" fmla="*/ 1576795 h 7882"/>
                <a:gd name="T46" fmla="*/ 389414 w 3714"/>
                <a:gd name="T47" fmla="*/ 1576795 h 7882"/>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3714" h="7882">
                  <a:moveTo>
                    <a:pt x="1085" y="3336"/>
                  </a:moveTo>
                  <a:lnTo>
                    <a:pt x="2627" y="3336"/>
                  </a:lnTo>
                  <a:lnTo>
                    <a:pt x="2627" y="1699"/>
                  </a:lnTo>
                  <a:cubicBezTo>
                    <a:pt x="2627" y="1242"/>
                    <a:pt x="2399" y="1013"/>
                    <a:pt x="1942" y="1013"/>
                  </a:cubicBezTo>
                  <a:lnTo>
                    <a:pt x="1771" y="1013"/>
                  </a:lnTo>
                  <a:cubicBezTo>
                    <a:pt x="1314" y="1013"/>
                    <a:pt x="1085" y="1242"/>
                    <a:pt x="1085" y="1699"/>
                  </a:cubicBezTo>
                  <a:lnTo>
                    <a:pt x="1085" y="3336"/>
                  </a:lnTo>
                  <a:close/>
                  <a:moveTo>
                    <a:pt x="1082" y="4381"/>
                  </a:moveTo>
                  <a:lnTo>
                    <a:pt x="1085" y="6181"/>
                  </a:lnTo>
                  <a:cubicBezTo>
                    <a:pt x="1085" y="6638"/>
                    <a:pt x="1314" y="6867"/>
                    <a:pt x="1771" y="6867"/>
                  </a:cubicBezTo>
                  <a:lnTo>
                    <a:pt x="1971" y="6867"/>
                  </a:lnTo>
                  <a:cubicBezTo>
                    <a:pt x="2428" y="6867"/>
                    <a:pt x="2656" y="6638"/>
                    <a:pt x="2656" y="6181"/>
                  </a:cubicBezTo>
                  <a:lnTo>
                    <a:pt x="2656" y="5296"/>
                  </a:lnTo>
                  <a:lnTo>
                    <a:pt x="3713" y="5296"/>
                  </a:lnTo>
                  <a:lnTo>
                    <a:pt x="3713" y="6139"/>
                  </a:lnTo>
                  <a:cubicBezTo>
                    <a:pt x="3713" y="7295"/>
                    <a:pt x="3127" y="7881"/>
                    <a:pt x="1971" y="7881"/>
                  </a:cubicBezTo>
                  <a:lnTo>
                    <a:pt x="1742" y="7881"/>
                  </a:lnTo>
                  <a:cubicBezTo>
                    <a:pt x="585" y="7881"/>
                    <a:pt x="0" y="7295"/>
                    <a:pt x="0" y="6274"/>
                  </a:cubicBezTo>
                  <a:lnTo>
                    <a:pt x="0" y="1877"/>
                  </a:lnTo>
                  <a:cubicBezTo>
                    <a:pt x="0" y="585"/>
                    <a:pt x="585" y="0"/>
                    <a:pt x="1742" y="0"/>
                  </a:cubicBezTo>
                  <a:lnTo>
                    <a:pt x="1971" y="0"/>
                  </a:lnTo>
                  <a:cubicBezTo>
                    <a:pt x="3127" y="0"/>
                    <a:pt x="3713" y="585"/>
                    <a:pt x="3713" y="1742"/>
                  </a:cubicBezTo>
                  <a:lnTo>
                    <a:pt x="3709" y="4381"/>
                  </a:lnTo>
                  <a:lnTo>
                    <a:pt x="1082" y="4381"/>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endParaRPr lang="en-US"/>
            </a:p>
          </p:txBody>
        </p:sp>
        <p:sp>
          <p:nvSpPr>
            <p:cNvPr id="11" name="Freeform 2">
              <a:extLst>
                <a:ext uri="{FF2B5EF4-FFF2-40B4-BE49-F238E27FC236}">
                  <a16:creationId xmlns:a16="http://schemas.microsoft.com/office/drawing/2014/main" id="{6E8C2C89-8962-4E04-1C67-BA501365B834}"/>
                </a:ext>
              </a:extLst>
            </p:cNvPr>
            <p:cNvSpPr>
              <a:spLocks noChangeArrowheads="1"/>
            </p:cNvSpPr>
            <p:nvPr/>
          </p:nvSpPr>
          <p:spPr bwMode="auto">
            <a:xfrm>
              <a:off x="3109913" y="2035175"/>
              <a:ext cx="1368425" cy="3532188"/>
            </a:xfrm>
            <a:custGeom>
              <a:avLst/>
              <a:gdLst>
                <a:gd name="T0" fmla="*/ 390721 w 3800"/>
                <a:gd name="T1" fmla="*/ 2322993 h 9812"/>
                <a:gd name="T2" fmla="*/ 750833 w 3800"/>
                <a:gd name="T3" fmla="*/ 2466628 h 9812"/>
                <a:gd name="T4" fmla="*/ 976983 w 3800"/>
                <a:gd name="T5" fmla="*/ 2240556 h 9812"/>
                <a:gd name="T6" fmla="*/ 976983 w 3800"/>
                <a:gd name="T7" fmla="*/ 596138 h 9812"/>
                <a:gd name="T8" fmla="*/ 750833 w 3800"/>
                <a:gd name="T9" fmla="*/ 370066 h 9812"/>
                <a:gd name="T10" fmla="*/ 390721 w 3800"/>
                <a:gd name="T11" fmla="*/ 514061 h 9812"/>
                <a:gd name="T12" fmla="*/ 390721 w 3800"/>
                <a:gd name="T13" fmla="*/ 2322993 h 9812"/>
                <a:gd name="T14" fmla="*/ 0 w 3800"/>
                <a:gd name="T15" fmla="*/ 30599 h 9812"/>
                <a:gd name="T16" fmla="*/ 390721 w 3800"/>
                <a:gd name="T17" fmla="*/ 30599 h 9812"/>
                <a:gd name="T18" fmla="*/ 390721 w 3800"/>
                <a:gd name="T19" fmla="*/ 210592 h 9812"/>
                <a:gd name="T20" fmla="*/ 868950 w 3800"/>
                <a:gd name="T21" fmla="*/ 0 h 9812"/>
                <a:gd name="T22" fmla="*/ 1368065 w 3800"/>
                <a:gd name="T23" fmla="*/ 549699 h 9812"/>
                <a:gd name="T24" fmla="*/ 1368065 w 3800"/>
                <a:gd name="T25" fmla="*/ 2286995 h 9812"/>
                <a:gd name="T26" fmla="*/ 868950 w 3800"/>
                <a:gd name="T27" fmla="*/ 2837054 h 9812"/>
                <a:gd name="T28" fmla="*/ 390721 w 3800"/>
                <a:gd name="T29" fmla="*/ 2636541 h 9812"/>
                <a:gd name="T30" fmla="*/ 390721 w 3800"/>
                <a:gd name="T31" fmla="*/ 3531828 h 9812"/>
                <a:gd name="T32" fmla="*/ 0 w 3800"/>
                <a:gd name="T33" fmla="*/ 3531828 h 9812"/>
                <a:gd name="T34" fmla="*/ 0 w 3800"/>
                <a:gd name="T35" fmla="*/ 30599 h 9812"/>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3800" h="9812">
                  <a:moveTo>
                    <a:pt x="1085" y="6453"/>
                  </a:moveTo>
                  <a:cubicBezTo>
                    <a:pt x="1385" y="6710"/>
                    <a:pt x="1728" y="6852"/>
                    <a:pt x="2085" y="6852"/>
                  </a:cubicBezTo>
                  <a:cubicBezTo>
                    <a:pt x="2485" y="6852"/>
                    <a:pt x="2713" y="6667"/>
                    <a:pt x="2713" y="6224"/>
                  </a:cubicBezTo>
                  <a:lnTo>
                    <a:pt x="2713" y="1656"/>
                  </a:lnTo>
                  <a:cubicBezTo>
                    <a:pt x="2713" y="1213"/>
                    <a:pt x="2485" y="1028"/>
                    <a:pt x="2085" y="1028"/>
                  </a:cubicBezTo>
                  <a:cubicBezTo>
                    <a:pt x="1728" y="1028"/>
                    <a:pt x="1385" y="1170"/>
                    <a:pt x="1085" y="1428"/>
                  </a:cubicBezTo>
                  <a:lnTo>
                    <a:pt x="1085" y="6453"/>
                  </a:lnTo>
                  <a:close/>
                  <a:moveTo>
                    <a:pt x="0" y="85"/>
                  </a:moveTo>
                  <a:lnTo>
                    <a:pt x="1085" y="85"/>
                  </a:lnTo>
                  <a:lnTo>
                    <a:pt x="1085" y="585"/>
                  </a:lnTo>
                  <a:cubicBezTo>
                    <a:pt x="1342" y="314"/>
                    <a:pt x="1785" y="0"/>
                    <a:pt x="2413" y="0"/>
                  </a:cubicBezTo>
                  <a:cubicBezTo>
                    <a:pt x="3342" y="0"/>
                    <a:pt x="3799" y="614"/>
                    <a:pt x="3799" y="1527"/>
                  </a:cubicBezTo>
                  <a:lnTo>
                    <a:pt x="3799" y="6353"/>
                  </a:lnTo>
                  <a:cubicBezTo>
                    <a:pt x="3799" y="7267"/>
                    <a:pt x="3342" y="7881"/>
                    <a:pt x="2413" y="7881"/>
                  </a:cubicBezTo>
                  <a:cubicBezTo>
                    <a:pt x="1785" y="7881"/>
                    <a:pt x="1342" y="7581"/>
                    <a:pt x="1085" y="7324"/>
                  </a:cubicBezTo>
                  <a:lnTo>
                    <a:pt x="1085" y="9811"/>
                  </a:lnTo>
                  <a:lnTo>
                    <a:pt x="0" y="9811"/>
                  </a:lnTo>
                  <a:lnTo>
                    <a:pt x="0" y="85"/>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endParaRPr lang="en-US"/>
            </a:p>
          </p:txBody>
        </p:sp>
        <p:sp>
          <p:nvSpPr>
            <p:cNvPr id="12" name="Freeform 3">
              <a:extLst>
                <a:ext uri="{FF2B5EF4-FFF2-40B4-BE49-F238E27FC236}">
                  <a16:creationId xmlns:a16="http://schemas.microsoft.com/office/drawing/2014/main" id="{0994A8FD-9985-2D93-C6EC-3C372DAAF369}"/>
                </a:ext>
              </a:extLst>
            </p:cNvPr>
            <p:cNvSpPr>
              <a:spLocks noChangeArrowheads="1"/>
            </p:cNvSpPr>
            <p:nvPr/>
          </p:nvSpPr>
          <p:spPr bwMode="auto">
            <a:xfrm>
              <a:off x="4711700" y="2035175"/>
              <a:ext cx="1328738" cy="2836863"/>
            </a:xfrm>
            <a:custGeom>
              <a:avLst/>
              <a:gdLst>
                <a:gd name="T0" fmla="*/ 937679 w 3690"/>
                <a:gd name="T1" fmla="*/ 2338019 h 7882"/>
                <a:gd name="T2" fmla="*/ 937679 w 3690"/>
                <a:gd name="T3" fmla="*/ 1422750 h 7882"/>
                <a:gd name="T4" fmla="*/ 582988 w 3690"/>
                <a:gd name="T5" fmla="*/ 1556999 h 7882"/>
                <a:gd name="T6" fmla="*/ 392500 w 3690"/>
                <a:gd name="T7" fmla="*/ 1844573 h 7882"/>
                <a:gd name="T8" fmla="*/ 392500 w 3690"/>
                <a:gd name="T9" fmla="*/ 2266035 h 7882"/>
                <a:gd name="T10" fmla="*/ 582988 w 3690"/>
                <a:gd name="T11" fmla="*/ 2466149 h 7882"/>
                <a:gd name="T12" fmla="*/ 937679 w 3690"/>
                <a:gd name="T13" fmla="*/ 2338019 h 7882"/>
                <a:gd name="T14" fmla="*/ 2161 w 3690"/>
                <a:gd name="T15" fmla="*/ 1839174 h 7882"/>
                <a:gd name="T16" fmla="*/ 413025 w 3690"/>
                <a:gd name="T17" fmla="*/ 1253950 h 7882"/>
                <a:gd name="T18" fmla="*/ 937679 w 3690"/>
                <a:gd name="T19" fmla="*/ 1073991 h 7882"/>
                <a:gd name="T20" fmla="*/ 937679 w 3690"/>
                <a:gd name="T21" fmla="*/ 611498 h 7882"/>
                <a:gd name="T22" fmla="*/ 690656 w 3690"/>
                <a:gd name="T23" fmla="*/ 359557 h 7882"/>
                <a:gd name="T24" fmla="*/ 627280 w 3690"/>
                <a:gd name="T25" fmla="*/ 359557 h 7882"/>
                <a:gd name="T26" fmla="*/ 380257 w 3690"/>
                <a:gd name="T27" fmla="*/ 611498 h 7882"/>
                <a:gd name="T28" fmla="*/ 380257 w 3690"/>
                <a:gd name="T29" fmla="*/ 1004527 h 7882"/>
                <a:gd name="T30" fmla="*/ 0 w 3690"/>
                <a:gd name="T31" fmla="*/ 1004527 h 7882"/>
                <a:gd name="T32" fmla="*/ 0 w 3690"/>
                <a:gd name="T33" fmla="*/ 626975 h 7882"/>
                <a:gd name="T34" fmla="*/ 627280 w 3690"/>
                <a:gd name="T35" fmla="*/ 0 h 7882"/>
                <a:gd name="T36" fmla="*/ 701098 w 3690"/>
                <a:gd name="T37" fmla="*/ 0 h 7882"/>
                <a:gd name="T38" fmla="*/ 1328378 w 3690"/>
                <a:gd name="T39" fmla="*/ 626975 h 7882"/>
                <a:gd name="T40" fmla="*/ 1328378 w 3690"/>
                <a:gd name="T41" fmla="*/ 2805550 h 7882"/>
                <a:gd name="T42" fmla="*/ 937679 w 3690"/>
                <a:gd name="T43" fmla="*/ 2805550 h 7882"/>
                <a:gd name="T44" fmla="*/ 937679 w 3690"/>
                <a:gd name="T45" fmla="*/ 2630631 h 7882"/>
                <a:gd name="T46" fmla="*/ 459477 w 3690"/>
                <a:gd name="T47" fmla="*/ 2836503 h 7882"/>
                <a:gd name="T48" fmla="*/ 2161 w 3690"/>
                <a:gd name="T49" fmla="*/ 2348096 h 7882"/>
                <a:gd name="T50" fmla="*/ 2161 w 3690"/>
                <a:gd name="T51" fmla="*/ 1839174 h 7882"/>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3690" h="7882">
                  <a:moveTo>
                    <a:pt x="2604" y="6496"/>
                  </a:moveTo>
                  <a:lnTo>
                    <a:pt x="2604" y="3953"/>
                  </a:lnTo>
                  <a:lnTo>
                    <a:pt x="1619" y="4326"/>
                  </a:lnTo>
                  <a:cubicBezTo>
                    <a:pt x="1219" y="4483"/>
                    <a:pt x="1090" y="4683"/>
                    <a:pt x="1090" y="5125"/>
                  </a:cubicBezTo>
                  <a:lnTo>
                    <a:pt x="1090" y="6296"/>
                  </a:lnTo>
                  <a:cubicBezTo>
                    <a:pt x="1090" y="6667"/>
                    <a:pt x="1276" y="6852"/>
                    <a:pt x="1619" y="6852"/>
                  </a:cubicBezTo>
                  <a:cubicBezTo>
                    <a:pt x="1947" y="6852"/>
                    <a:pt x="2247" y="6738"/>
                    <a:pt x="2604" y="6496"/>
                  </a:cubicBezTo>
                  <a:close/>
                  <a:moveTo>
                    <a:pt x="6" y="5110"/>
                  </a:moveTo>
                  <a:cubicBezTo>
                    <a:pt x="6" y="4155"/>
                    <a:pt x="320" y="3769"/>
                    <a:pt x="1147" y="3484"/>
                  </a:cubicBezTo>
                  <a:lnTo>
                    <a:pt x="2604" y="2984"/>
                  </a:lnTo>
                  <a:lnTo>
                    <a:pt x="2604" y="1699"/>
                  </a:lnTo>
                  <a:cubicBezTo>
                    <a:pt x="2604" y="1242"/>
                    <a:pt x="2375" y="999"/>
                    <a:pt x="1918" y="999"/>
                  </a:cubicBezTo>
                  <a:lnTo>
                    <a:pt x="1742" y="999"/>
                  </a:lnTo>
                  <a:cubicBezTo>
                    <a:pt x="1285" y="999"/>
                    <a:pt x="1056" y="1242"/>
                    <a:pt x="1056" y="1699"/>
                  </a:cubicBezTo>
                  <a:lnTo>
                    <a:pt x="1056" y="2791"/>
                  </a:lnTo>
                  <a:lnTo>
                    <a:pt x="0" y="2791"/>
                  </a:lnTo>
                  <a:lnTo>
                    <a:pt x="0" y="1742"/>
                  </a:lnTo>
                  <a:cubicBezTo>
                    <a:pt x="0" y="585"/>
                    <a:pt x="586" y="0"/>
                    <a:pt x="1742" y="0"/>
                  </a:cubicBezTo>
                  <a:lnTo>
                    <a:pt x="1947" y="0"/>
                  </a:lnTo>
                  <a:cubicBezTo>
                    <a:pt x="3104" y="0"/>
                    <a:pt x="3689" y="585"/>
                    <a:pt x="3689" y="1742"/>
                  </a:cubicBezTo>
                  <a:lnTo>
                    <a:pt x="3689" y="7795"/>
                  </a:lnTo>
                  <a:lnTo>
                    <a:pt x="2604" y="7795"/>
                  </a:lnTo>
                  <a:lnTo>
                    <a:pt x="2604" y="7309"/>
                  </a:lnTo>
                  <a:cubicBezTo>
                    <a:pt x="2304" y="7595"/>
                    <a:pt x="1904" y="7881"/>
                    <a:pt x="1276" y="7881"/>
                  </a:cubicBezTo>
                  <a:cubicBezTo>
                    <a:pt x="406" y="7881"/>
                    <a:pt x="6" y="7381"/>
                    <a:pt x="6" y="6524"/>
                  </a:cubicBezTo>
                  <a:lnTo>
                    <a:pt x="6" y="5110"/>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endParaRPr lang="en-US"/>
            </a:p>
          </p:txBody>
        </p:sp>
        <p:sp>
          <p:nvSpPr>
            <p:cNvPr id="13" name="Freeform 4">
              <a:extLst>
                <a:ext uri="{FF2B5EF4-FFF2-40B4-BE49-F238E27FC236}">
                  <a16:creationId xmlns:a16="http://schemas.microsoft.com/office/drawing/2014/main" id="{D29D0758-86F8-F9D6-77D1-ED1A32D14966}"/>
                </a:ext>
              </a:extLst>
            </p:cNvPr>
            <p:cNvSpPr>
              <a:spLocks noChangeArrowheads="1"/>
            </p:cNvSpPr>
            <p:nvPr/>
          </p:nvSpPr>
          <p:spPr bwMode="auto">
            <a:xfrm>
              <a:off x="6292850" y="2035175"/>
              <a:ext cx="2262188" cy="2806700"/>
            </a:xfrm>
            <a:custGeom>
              <a:avLst/>
              <a:gdLst>
                <a:gd name="T0" fmla="*/ 1326358 w 6285"/>
                <a:gd name="T1" fmla="*/ 2806340 h 7796"/>
                <a:gd name="T2" fmla="*/ 935470 w 6285"/>
                <a:gd name="T3" fmla="*/ 2806340 h 7796"/>
                <a:gd name="T4" fmla="*/ 935470 w 6285"/>
                <a:gd name="T5" fmla="*/ 570628 h 7796"/>
                <a:gd name="T6" fmla="*/ 750463 w 6285"/>
                <a:gd name="T7" fmla="*/ 370098 h 7796"/>
                <a:gd name="T8" fmla="*/ 390889 w 6285"/>
                <a:gd name="T9" fmla="*/ 508705 h 7796"/>
                <a:gd name="T10" fmla="*/ 390889 w 6285"/>
                <a:gd name="T11" fmla="*/ 2806340 h 7796"/>
                <a:gd name="T12" fmla="*/ 0 w 6285"/>
                <a:gd name="T13" fmla="*/ 2806340 h 7796"/>
                <a:gd name="T14" fmla="*/ 0 w 6285"/>
                <a:gd name="T15" fmla="*/ 30602 h 7796"/>
                <a:gd name="T16" fmla="*/ 390889 w 6285"/>
                <a:gd name="T17" fmla="*/ 30602 h 7796"/>
                <a:gd name="T18" fmla="*/ 390889 w 6285"/>
                <a:gd name="T19" fmla="*/ 210611 h 7796"/>
                <a:gd name="T20" fmla="*/ 868882 w 6285"/>
                <a:gd name="T21" fmla="*/ 0 h 7796"/>
                <a:gd name="T22" fmla="*/ 1274888 w 6285"/>
                <a:gd name="T23" fmla="*/ 226091 h 7796"/>
                <a:gd name="T24" fmla="*/ 1804351 w 6285"/>
                <a:gd name="T25" fmla="*/ 0 h 7796"/>
                <a:gd name="T26" fmla="*/ 2261828 w 6285"/>
                <a:gd name="T27" fmla="*/ 488184 h 7796"/>
                <a:gd name="T28" fmla="*/ 2261828 w 6285"/>
                <a:gd name="T29" fmla="*/ 2806340 h 7796"/>
                <a:gd name="T30" fmla="*/ 1870939 w 6285"/>
                <a:gd name="T31" fmla="*/ 2806340 h 7796"/>
                <a:gd name="T32" fmla="*/ 1870939 w 6285"/>
                <a:gd name="T33" fmla="*/ 570628 h 7796"/>
                <a:gd name="T34" fmla="*/ 1685933 w 6285"/>
                <a:gd name="T35" fmla="*/ 370098 h 7796"/>
                <a:gd name="T36" fmla="*/ 1326358 w 6285"/>
                <a:gd name="T37" fmla="*/ 508705 h 7796"/>
                <a:gd name="T38" fmla="*/ 1326358 w 6285"/>
                <a:gd name="T39" fmla="*/ 2806340 h 779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6285" h="7796">
                  <a:moveTo>
                    <a:pt x="3685" y="7795"/>
                  </a:moveTo>
                  <a:lnTo>
                    <a:pt x="2599" y="7795"/>
                  </a:lnTo>
                  <a:lnTo>
                    <a:pt x="2599" y="1585"/>
                  </a:lnTo>
                  <a:cubicBezTo>
                    <a:pt x="2599" y="1199"/>
                    <a:pt x="2414" y="1028"/>
                    <a:pt x="2085" y="1028"/>
                  </a:cubicBezTo>
                  <a:cubicBezTo>
                    <a:pt x="1785" y="1028"/>
                    <a:pt x="1471" y="1142"/>
                    <a:pt x="1086" y="1413"/>
                  </a:cubicBezTo>
                  <a:lnTo>
                    <a:pt x="1086" y="7795"/>
                  </a:lnTo>
                  <a:lnTo>
                    <a:pt x="0" y="7795"/>
                  </a:lnTo>
                  <a:lnTo>
                    <a:pt x="0" y="85"/>
                  </a:lnTo>
                  <a:lnTo>
                    <a:pt x="1086" y="85"/>
                  </a:lnTo>
                  <a:lnTo>
                    <a:pt x="1086" y="585"/>
                  </a:lnTo>
                  <a:cubicBezTo>
                    <a:pt x="1400" y="285"/>
                    <a:pt x="1814" y="0"/>
                    <a:pt x="2414" y="0"/>
                  </a:cubicBezTo>
                  <a:cubicBezTo>
                    <a:pt x="2971" y="0"/>
                    <a:pt x="3342" y="228"/>
                    <a:pt x="3542" y="628"/>
                  </a:cubicBezTo>
                  <a:cubicBezTo>
                    <a:pt x="3928" y="299"/>
                    <a:pt x="4385" y="0"/>
                    <a:pt x="5013" y="0"/>
                  </a:cubicBezTo>
                  <a:cubicBezTo>
                    <a:pt x="5855" y="0"/>
                    <a:pt x="6284" y="514"/>
                    <a:pt x="6284" y="1356"/>
                  </a:cubicBezTo>
                  <a:lnTo>
                    <a:pt x="6284" y="7795"/>
                  </a:lnTo>
                  <a:lnTo>
                    <a:pt x="5198" y="7795"/>
                  </a:lnTo>
                  <a:lnTo>
                    <a:pt x="5198" y="1585"/>
                  </a:lnTo>
                  <a:cubicBezTo>
                    <a:pt x="5198" y="1199"/>
                    <a:pt x="5013" y="1028"/>
                    <a:pt x="4684" y="1028"/>
                  </a:cubicBezTo>
                  <a:cubicBezTo>
                    <a:pt x="4385" y="1028"/>
                    <a:pt x="4070" y="1142"/>
                    <a:pt x="3685" y="1413"/>
                  </a:cubicBezTo>
                  <a:lnTo>
                    <a:pt x="3685" y="7795"/>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endParaRPr lang="en-US"/>
            </a:p>
          </p:txBody>
        </p:sp>
        <p:sp>
          <p:nvSpPr>
            <p:cNvPr id="23" name="Freeform 5">
              <a:extLst>
                <a:ext uri="{FF2B5EF4-FFF2-40B4-BE49-F238E27FC236}">
                  <a16:creationId xmlns:a16="http://schemas.microsoft.com/office/drawing/2014/main" id="{0841173A-2873-ED17-DE4A-5CD77C77AB6D}"/>
                </a:ext>
              </a:extLst>
            </p:cNvPr>
            <p:cNvSpPr>
              <a:spLocks noChangeArrowheads="1"/>
            </p:cNvSpPr>
            <p:nvPr/>
          </p:nvSpPr>
          <p:spPr bwMode="auto">
            <a:xfrm>
              <a:off x="14288" y="2322513"/>
              <a:ext cx="1004887" cy="2274887"/>
            </a:xfrm>
            <a:custGeom>
              <a:avLst/>
              <a:gdLst>
                <a:gd name="T0" fmla="*/ 1004527 w 2790"/>
                <a:gd name="T1" fmla="*/ 0 h 6317"/>
                <a:gd name="T2" fmla="*/ 1004527 w 2790"/>
                <a:gd name="T3" fmla="*/ 510652 h 6317"/>
                <a:gd name="T4" fmla="*/ 346488 w 2790"/>
                <a:gd name="T5" fmla="*/ 1137624 h 6317"/>
                <a:gd name="T6" fmla="*/ 1004527 w 2790"/>
                <a:gd name="T7" fmla="*/ 1752711 h 6317"/>
                <a:gd name="T8" fmla="*/ 1004527 w 2790"/>
                <a:gd name="T9" fmla="*/ 2274527 h 6317"/>
                <a:gd name="T10" fmla="*/ 0 w 2790"/>
                <a:gd name="T11" fmla="*/ 1331009 h 6317"/>
                <a:gd name="T12" fmla="*/ 0 w 2790"/>
                <a:gd name="T13" fmla="*/ 955042 h 6317"/>
                <a:gd name="T14" fmla="*/ 1004527 w 2790"/>
                <a:gd name="T15" fmla="*/ 0 h 6317"/>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2790" h="6317">
                  <a:moveTo>
                    <a:pt x="2789" y="0"/>
                  </a:moveTo>
                  <a:lnTo>
                    <a:pt x="2789" y="1418"/>
                  </a:lnTo>
                  <a:lnTo>
                    <a:pt x="962" y="3159"/>
                  </a:lnTo>
                  <a:lnTo>
                    <a:pt x="2789" y="4867"/>
                  </a:lnTo>
                  <a:lnTo>
                    <a:pt x="2789" y="6316"/>
                  </a:lnTo>
                  <a:lnTo>
                    <a:pt x="0" y="3696"/>
                  </a:lnTo>
                  <a:lnTo>
                    <a:pt x="0" y="2652"/>
                  </a:lnTo>
                  <a:lnTo>
                    <a:pt x="2789"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endParaRPr lang="en-US"/>
            </a:p>
          </p:txBody>
        </p:sp>
        <p:sp>
          <p:nvSpPr>
            <p:cNvPr id="24" name="Freeform 6">
              <a:extLst>
                <a:ext uri="{FF2B5EF4-FFF2-40B4-BE49-F238E27FC236}">
                  <a16:creationId xmlns:a16="http://schemas.microsoft.com/office/drawing/2014/main" id="{CFAF343B-11E7-8990-D7BF-DA048DF3DE00}"/>
                </a:ext>
              </a:extLst>
            </p:cNvPr>
            <p:cNvSpPr>
              <a:spLocks noChangeArrowheads="1"/>
            </p:cNvSpPr>
            <p:nvPr/>
          </p:nvSpPr>
          <p:spPr bwMode="auto">
            <a:xfrm>
              <a:off x="9050338" y="2322513"/>
              <a:ext cx="1003300" cy="2274887"/>
            </a:xfrm>
            <a:custGeom>
              <a:avLst/>
              <a:gdLst>
                <a:gd name="T0" fmla="*/ 1002940 w 2789"/>
                <a:gd name="T1" fmla="*/ 955042 h 6317"/>
                <a:gd name="T2" fmla="*/ 1002940 w 2789"/>
                <a:gd name="T3" fmla="*/ 1331009 h 6317"/>
                <a:gd name="T4" fmla="*/ 0 w 2789"/>
                <a:gd name="T5" fmla="*/ 2274527 h 6317"/>
                <a:gd name="T6" fmla="*/ 0 w 2789"/>
                <a:gd name="T7" fmla="*/ 1752711 h 6317"/>
                <a:gd name="T8" fmla="*/ 656876 w 2789"/>
                <a:gd name="T9" fmla="*/ 1137624 h 6317"/>
                <a:gd name="T10" fmla="*/ 0 w 2789"/>
                <a:gd name="T11" fmla="*/ 510652 h 6317"/>
                <a:gd name="T12" fmla="*/ 0 w 2789"/>
                <a:gd name="T13" fmla="*/ 0 h 6317"/>
                <a:gd name="T14" fmla="*/ 1002940 w 2789"/>
                <a:gd name="T15" fmla="*/ 955042 h 6317"/>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2789" h="6317">
                  <a:moveTo>
                    <a:pt x="2788" y="2652"/>
                  </a:moveTo>
                  <a:lnTo>
                    <a:pt x="2788" y="3696"/>
                  </a:lnTo>
                  <a:lnTo>
                    <a:pt x="0" y="6316"/>
                  </a:lnTo>
                  <a:lnTo>
                    <a:pt x="0" y="4867"/>
                  </a:lnTo>
                  <a:lnTo>
                    <a:pt x="1826" y="3159"/>
                  </a:lnTo>
                  <a:lnTo>
                    <a:pt x="0" y="1418"/>
                  </a:lnTo>
                  <a:lnTo>
                    <a:pt x="0" y="0"/>
                  </a:lnTo>
                  <a:lnTo>
                    <a:pt x="2788" y="2652"/>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endParaRPr lang="en-US"/>
            </a:p>
          </p:txBody>
        </p:sp>
      </p:grpSp>
      <p:sp>
        <p:nvSpPr>
          <p:cNvPr id="25" name="Footer Placeholder 14">
            <a:extLst>
              <a:ext uri="{FF2B5EF4-FFF2-40B4-BE49-F238E27FC236}">
                <a16:creationId xmlns:a16="http://schemas.microsoft.com/office/drawing/2014/main" id="{1E6BA817-3758-BF07-0173-33A62647C45A}"/>
              </a:ext>
            </a:extLst>
          </p:cNvPr>
          <p:cNvSpPr txBox="1">
            <a:spLocks/>
          </p:cNvSpPr>
          <p:nvPr userDrawn="1"/>
        </p:nvSpPr>
        <p:spPr>
          <a:xfrm>
            <a:off x="1205299" y="6410231"/>
            <a:ext cx="2157779" cy="228599"/>
          </a:xfrm>
          <a:prstGeom prst="rect">
            <a:avLst/>
          </a:prstGeom>
        </p:spPr>
        <p:txBody>
          <a:bodyPr vert="horz" lIns="0" tIns="0" rIns="0" bIns="0" rtlCol="0" anchor="ctr"/>
          <a:lstStyle>
            <a:defPPr>
              <a:defRPr lang="en-US"/>
            </a:defPPr>
            <a:lvl1pPr marL="0" algn="r" defTabSz="914400" rtl="0" eaLnBrk="1" latinLnBrk="0" hangingPunct="1">
              <a:defRPr sz="600" b="0" i="0" kern="1200">
                <a:solidFill>
                  <a:schemeClr val="tx1"/>
                </a:solidFill>
                <a:latin typeface="+mn-lt"/>
                <a:ea typeface="Calibri" panose="020F0502020204030204" pitchFamily="34" charset="0"/>
                <a:cs typeface="Calibri" panose="020F050202020403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b="0" i="0">
                <a:solidFill>
                  <a:schemeClr val="tx1"/>
                </a:solidFill>
                <a:latin typeface="+mn-lt"/>
              </a:rPr>
              <a:t>EPAM Proprietary &amp; Confidential</a:t>
            </a:r>
            <a:r>
              <a:rPr lang="ru-RU" b="0" i="0">
                <a:solidFill>
                  <a:schemeClr val="tx1"/>
                </a:solidFill>
                <a:latin typeface="+mn-lt"/>
              </a:rPr>
              <a:t> </a:t>
            </a:r>
            <a:endParaRPr lang="en-US" b="0" i="0">
              <a:solidFill>
                <a:schemeClr val="tx1"/>
              </a:solidFill>
              <a:latin typeface="+mn-lt"/>
            </a:endParaRPr>
          </a:p>
        </p:txBody>
      </p:sp>
      <p:pic>
        <p:nvPicPr>
          <p:cNvPr id="5" name="Graphic 4">
            <a:extLst>
              <a:ext uri="{FF2B5EF4-FFF2-40B4-BE49-F238E27FC236}">
                <a16:creationId xmlns:a16="http://schemas.microsoft.com/office/drawing/2014/main" id="{4D2BBBE9-2471-4FBC-0B8A-EFE28EB06179}"/>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820265" y="6419060"/>
            <a:ext cx="762923" cy="205636"/>
          </a:xfrm>
          <a:prstGeom prst="rect">
            <a:avLst/>
          </a:prstGeom>
        </p:spPr>
      </p:pic>
    </p:spTree>
    <p:extLst>
      <p:ext uri="{BB962C8B-B14F-4D97-AF65-F5344CB8AC3E}">
        <p14:creationId xmlns:p14="http://schemas.microsoft.com/office/powerpoint/2010/main" val="1883639340"/>
      </p:ext>
    </p:extLst>
  </p:cSld>
  <p:clrMapOvr>
    <a:masterClrMapping/>
  </p:clrMapOvr>
  <p:extLst>
    <p:ext uri="{DCECCB84-F9BA-43D5-87BE-67443E8EF086}">
      <p15:sldGuideLst xmlns:p15="http://schemas.microsoft.com/office/powerpoint/2012/main"/>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Our_People_3_People_White">
    <p:bg>
      <p:bgPr>
        <a:solidFill>
          <a:schemeClr val="tx1"/>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4740EAEC-268C-5162-974B-8A89C7C0171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47701" y="6415709"/>
            <a:ext cx="495300" cy="182096"/>
          </a:xfrm>
          <a:prstGeom prst="rect">
            <a:avLst/>
          </a:prstGeom>
        </p:spPr>
      </p:pic>
      <p:sp>
        <p:nvSpPr>
          <p:cNvPr id="2" name="Picture Placeholder 11">
            <a:extLst>
              <a:ext uri="{FF2B5EF4-FFF2-40B4-BE49-F238E27FC236}">
                <a16:creationId xmlns:a16="http://schemas.microsoft.com/office/drawing/2014/main" id="{D059CF42-DE64-D215-F33D-AEF5AC07DB76}"/>
              </a:ext>
            </a:extLst>
          </p:cNvPr>
          <p:cNvSpPr>
            <a:spLocks noGrp="1"/>
          </p:cNvSpPr>
          <p:nvPr>
            <p:ph type="pic" sz="quarter" idx="28"/>
          </p:nvPr>
        </p:nvSpPr>
        <p:spPr>
          <a:xfrm>
            <a:off x="647700" y="795020"/>
            <a:ext cx="1866900" cy="1981200"/>
          </a:xfrm>
          <a:prstGeom prst="rect">
            <a:avLst/>
          </a:prstGeom>
        </p:spPr>
        <p:txBody>
          <a:bodyPr/>
          <a:lstStyle/>
          <a:p>
            <a:endParaRPr lang="en-US"/>
          </a:p>
        </p:txBody>
      </p:sp>
      <p:sp>
        <p:nvSpPr>
          <p:cNvPr id="3" name="Text Placeholder 4">
            <a:extLst>
              <a:ext uri="{FF2B5EF4-FFF2-40B4-BE49-F238E27FC236}">
                <a16:creationId xmlns:a16="http://schemas.microsoft.com/office/drawing/2014/main" id="{FC1C1359-8F08-C0F3-2D34-47EA322BD228}"/>
              </a:ext>
            </a:extLst>
          </p:cNvPr>
          <p:cNvSpPr>
            <a:spLocks noGrp="1"/>
          </p:cNvSpPr>
          <p:nvPr>
            <p:ph type="body" sz="quarter" idx="16" hasCustomPrompt="1"/>
          </p:nvPr>
        </p:nvSpPr>
        <p:spPr>
          <a:xfrm>
            <a:off x="647700" y="3972655"/>
            <a:ext cx="2781300" cy="2035109"/>
          </a:xfrm>
          <a:prstGeom prst="rect">
            <a:avLst/>
          </a:prstGeom>
        </p:spPr>
        <p:txBody>
          <a:bodyPr wrap="square" anchor="t" anchorCtr="0">
            <a:spAutoFit/>
          </a:bodyPr>
          <a:lstStyle>
            <a:lvl1pPr marL="0" marR="0" indent="0" algn="l" defTabSz="914400" rtl="0" eaLnBrk="1" fontAlgn="auto" latinLnBrk="0" hangingPunct="1">
              <a:lnSpc>
                <a:spcPts val="2000"/>
              </a:lnSpc>
              <a:spcBef>
                <a:spcPts val="600"/>
              </a:spcBef>
              <a:spcAft>
                <a:spcPts val="0"/>
              </a:spcAft>
              <a:buClrTx/>
              <a:buSzTx/>
              <a:buFont typeface="Arial" panose="020B0604020202020204" pitchFamily="34" charset="0"/>
              <a:buNone/>
              <a:tabLst/>
              <a:defRPr sz="1400" b="0" i="0">
                <a:solidFill>
                  <a:schemeClr val="bg1"/>
                </a:solidFill>
                <a:latin typeface="Calibri Light" panose="020F0302020204030204" pitchFamily="34" charset="0"/>
                <a:cs typeface="Calibri Light" panose="020F0302020204030204" pitchFamily="34" charset="0"/>
              </a:defRPr>
            </a:lvl1pPr>
          </a:lstStyle>
          <a:p>
            <a:r>
              <a:rPr lang="en-US"/>
              <a:t>Lorem ipsum </a:t>
            </a:r>
            <a:r>
              <a:rPr lang="en-US" err="1"/>
              <a:t>nulla</a:t>
            </a:r>
            <a:r>
              <a:rPr lang="en-US"/>
              <a:t> </a:t>
            </a:r>
            <a:r>
              <a:rPr lang="en-US" err="1"/>
              <a:t>primis</a:t>
            </a:r>
            <a:r>
              <a:rPr lang="en-US"/>
              <a:t> eros mi </a:t>
            </a:r>
            <a:r>
              <a:rPr lang="en-US" err="1"/>
              <a:t>maecenas</a:t>
            </a:r>
            <a:r>
              <a:rPr lang="en-US"/>
              <a:t> ligula magna, </a:t>
            </a:r>
            <a:r>
              <a:rPr lang="en-US" err="1"/>
              <a:t>nibh</a:t>
            </a:r>
            <a:r>
              <a:rPr lang="en-US"/>
              <a:t> </a:t>
            </a:r>
            <a:r>
              <a:rPr lang="en-US" err="1"/>
              <a:t>commodo</a:t>
            </a:r>
            <a:r>
              <a:rPr lang="en-US"/>
              <a:t> </a:t>
            </a:r>
            <a:r>
              <a:rPr lang="en-US" err="1"/>
              <a:t>aenean</a:t>
            </a:r>
            <a:r>
              <a:rPr lang="en-US"/>
              <a:t> </a:t>
            </a:r>
            <a:r>
              <a:rPr lang="en-US" err="1"/>
              <a:t>leo</a:t>
            </a:r>
            <a:r>
              <a:rPr lang="en-US"/>
              <a:t> porta </a:t>
            </a:r>
            <a:r>
              <a:rPr lang="en-US" err="1"/>
              <a:t>duis</a:t>
            </a:r>
            <a:r>
              <a:rPr lang="en-US"/>
              <a:t> magna </a:t>
            </a:r>
            <a:r>
              <a:rPr lang="en-US" err="1"/>
              <a:t>felis</a:t>
            </a:r>
            <a:r>
              <a:rPr lang="en-US"/>
              <a:t> </a:t>
            </a:r>
            <a:r>
              <a:rPr lang="en-US" err="1"/>
              <a:t>bibendum</a:t>
            </a:r>
            <a:r>
              <a:rPr lang="en-US"/>
              <a:t> </a:t>
            </a:r>
            <a:r>
              <a:rPr lang="en-US" err="1"/>
              <a:t>tempor</a:t>
            </a:r>
            <a:r>
              <a:rPr lang="en-US"/>
              <a:t> </a:t>
            </a:r>
            <a:r>
              <a:rPr lang="en-US" err="1"/>
              <a:t>cubilia</a:t>
            </a:r>
            <a:r>
              <a:rPr lang="en-US"/>
              <a:t> gravida </a:t>
            </a:r>
            <a:r>
              <a:rPr lang="en-US" err="1"/>
              <a:t>molestie</a:t>
            </a:r>
            <a:r>
              <a:rPr lang="en-US"/>
              <a:t> a </a:t>
            </a:r>
            <a:r>
              <a:rPr lang="en-US" err="1"/>
              <a:t>pretium</a:t>
            </a:r>
            <a:r>
              <a:rPr lang="en-US"/>
              <a:t> </a:t>
            </a:r>
            <a:r>
              <a:rPr lang="en-US" err="1"/>
              <a:t>egestas</a:t>
            </a:r>
            <a:r>
              <a:rPr lang="en-US"/>
              <a:t> </a:t>
            </a:r>
            <a:r>
              <a:rPr lang="en-US" err="1"/>
              <a:t>iaculis</a:t>
            </a:r>
            <a:r>
              <a:rPr lang="en-US"/>
              <a:t> per, eros sit </a:t>
            </a:r>
            <a:r>
              <a:rPr lang="en-US" err="1"/>
              <a:t>leo</a:t>
            </a:r>
            <a:r>
              <a:rPr lang="en-US"/>
              <a:t> </a:t>
            </a:r>
            <a:r>
              <a:rPr lang="en-US" err="1"/>
              <a:t>augue</a:t>
            </a:r>
            <a:r>
              <a:rPr lang="en-US"/>
              <a:t> tempus </a:t>
            </a:r>
            <a:r>
              <a:rPr lang="en-US" err="1"/>
              <a:t>consectetur</a:t>
            </a:r>
            <a:r>
              <a:rPr lang="en-US"/>
              <a:t> </a:t>
            </a:r>
            <a:r>
              <a:rPr lang="en-US" err="1"/>
              <a:t>primis</a:t>
            </a:r>
            <a:r>
              <a:rPr lang="en-US"/>
              <a:t> dolor ac </a:t>
            </a:r>
            <a:r>
              <a:rPr lang="en-US" err="1"/>
              <a:t>euismod</a:t>
            </a:r>
            <a:r>
              <a:rPr lang="en-US"/>
              <a:t> </a:t>
            </a:r>
            <a:r>
              <a:rPr lang="en-US" err="1"/>
              <a:t>accumsan</a:t>
            </a:r>
            <a:r>
              <a:rPr lang="en-US"/>
              <a:t>, </a:t>
            </a:r>
            <a:r>
              <a:rPr lang="en-US" err="1"/>
              <a:t>vivamus</a:t>
            </a:r>
            <a:r>
              <a:rPr lang="en-US"/>
              <a:t> </a:t>
            </a:r>
            <a:r>
              <a:rPr lang="en-US" err="1"/>
              <a:t>feugiat</a:t>
            </a:r>
            <a:r>
              <a:rPr lang="en-US"/>
              <a:t>.</a:t>
            </a:r>
          </a:p>
        </p:txBody>
      </p:sp>
      <p:sp>
        <p:nvSpPr>
          <p:cNvPr id="16" name="Picture Placeholder 11">
            <a:extLst>
              <a:ext uri="{FF2B5EF4-FFF2-40B4-BE49-F238E27FC236}">
                <a16:creationId xmlns:a16="http://schemas.microsoft.com/office/drawing/2014/main" id="{8BF8ECD0-B431-B638-27D5-32D70A5C2A1C}"/>
              </a:ext>
            </a:extLst>
          </p:cNvPr>
          <p:cNvSpPr>
            <a:spLocks noGrp="1"/>
          </p:cNvSpPr>
          <p:nvPr>
            <p:ph type="pic" sz="quarter" idx="31"/>
          </p:nvPr>
        </p:nvSpPr>
        <p:spPr>
          <a:xfrm>
            <a:off x="4394200" y="795020"/>
            <a:ext cx="1866900" cy="1981200"/>
          </a:xfrm>
          <a:prstGeom prst="rect">
            <a:avLst/>
          </a:prstGeom>
        </p:spPr>
        <p:txBody>
          <a:bodyPr/>
          <a:lstStyle/>
          <a:p>
            <a:endParaRPr lang="en-US"/>
          </a:p>
        </p:txBody>
      </p:sp>
      <p:sp>
        <p:nvSpPr>
          <p:cNvPr id="17" name="Text Placeholder 4">
            <a:extLst>
              <a:ext uri="{FF2B5EF4-FFF2-40B4-BE49-F238E27FC236}">
                <a16:creationId xmlns:a16="http://schemas.microsoft.com/office/drawing/2014/main" id="{66E89CDA-AA89-1D71-39FA-7994E05AE92F}"/>
              </a:ext>
            </a:extLst>
          </p:cNvPr>
          <p:cNvSpPr>
            <a:spLocks noGrp="1"/>
          </p:cNvSpPr>
          <p:nvPr>
            <p:ph type="body" sz="quarter" idx="32" hasCustomPrompt="1"/>
          </p:nvPr>
        </p:nvSpPr>
        <p:spPr>
          <a:xfrm>
            <a:off x="4394200" y="3972655"/>
            <a:ext cx="2781300" cy="2035109"/>
          </a:xfrm>
          <a:prstGeom prst="rect">
            <a:avLst/>
          </a:prstGeom>
        </p:spPr>
        <p:txBody>
          <a:bodyPr wrap="square" anchor="t" anchorCtr="0">
            <a:spAutoFit/>
          </a:bodyPr>
          <a:lstStyle>
            <a:lvl1pPr marL="0" marR="0" indent="0" algn="l" defTabSz="914400" rtl="0" eaLnBrk="1" fontAlgn="auto" latinLnBrk="0" hangingPunct="1">
              <a:lnSpc>
                <a:spcPts val="2000"/>
              </a:lnSpc>
              <a:spcBef>
                <a:spcPts val="600"/>
              </a:spcBef>
              <a:spcAft>
                <a:spcPts val="0"/>
              </a:spcAft>
              <a:buClrTx/>
              <a:buSzTx/>
              <a:buFont typeface="Arial" panose="020B0604020202020204" pitchFamily="34" charset="0"/>
              <a:buNone/>
              <a:tabLst/>
              <a:defRPr sz="1400" b="0" i="0">
                <a:solidFill>
                  <a:schemeClr val="bg1"/>
                </a:solidFill>
                <a:latin typeface="Calibri Light" panose="020F0302020204030204" pitchFamily="34" charset="0"/>
                <a:cs typeface="Calibri Light" panose="020F0302020204030204" pitchFamily="34" charset="0"/>
              </a:defRPr>
            </a:lvl1pPr>
          </a:lstStyle>
          <a:p>
            <a:r>
              <a:rPr lang="en-US"/>
              <a:t>Lorem ipsum </a:t>
            </a:r>
            <a:r>
              <a:rPr lang="en-US" err="1"/>
              <a:t>nulla</a:t>
            </a:r>
            <a:r>
              <a:rPr lang="en-US"/>
              <a:t> </a:t>
            </a:r>
            <a:r>
              <a:rPr lang="en-US" err="1"/>
              <a:t>primis</a:t>
            </a:r>
            <a:r>
              <a:rPr lang="en-US"/>
              <a:t> eros mi </a:t>
            </a:r>
            <a:r>
              <a:rPr lang="en-US" err="1"/>
              <a:t>maecenas</a:t>
            </a:r>
            <a:r>
              <a:rPr lang="en-US"/>
              <a:t> ligula magna, </a:t>
            </a:r>
            <a:r>
              <a:rPr lang="en-US" err="1"/>
              <a:t>nibh</a:t>
            </a:r>
            <a:r>
              <a:rPr lang="en-US"/>
              <a:t> </a:t>
            </a:r>
            <a:r>
              <a:rPr lang="en-US" err="1"/>
              <a:t>commodo</a:t>
            </a:r>
            <a:r>
              <a:rPr lang="en-US"/>
              <a:t> </a:t>
            </a:r>
            <a:r>
              <a:rPr lang="en-US" err="1"/>
              <a:t>aenean</a:t>
            </a:r>
            <a:r>
              <a:rPr lang="en-US"/>
              <a:t> </a:t>
            </a:r>
            <a:r>
              <a:rPr lang="en-US" err="1"/>
              <a:t>leo</a:t>
            </a:r>
            <a:r>
              <a:rPr lang="en-US"/>
              <a:t> porta </a:t>
            </a:r>
            <a:r>
              <a:rPr lang="en-US" err="1"/>
              <a:t>duis</a:t>
            </a:r>
            <a:r>
              <a:rPr lang="en-US"/>
              <a:t> magna </a:t>
            </a:r>
            <a:r>
              <a:rPr lang="en-US" err="1"/>
              <a:t>felis</a:t>
            </a:r>
            <a:r>
              <a:rPr lang="en-US"/>
              <a:t> </a:t>
            </a:r>
            <a:r>
              <a:rPr lang="en-US" err="1"/>
              <a:t>bibendum</a:t>
            </a:r>
            <a:r>
              <a:rPr lang="en-US"/>
              <a:t> </a:t>
            </a:r>
            <a:r>
              <a:rPr lang="en-US" err="1"/>
              <a:t>tempor</a:t>
            </a:r>
            <a:r>
              <a:rPr lang="en-US"/>
              <a:t> </a:t>
            </a:r>
            <a:r>
              <a:rPr lang="en-US" err="1"/>
              <a:t>cubilia</a:t>
            </a:r>
            <a:r>
              <a:rPr lang="en-US"/>
              <a:t> gravida </a:t>
            </a:r>
            <a:r>
              <a:rPr lang="en-US" err="1"/>
              <a:t>molestie</a:t>
            </a:r>
            <a:r>
              <a:rPr lang="en-US"/>
              <a:t> a </a:t>
            </a:r>
            <a:r>
              <a:rPr lang="en-US" err="1"/>
              <a:t>pretium</a:t>
            </a:r>
            <a:r>
              <a:rPr lang="en-US"/>
              <a:t> </a:t>
            </a:r>
            <a:r>
              <a:rPr lang="en-US" err="1"/>
              <a:t>egestas</a:t>
            </a:r>
            <a:r>
              <a:rPr lang="en-US"/>
              <a:t> </a:t>
            </a:r>
            <a:r>
              <a:rPr lang="en-US" err="1"/>
              <a:t>iaculis</a:t>
            </a:r>
            <a:r>
              <a:rPr lang="en-US"/>
              <a:t> per, eros sit </a:t>
            </a:r>
            <a:r>
              <a:rPr lang="en-US" err="1"/>
              <a:t>leo</a:t>
            </a:r>
            <a:r>
              <a:rPr lang="en-US"/>
              <a:t> </a:t>
            </a:r>
            <a:r>
              <a:rPr lang="en-US" err="1"/>
              <a:t>augue</a:t>
            </a:r>
            <a:r>
              <a:rPr lang="en-US"/>
              <a:t> tempus </a:t>
            </a:r>
            <a:r>
              <a:rPr lang="en-US" err="1"/>
              <a:t>consectetur</a:t>
            </a:r>
            <a:r>
              <a:rPr lang="en-US"/>
              <a:t> </a:t>
            </a:r>
            <a:r>
              <a:rPr lang="en-US" err="1"/>
              <a:t>primis</a:t>
            </a:r>
            <a:r>
              <a:rPr lang="en-US"/>
              <a:t> dolor ac </a:t>
            </a:r>
            <a:r>
              <a:rPr lang="en-US" err="1"/>
              <a:t>euismod</a:t>
            </a:r>
            <a:r>
              <a:rPr lang="en-US"/>
              <a:t> </a:t>
            </a:r>
            <a:r>
              <a:rPr lang="en-US" err="1"/>
              <a:t>accumsan</a:t>
            </a:r>
            <a:r>
              <a:rPr lang="en-US"/>
              <a:t>, </a:t>
            </a:r>
            <a:r>
              <a:rPr lang="en-US" err="1"/>
              <a:t>vivamus</a:t>
            </a:r>
            <a:r>
              <a:rPr lang="en-US"/>
              <a:t> </a:t>
            </a:r>
            <a:r>
              <a:rPr lang="en-US" err="1"/>
              <a:t>feugiat</a:t>
            </a:r>
            <a:r>
              <a:rPr lang="en-US"/>
              <a:t>.</a:t>
            </a:r>
          </a:p>
        </p:txBody>
      </p:sp>
      <p:sp>
        <p:nvSpPr>
          <p:cNvPr id="20" name="Picture Placeholder 11">
            <a:extLst>
              <a:ext uri="{FF2B5EF4-FFF2-40B4-BE49-F238E27FC236}">
                <a16:creationId xmlns:a16="http://schemas.microsoft.com/office/drawing/2014/main" id="{EE0176D5-725E-3E5F-2AB8-0A9D56960DEE}"/>
              </a:ext>
            </a:extLst>
          </p:cNvPr>
          <p:cNvSpPr>
            <a:spLocks noGrp="1"/>
          </p:cNvSpPr>
          <p:nvPr>
            <p:ph type="pic" sz="quarter" idx="35"/>
          </p:nvPr>
        </p:nvSpPr>
        <p:spPr>
          <a:xfrm>
            <a:off x="8128000" y="795020"/>
            <a:ext cx="1866900" cy="1981200"/>
          </a:xfrm>
          <a:prstGeom prst="rect">
            <a:avLst/>
          </a:prstGeom>
        </p:spPr>
        <p:txBody>
          <a:bodyPr/>
          <a:lstStyle/>
          <a:p>
            <a:endParaRPr lang="en-US"/>
          </a:p>
        </p:txBody>
      </p:sp>
      <p:sp>
        <p:nvSpPr>
          <p:cNvPr id="21" name="Text Placeholder 4">
            <a:extLst>
              <a:ext uri="{FF2B5EF4-FFF2-40B4-BE49-F238E27FC236}">
                <a16:creationId xmlns:a16="http://schemas.microsoft.com/office/drawing/2014/main" id="{6A11A961-3944-A416-6D0E-F19285260E57}"/>
              </a:ext>
            </a:extLst>
          </p:cNvPr>
          <p:cNvSpPr>
            <a:spLocks noGrp="1"/>
          </p:cNvSpPr>
          <p:nvPr>
            <p:ph type="body" sz="quarter" idx="36" hasCustomPrompt="1"/>
          </p:nvPr>
        </p:nvSpPr>
        <p:spPr>
          <a:xfrm>
            <a:off x="8128000" y="3972655"/>
            <a:ext cx="2781300" cy="2035109"/>
          </a:xfrm>
          <a:prstGeom prst="rect">
            <a:avLst/>
          </a:prstGeom>
        </p:spPr>
        <p:txBody>
          <a:bodyPr wrap="square" anchor="t" anchorCtr="0">
            <a:spAutoFit/>
          </a:bodyPr>
          <a:lstStyle>
            <a:lvl1pPr marL="0" marR="0" indent="0" algn="l" defTabSz="914400" rtl="0" eaLnBrk="1" fontAlgn="auto" latinLnBrk="0" hangingPunct="1">
              <a:lnSpc>
                <a:spcPts val="2000"/>
              </a:lnSpc>
              <a:spcBef>
                <a:spcPts val="600"/>
              </a:spcBef>
              <a:spcAft>
                <a:spcPts val="0"/>
              </a:spcAft>
              <a:buClrTx/>
              <a:buSzTx/>
              <a:buFont typeface="Arial" panose="020B0604020202020204" pitchFamily="34" charset="0"/>
              <a:buNone/>
              <a:tabLst/>
              <a:defRPr sz="1400" b="0" i="0">
                <a:solidFill>
                  <a:schemeClr val="bg1"/>
                </a:solidFill>
                <a:latin typeface="Calibri Light" panose="020F0302020204030204" pitchFamily="34" charset="0"/>
                <a:cs typeface="Calibri Light" panose="020F0302020204030204" pitchFamily="34" charset="0"/>
              </a:defRPr>
            </a:lvl1pPr>
          </a:lstStyle>
          <a:p>
            <a:r>
              <a:rPr lang="en-US"/>
              <a:t>Lorem ipsum </a:t>
            </a:r>
            <a:r>
              <a:rPr lang="en-US" err="1"/>
              <a:t>nulla</a:t>
            </a:r>
            <a:r>
              <a:rPr lang="en-US"/>
              <a:t> </a:t>
            </a:r>
            <a:r>
              <a:rPr lang="en-US" err="1"/>
              <a:t>primis</a:t>
            </a:r>
            <a:r>
              <a:rPr lang="en-US"/>
              <a:t> eros mi </a:t>
            </a:r>
            <a:r>
              <a:rPr lang="en-US" err="1"/>
              <a:t>maecenas</a:t>
            </a:r>
            <a:r>
              <a:rPr lang="en-US"/>
              <a:t> ligula magna, </a:t>
            </a:r>
            <a:r>
              <a:rPr lang="en-US" err="1"/>
              <a:t>nibh</a:t>
            </a:r>
            <a:r>
              <a:rPr lang="en-US"/>
              <a:t> </a:t>
            </a:r>
            <a:r>
              <a:rPr lang="en-US" err="1"/>
              <a:t>commodo</a:t>
            </a:r>
            <a:r>
              <a:rPr lang="en-US"/>
              <a:t> </a:t>
            </a:r>
            <a:r>
              <a:rPr lang="en-US" err="1"/>
              <a:t>aenean</a:t>
            </a:r>
            <a:r>
              <a:rPr lang="en-US"/>
              <a:t> </a:t>
            </a:r>
            <a:r>
              <a:rPr lang="en-US" err="1"/>
              <a:t>leo</a:t>
            </a:r>
            <a:r>
              <a:rPr lang="en-US"/>
              <a:t> porta </a:t>
            </a:r>
            <a:r>
              <a:rPr lang="en-US" err="1"/>
              <a:t>duis</a:t>
            </a:r>
            <a:r>
              <a:rPr lang="en-US"/>
              <a:t> magna </a:t>
            </a:r>
            <a:r>
              <a:rPr lang="en-US" err="1"/>
              <a:t>felis</a:t>
            </a:r>
            <a:r>
              <a:rPr lang="en-US"/>
              <a:t> </a:t>
            </a:r>
            <a:r>
              <a:rPr lang="en-US" err="1"/>
              <a:t>bibendum</a:t>
            </a:r>
            <a:r>
              <a:rPr lang="en-US"/>
              <a:t> </a:t>
            </a:r>
            <a:r>
              <a:rPr lang="en-US" err="1"/>
              <a:t>tempor</a:t>
            </a:r>
            <a:r>
              <a:rPr lang="en-US"/>
              <a:t> </a:t>
            </a:r>
            <a:r>
              <a:rPr lang="en-US" err="1"/>
              <a:t>cubilia</a:t>
            </a:r>
            <a:r>
              <a:rPr lang="en-US"/>
              <a:t> gravida </a:t>
            </a:r>
            <a:r>
              <a:rPr lang="en-US" err="1"/>
              <a:t>molestie</a:t>
            </a:r>
            <a:r>
              <a:rPr lang="en-US"/>
              <a:t> a </a:t>
            </a:r>
            <a:r>
              <a:rPr lang="en-US" err="1"/>
              <a:t>pretium</a:t>
            </a:r>
            <a:r>
              <a:rPr lang="en-US"/>
              <a:t> </a:t>
            </a:r>
            <a:r>
              <a:rPr lang="en-US" err="1"/>
              <a:t>egestas</a:t>
            </a:r>
            <a:r>
              <a:rPr lang="en-US"/>
              <a:t> </a:t>
            </a:r>
            <a:r>
              <a:rPr lang="en-US" err="1"/>
              <a:t>iaculis</a:t>
            </a:r>
            <a:r>
              <a:rPr lang="en-US"/>
              <a:t> per, eros sit </a:t>
            </a:r>
            <a:r>
              <a:rPr lang="en-US" err="1"/>
              <a:t>leo</a:t>
            </a:r>
            <a:r>
              <a:rPr lang="en-US"/>
              <a:t> </a:t>
            </a:r>
            <a:r>
              <a:rPr lang="en-US" err="1"/>
              <a:t>augue</a:t>
            </a:r>
            <a:r>
              <a:rPr lang="en-US"/>
              <a:t> tempus </a:t>
            </a:r>
            <a:r>
              <a:rPr lang="en-US" err="1"/>
              <a:t>consectetur</a:t>
            </a:r>
            <a:r>
              <a:rPr lang="en-US"/>
              <a:t> </a:t>
            </a:r>
            <a:r>
              <a:rPr lang="en-US" err="1"/>
              <a:t>primis</a:t>
            </a:r>
            <a:r>
              <a:rPr lang="en-US"/>
              <a:t> dolor ac </a:t>
            </a:r>
            <a:r>
              <a:rPr lang="en-US" err="1"/>
              <a:t>euismod</a:t>
            </a:r>
            <a:r>
              <a:rPr lang="en-US"/>
              <a:t> </a:t>
            </a:r>
            <a:r>
              <a:rPr lang="en-US" err="1"/>
              <a:t>accumsan</a:t>
            </a:r>
            <a:r>
              <a:rPr lang="en-US"/>
              <a:t>, </a:t>
            </a:r>
            <a:r>
              <a:rPr lang="en-US" err="1"/>
              <a:t>vivamus</a:t>
            </a:r>
            <a:r>
              <a:rPr lang="en-US"/>
              <a:t> </a:t>
            </a:r>
            <a:r>
              <a:rPr lang="en-US" err="1"/>
              <a:t>feugiat</a:t>
            </a:r>
            <a:r>
              <a:rPr lang="en-US"/>
              <a:t>.</a:t>
            </a:r>
          </a:p>
        </p:txBody>
      </p:sp>
      <p:sp>
        <p:nvSpPr>
          <p:cNvPr id="4" name="Text Placeholder 4">
            <a:extLst>
              <a:ext uri="{FF2B5EF4-FFF2-40B4-BE49-F238E27FC236}">
                <a16:creationId xmlns:a16="http://schemas.microsoft.com/office/drawing/2014/main" id="{4B18FCDA-6157-DD00-EDF9-0F787E8060D0}"/>
              </a:ext>
            </a:extLst>
          </p:cNvPr>
          <p:cNvSpPr>
            <a:spLocks noGrp="1"/>
          </p:cNvSpPr>
          <p:nvPr>
            <p:ph type="body" sz="quarter" idx="11" hasCustomPrompt="1"/>
          </p:nvPr>
        </p:nvSpPr>
        <p:spPr>
          <a:xfrm>
            <a:off x="647700" y="419100"/>
            <a:ext cx="3467100" cy="153888"/>
          </a:xfrm>
          <a:prstGeom prst="rect">
            <a:avLst/>
          </a:prstGeom>
        </p:spPr>
        <p:txBody>
          <a:bodyPr wrap="square">
            <a:spAutoFit/>
          </a:bodyPr>
          <a:lstStyle>
            <a:lvl1pPr>
              <a:lnSpc>
                <a:spcPct val="100000"/>
              </a:lnSpc>
              <a:spcBef>
                <a:spcPts val="0"/>
              </a:spcBef>
              <a:defRPr sz="1000" b="0" i="0" spc="300">
                <a:solidFill>
                  <a:schemeClr val="bg1"/>
                </a:solidFill>
                <a:latin typeface="Calibri" panose="020F0502020204030204" pitchFamily="34" charset="0"/>
                <a:cs typeface="Calibri" panose="020F0502020204030204" pitchFamily="34" charset="0"/>
              </a:defRPr>
            </a:lvl1pPr>
            <a:lvl2pPr>
              <a:buNone/>
              <a:defRPr/>
            </a:lvl2pPr>
          </a:lstStyle>
          <a:p>
            <a:pPr lvl="0"/>
            <a:r>
              <a:rPr lang="en-US">
                <a:effectLst/>
              </a:rPr>
              <a:t>SECTION TITLE</a:t>
            </a:r>
            <a:endParaRPr lang="en-US"/>
          </a:p>
        </p:txBody>
      </p:sp>
      <p:sp>
        <p:nvSpPr>
          <p:cNvPr id="9" name="Text Placeholder 4">
            <a:extLst>
              <a:ext uri="{FF2B5EF4-FFF2-40B4-BE49-F238E27FC236}">
                <a16:creationId xmlns:a16="http://schemas.microsoft.com/office/drawing/2014/main" id="{3E9EAAF0-DA59-9A4C-DDB9-D70B6F58EC38}"/>
              </a:ext>
            </a:extLst>
          </p:cNvPr>
          <p:cNvSpPr>
            <a:spLocks noGrp="1"/>
          </p:cNvSpPr>
          <p:nvPr>
            <p:ph type="body" sz="quarter" idx="25" hasCustomPrompt="1"/>
          </p:nvPr>
        </p:nvSpPr>
        <p:spPr>
          <a:xfrm>
            <a:off x="647700" y="2916672"/>
            <a:ext cx="3467100" cy="537198"/>
          </a:xfrm>
          <a:prstGeom prst="rect">
            <a:avLst/>
          </a:prstGeom>
        </p:spPr>
        <p:txBody>
          <a:bodyPr wrap="square">
            <a:spAutoFit/>
          </a:bodyPr>
          <a:lstStyle>
            <a:lvl1pPr>
              <a:lnSpc>
                <a:spcPts val="4600"/>
              </a:lnSpc>
              <a:spcBef>
                <a:spcPts val="0"/>
              </a:spcBef>
              <a:defRPr sz="2400" b="1" i="0" spc="0">
                <a:solidFill>
                  <a:schemeClr val="bg1"/>
                </a:solidFill>
                <a:latin typeface="Calibri" panose="020F0502020204030204" pitchFamily="34" charset="0"/>
                <a:cs typeface="Calibri" panose="020F0502020204030204" pitchFamily="34" charset="0"/>
              </a:defRPr>
            </a:lvl1pPr>
            <a:lvl2pPr>
              <a:buNone/>
              <a:defRPr/>
            </a:lvl2pPr>
          </a:lstStyle>
          <a:p>
            <a:pPr lvl="0"/>
            <a:r>
              <a:rPr lang="en-US">
                <a:effectLst/>
              </a:rPr>
              <a:t>Name </a:t>
            </a:r>
            <a:r>
              <a:rPr lang="en-US" err="1">
                <a:effectLst/>
              </a:rPr>
              <a:t>Lastname</a:t>
            </a:r>
            <a:endParaRPr lang="en-US"/>
          </a:p>
        </p:txBody>
      </p:sp>
      <p:sp>
        <p:nvSpPr>
          <p:cNvPr id="11" name="Text Placeholder 4">
            <a:extLst>
              <a:ext uri="{FF2B5EF4-FFF2-40B4-BE49-F238E27FC236}">
                <a16:creationId xmlns:a16="http://schemas.microsoft.com/office/drawing/2014/main" id="{0F3325AC-FA89-2721-66BD-3FA89A3295B1}"/>
              </a:ext>
            </a:extLst>
          </p:cNvPr>
          <p:cNvSpPr>
            <a:spLocks noGrp="1"/>
          </p:cNvSpPr>
          <p:nvPr>
            <p:ph type="body" sz="quarter" idx="26" hasCustomPrompt="1"/>
          </p:nvPr>
        </p:nvSpPr>
        <p:spPr>
          <a:xfrm>
            <a:off x="647700" y="3530414"/>
            <a:ext cx="3467100" cy="215444"/>
          </a:xfrm>
          <a:prstGeom prst="rect">
            <a:avLst/>
          </a:prstGeom>
        </p:spPr>
        <p:txBody>
          <a:bodyPr wrap="square" anchor="t" anchorCtr="0">
            <a:spAutoFit/>
          </a:bodyPr>
          <a:lstStyle>
            <a:lvl1pPr marL="0" marR="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sz="1400" b="1" i="0">
                <a:solidFill>
                  <a:schemeClr val="bg1"/>
                </a:solidFill>
                <a:latin typeface="Calibri" panose="020F0502020204030204" pitchFamily="34" charset="0"/>
                <a:cs typeface="Calibri" panose="020F0502020204030204" pitchFamily="34" charset="0"/>
              </a:defRPr>
            </a:lvl1pPr>
          </a:lstStyle>
          <a:p>
            <a:r>
              <a:rPr lang="en-US"/>
              <a:t>Title</a:t>
            </a:r>
          </a:p>
        </p:txBody>
      </p:sp>
      <p:sp>
        <p:nvSpPr>
          <p:cNvPr id="12" name="Text Placeholder 4">
            <a:extLst>
              <a:ext uri="{FF2B5EF4-FFF2-40B4-BE49-F238E27FC236}">
                <a16:creationId xmlns:a16="http://schemas.microsoft.com/office/drawing/2014/main" id="{3EDAAE16-C208-320D-0FAD-019C5065ADEA}"/>
              </a:ext>
            </a:extLst>
          </p:cNvPr>
          <p:cNvSpPr>
            <a:spLocks noGrp="1"/>
          </p:cNvSpPr>
          <p:nvPr>
            <p:ph type="body" sz="quarter" idx="29" hasCustomPrompt="1"/>
          </p:nvPr>
        </p:nvSpPr>
        <p:spPr>
          <a:xfrm>
            <a:off x="4394200" y="2916672"/>
            <a:ext cx="3467100" cy="537198"/>
          </a:xfrm>
          <a:prstGeom prst="rect">
            <a:avLst/>
          </a:prstGeom>
        </p:spPr>
        <p:txBody>
          <a:bodyPr wrap="square">
            <a:spAutoFit/>
          </a:bodyPr>
          <a:lstStyle>
            <a:lvl1pPr>
              <a:lnSpc>
                <a:spcPts val="4600"/>
              </a:lnSpc>
              <a:spcBef>
                <a:spcPts val="0"/>
              </a:spcBef>
              <a:defRPr sz="2400" b="1" i="0" spc="0">
                <a:solidFill>
                  <a:schemeClr val="bg1"/>
                </a:solidFill>
                <a:latin typeface="Calibri" panose="020F0502020204030204" pitchFamily="34" charset="0"/>
                <a:cs typeface="Calibri" panose="020F0502020204030204" pitchFamily="34" charset="0"/>
              </a:defRPr>
            </a:lvl1pPr>
            <a:lvl2pPr>
              <a:buNone/>
              <a:defRPr/>
            </a:lvl2pPr>
          </a:lstStyle>
          <a:p>
            <a:pPr lvl="0"/>
            <a:r>
              <a:rPr lang="en-US">
                <a:effectLst/>
              </a:rPr>
              <a:t>Name </a:t>
            </a:r>
            <a:r>
              <a:rPr lang="en-US" err="1">
                <a:effectLst/>
              </a:rPr>
              <a:t>Lastname</a:t>
            </a:r>
            <a:endParaRPr lang="en-US"/>
          </a:p>
        </p:txBody>
      </p:sp>
      <p:sp>
        <p:nvSpPr>
          <p:cNvPr id="13" name="Text Placeholder 4">
            <a:extLst>
              <a:ext uri="{FF2B5EF4-FFF2-40B4-BE49-F238E27FC236}">
                <a16:creationId xmlns:a16="http://schemas.microsoft.com/office/drawing/2014/main" id="{B79B1DF4-BB37-4852-B8D5-CCA15EA33BD8}"/>
              </a:ext>
            </a:extLst>
          </p:cNvPr>
          <p:cNvSpPr>
            <a:spLocks noGrp="1"/>
          </p:cNvSpPr>
          <p:nvPr>
            <p:ph type="body" sz="quarter" idx="30" hasCustomPrompt="1"/>
          </p:nvPr>
        </p:nvSpPr>
        <p:spPr>
          <a:xfrm>
            <a:off x="4394200" y="3530414"/>
            <a:ext cx="3467100" cy="215444"/>
          </a:xfrm>
          <a:prstGeom prst="rect">
            <a:avLst/>
          </a:prstGeom>
        </p:spPr>
        <p:txBody>
          <a:bodyPr wrap="square" anchor="t" anchorCtr="0">
            <a:spAutoFit/>
          </a:bodyPr>
          <a:lstStyle>
            <a:lvl1pPr marL="0" marR="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sz="1400" b="1" i="0">
                <a:solidFill>
                  <a:schemeClr val="bg1"/>
                </a:solidFill>
                <a:latin typeface="Calibri" panose="020F0502020204030204" pitchFamily="34" charset="0"/>
                <a:cs typeface="Calibri" panose="020F0502020204030204" pitchFamily="34" charset="0"/>
              </a:defRPr>
            </a:lvl1pPr>
          </a:lstStyle>
          <a:p>
            <a:r>
              <a:rPr lang="en-US"/>
              <a:t>Title</a:t>
            </a:r>
          </a:p>
        </p:txBody>
      </p:sp>
      <p:sp>
        <p:nvSpPr>
          <p:cNvPr id="22" name="Text Placeholder 4">
            <a:extLst>
              <a:ext uri="{FF2B5EF4-FFF2-40B4-BE49-F238E27FC236}">
                <a16:creationId xmlns:a16="http://schemas.microsoft.com/office/drawing/2014/main" id="{2208ED5C-BB53-1551-29D7-F1F9604235F1}"/>
              </a:ext>
            </a:extLst>
          </p:cNvPr>
          <p:cNvSpPr>
            <a:spLocks noGrp="1"/>
          </p:cNvSpPr>
          <p:nvPr>
            <p:ph type="body" sz="quarter" idx="33" hasCustomPrompt="1"/>
          </p:nvPr>
        </p:nvSpPr>
        <p:spPr>
          <a:xfrm>
            <a:off x="8128000" y="2916672"/>
            <a:ext cx="3467100" cy="537198"/>
          </a:xfrm>
          <a:prstGeom prst="rect">
            <a:avLst/>
          </a:prstGeom>
        </p:spPr>
        <p:txBody>
          <a:bodyPr wrap="square">
            <a:spAutoFit/>
          </a:bodyPr>
          <a:lstStyle>
            <a:lvl1pPr>
              <a:lnSpc>
                <a:spcPts val="4600"/>
              </a:lnSpc>
              <a:spcBef>
                <a:spcPts val="0"/>
              </a:spcBef>
              <a:defRPr sz="2400" b="1" i="0" spc="0">
                <a:solidFill>
                  <a:schemeClr val="bg1"/>
                </a:solidFill>
                <a:latin typeface="Calibri" panose="020F0502020204030204" pitchFamily="34" charset="0"/>
                <a:cs typeface="Calibri" panose="020F0502020204030204" pitchFamily="34" charset="0"/>
              </a:defRPr>
            </a:lvl1pPr>
            <a:lvl2pPr>
              <a:buNone/>
              <a:defRPr/>
            </a:lvl2pPr>
          </a:lstStyle>
          <a:p>
            <a:pPr lvl="0"/>
            <a:r>
              <a:rPr lang="en-US">
                <a:effectLst/>
              </a:rPr>
              <a:t>Name </a:t>
            </a:r>
            <a:r>
              <a:rPr lang="en-US" err="1">
                <a:effectLst/>
              </a:rPr>
              <a:t>Lastname</a:t>
            </a:r>
            <a:endParaRPr lang="en-US"/>
          </a:p>
        </p:txBody>
      </p:sp>
      <p:sp>
        <p:nvSpPr>
          <p:cNvPr id="23" name="Text Placeholder 4">
            <a:extLst>
              <a:ext uri="{FF2B5EF4-FFF2-40B4-BE49-F238E27FC236}">
                <a16:creationId xmlns:a16="http://schemas.microsoft.com/office/drawing/2014/main" id="{2C410183-43E5-936A-0784-08DD1978A475}"/>
              </a:ext>
            </a:extLst>
          </p:cNvPr>
          <p:cNvSpPr>
            <a:spLocks noGrp="1"/>
          </p:cNvSpPr>
          <p:nvPr>
            <p:ph type="body" sz="quarter" idx="34" hasCustomPrompt="1"/>
          </p:nvPr>
        </p:nvSpPr>
        <p:spPr>
          <a:xfrm>
            <a:off x="8128000" y="3530414"/>
            <a:ext cx="3467100" cy="215444"/>
          </a:xfrm>
          <a:prstGeom prst="rect">
            <a:avLst/>
          </a:prstGeom>
        </p:spPr>
        <p:txBody>
          <a:bodyPr wrap="square" anchor="t" anchorCtr="0">
            <a:spAutoFit/>
          </a:bodyPr>
          <a:lstStyle>
            <a:lvl1pPr marL="0" marR="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sz="1400" b="1" i="0">
                <a:solidFill>
                  <a:schemeClr val="bg1"/>
                </a:solidFill>
                <a:latin typeface="Calibri" panose="020F0502020204030204" pitchFamily="34" charset="0"/>
                <a:cs typeface="Calibri" panose="020F0502020204030204" pitchFamily="34" charset="0"/>
              </a:defRPr>
            </a:lvl1pPr>
          </a:lstStyle>
          <a:p>
            <a:r>
              <a:rPr lang="en-US"/>
              <a:t>Title</a:t>
            </a:r>
          </a:p>
        </p:txBody>
      </p:sp>
      <p:grpSp>
        <p:nvGrpSpPr>
          <p:cNvPr id="6" name="Group 5">
            <a:extLst>
              <a:ext uri="{FF2B5EF4-FFF2-40B4-BE49-F238E27FC236}">
                <a16:creationId xmlns:a16="http://schemas.microsoft.com/office/drawing/2014/main" id="{9DB28FEE-35DC-1D4D-C903-541E0619FCDE}"/>
              </a:ext>
            </a:extLst>
          </p:cNvPr>
          <p:cNvGrpSpPr/>
          <p:nvPr userDrawn="1"/>
        </p:nvGrpSpPr>
        <p:grpSpPr>
          <a:xfrm>
            <a:off x="610888" y="6472556"/>
            <a:ext cx="372834" cy="131175"/>
            <a:chOff x="14288" y="2035175"/>
            <a:chExt cx="10039350" cy="3532188"/>
          </a:xfrm>
          <a:solidFill>
            <a:schemeClr val="bg1"/>
          </a:solidFill>
        </p:grpSpPr>
        <p:sp>
          <p:nvSpPr>
            <p:cNvPr id="7" name="Freeform 1">
              <a:extLst>
                <a:ext uri="{FF2B5EF4-FFF2-40B4-BE49-F238E27FC236}">
                  <a16:creationId xmlns:a16="http://schemas.microsoft.com/office/drawing/2014/main" id="{64426E2E-C15F-23B3-CDF7-58EF2A55AD8F}"/>
                </a:ext>
              </a:extLst>
            </p:cNvPr>
            <p:cNvSpPr>
              <a:spLocks noChangeArrowheads="1"/>
            </p:cNvSpPr>
            <p:nvPr/>
          </p:nvSpPr>
          <p:spPr bwMode="auto">
            <a:xfrm>
              <a:off x="1519238" y="2035175"/>
              <a:ext cx="1336675" cy="2836863"/>
            </a:xfrm>
            <a:custGeom>
              <a:avLst/>
              <a:gdLst>
                <a:gd name="T0" fmla="*/ 390493 w 3714"/>
                <a:gd name="T1" fmla="*/ 1200682 h 7882"/>
                <a:gd name="T2" fmla="*/ 945462 w 3714"/>
                <a:gd name="T3" fmla="*/ 1200682 h 7882"/>
                <a:gd name="T4" fmla="*/ 945462 w 3714"/>
                <a:gd name="T5" fmla="*/ 611498 h 7882"/>
                <a:gd name="T6" fmla="*/ 698929 w 3714"/>
                <a:gd name="T7" fmla="*/ 364596 h 7882"/>
                <a:gd name="T8" fmla="*/ 637386 w 3714"/>
                <a:gd name="T9" fmla="*/ 364596 h 7882"/>
                <a:gd name="T10" fmla="*/ 390493 w 3714"/>
                <a:gd name="T11" fmla="*/ 611498 h 7882"/>
                <a:gd name="T12" fmla="*/ 390493 w 3714"/>
                <a:gd name="T13" fmla="*/ 1200682 h 7882"/>
                <a:gd name="T14" fmla="*/ 389414 w 3714"/>
                <a:gd name="T15" fmla="*/ 1576795 h 7882"/>
                <a:gd name="T16" fmla="*/ 390493 w 3714"/>
                <a:gd name="T17" fmla="*/ 2224645 h 7882"/>
                <a:gd name="T18" fmla="*/ 637386 w 3714"/>
                <a:gd name="T19" fmla="*/ 2471548 h 7882"/>
                <a:gd name="T20" fmla="*/ 709366 w 3714"/>
                <a:gd name="T21" fmla="*/ 2471548 h 7882"/>
                <a:gd name="T22" fmla="*/ 955899 w 3714"/>
                <a:gd name="T23" fmla="*/ 2224645 h 7882"/>
                <a:gd name="T24" fmla="*/ 955899 w 3714"/>
                <a:gd name="T25" fmla="*/ 1906119 h 7882"/>
                <a:gd name="T26" fmla="*/ 1336315 w 3714"/>
                <a:gd name="T27" fmla="*/ 1906119 h 7882"/>
                <a:gd name="T28" fmla="*/ 1336315 w 3714"/>
                <a:gd name="T29" fmla="*/ 2209528 h 7882"/>
                <a:gd name="T30" fmla="*/ 709366 w 3714"/>
                <a:gd name="T31" fmla="*/ 2836503 h 7882"/>
                <a:gd name="T32" fmla="*/ 626949 w 3714"/>
                <a:gd name="T33" fmla="*/ 2836503 h 7882"/>
                <a:gd name="T34" fmla="*/ 0 w 3714"/>
                <a:gd name="T35" fmla="*/ 2258117 h 7882"/>
                <a:gd name="T36" fmla="*/ 0 w 3714"/>
                <a:gd name="T37" fmla="*/ 675564 h 7882"/>
                <a:gd name="T38" fmla="*/ 626949 w 3714"/>
                <a:gd name="T39" fmla="*/ 0 h 7882"/>
                <a:gd name="T40" fmla="*/ 709366 w 3714"/>
                <a:gd name="T41" fmla="*/ 0 h 7882"/>
                <a:gd name="T42" fmla="*/ 1336315 w 3714"/>
                <a:gd name="T43" fmla="*/ 626975 h 7882"/>
                <a:gd name="T44" fmla="*/ 1334875 w 3714"/>
                <a:gd name="T45" fmla="*/ 1576795 h 7882"/>
                <a:gd name="T46" fmla="*/ 389414 w 3714"/>
                <a:gd name="T47" fmla="*/ 1576795 h 7882"/>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3714" h="7882">
                  <a:moveTo>
                    <a:pt x="1085" y="3336"/>
                  </a:moveTo>
                  <a:lnTo>
                    <a:pt x="2627" y="3336"/>
                  </a:lnTo>
                  <a:lnTo>
                    <a:pt x="2627" y="1699"/>
                  </a:lnTo>
                  <a:cubicBezTo>
                    <a:pt x="2627" y="1242"/>
                    <a:pt x="2399" y="1013"/>
                    <a:pt x="1942" y="1013"/>
                  </a:cubicBezTo>
                  <a:lnTo>
                    <a:pt x="1771" y="1013"/>
                  </a:lnTo>
                  <a:cubicBezTo>
                    <a:pt x="1314" y="1013"/>
                    <a:pt x="1085" y="1242"/>
                    <a:pt x="1085" y="1699"/>
                  </a:cubicBezTo>
                  <a:lnTo>
                    <a:pt x="1085" y="3336"/>
                  </a:lnTo>
                  <a:close/>
                  <a:moveTo>
                    <a:pt x="1082" y="4381"/>
                  </a:moveTo>
                  <a:lnTo>
                    <a:pt x="1085" y="6181"/>
                  </a:lnTo>
                  <a:cubicBezTo>
                    <a:pt x="1085" y="6638"/>
                    <a:pt x="1314" y="6867"/>
                    <a:pt x="1771" y="6867"/>
                  </a:cubicBezTo>
                  <a:lnTo>
                    <a:pt x="1971" y="6867"/>
                  </a:lnTo>
                  <a:cubicBezTo>
                    <a:pt x="2428" y="6867"/>
                    <a:pt x="2656" y="6638"/>
                    <a:pt x="2656" y="6181"/>
                  </a:cubicBezTo>
                  <a:lnTo>
                    <a:pt x="2656" y="5296"/>
                  </a:lnTo>
                  <a:lnTo>
                    <a:pt x="3713" y="5296"/>
                  </a:lnTo>
                  <a:lnTo>
                    <a:pt x="3713" y="6139"/>
                  </a:lnTo>
                  <a:cubicBezTo>
                    <a:pt x="3713" y="7295"/>
                    <a:pt x="3127" y="7881"/>
                    <a:pt x="1971" y="7881"/>
                  </a:cubicBezTo>
                  <a:lnTo>
                    <a:pt x="1742" y="7881"/>
                  </a:lnTo>
                  <a:cubicBezTo>
                    <a:pt x="585" y="7881"/>
                    <a:pt x="0" y="7295"/>
                    <a:pt x="0" y="6274"/>
                  </a:cubicBezTo>
                  <a:lnTo>
                    <a:pt x="0" y="1877"/>
                  </a:lnTo>
                  <a:cubicBezTo>
                    <a:pt x="0" y="585"/>
                    <a:pt x="585" y="0"/>
                    <a:pt x="1742" y="0"/>
                  </a:cubicBezTo>
                  <a:lnTo>
                    <a:pt x="1971" y="0"/>
                  </a:lnTo>
                  <a:cubicBezTo>
                    <a:pt x="3127" y="0"/>
                    <a:pt x="3713" y="585"/>
                    <a:pt x="3713" y="1742"/>
                  </a:cubicBezTo>
                  <a:lnTo>
                    <a:pt x="3709" y="4381"/>
                  </a:lnTo>
                  <a:lnTo>
                    <a:pt x="1082" y="4381"/>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endParaRPr lang="en-US"/>
            </a:p>
          </p:txBody>
        </p:sp>
        <p:sp>
          <p:nvSpPr>
            <p:cNvPr id="10" name="Freeform 2">
              <a:extLst>
                <a:ext uri="{FF2B5EF4-FFF2-40B4-BE49-F238E27FC236}">
                  <a16:creationId xmlns:a16="http://schemas.microsoft.com/office/drawing/2014/main" id="{242F6F27-3A78-B529-A7F1-4850519781F1}"/>
                </a:ext>
              </a:extLst>
            </p:cNvPr>
            <p:cNvSpPr>
              <a:spLocks noChangeArrowheads="1"/>
            </p:cNvSpPr>
            <p:nvPr/>
          </p:nvSpPr>
          <p:spPr bwMode="auto">
            <a:xfrm>
              <a:off x="3109913" y="2035175"/>
              <a:ext cx="1368425" cy="3532188"/>
            </a:xfrm>
            <a:custGeom>
              <a:avLst/>
              <a:gdLst>
                <a:gd name="T0" fmla="*/ 390721 w 3800"/>
                <a:gd name="T1" fmla="*/ 2322993 h 9812"/>
                <a:gd name="T2" fmla="*/ 750833 w 3800"/>
                <a:gd name="T3" fmla="*/ 2466628 h 9812"/>
                <a:gd name="T4" fmla="*/ 976983 w 3800"/>
                <a:gd name="T5" fmla="*/ 2240556 h 9812"/>
                <a:gd name="T6" fmla="*/ 976983 w 3800"/>
                <a:gd name="T7" fmla="*/ 596138 h 9812"/>
                <a:gd name="T8" fmla="*/ 750833 w 3800"/>
                <a:gd name="T9" fmla="*/ 370066 h 9812"/>
                <a:gd name="T10" fmla="*/ 390721 w 3800"/>
                <a:gd name="T11" fmla="*/ 514061 h 9812"/>
                <a:gd name="T12" fmla="*/ 390721 w 3800"/>
                <a:gd name="T13" fmla="*/ 2322993 h 9812"/>
                <a:gd name="T14" fmla="*/ 0 w 3800"/>
                <a:gd name="T15" fmla="*/ 30599 h 9812"/>
                <a:gd name="T16" fmla="*/ 390721 w 3800"/>
                <a:gd name="T17" fmla="*/ 30599 h 9812"/>
                <a:gd name="T18" fmla="*/ 390721 w 3800"/>
                <a:gd name="T19" fmla="*/ 210592 h 9812"/>
                <a:gd name="T20" fmla="*/ 868950 w 3800"/>
                <a:gd name="T21" fmla="*/ 0 h 9812"/>
                <a:gd name="T22" fmla="*/ 1368065 w 3800"/>
                <a:gd name="T23" fmla="*/ 549699 h 9812"/>
                <a:gd name="T24" fmla="*/ 1368065 w 3800"/>
                <a:gd name="T25" fmla="*/ 2286995 h 9812"/>
                <a:gd name="T26" fmla="*/ 868950 w 3800"/>
                <a:gd name="T27" fmla="*/ 2837054 h 9812"/>
                <a:gd name="T28" fmla="*/ 390721 w 3800"/>
                <a:gd name="T29" fmla="*/ 2636541 h 9812"/>
                <a:gd name="T30" fmla="*/ 390721 w 3800"/>
                <a:gd name="T31" fmla="*/ 3531828 h 9812"/>
                <a:gd name="T32" fmla="*/ 0 w 3800"/>
                <a:gd name="T33" fmla="*/ 3531828 h 9812"/>
                <a:gd name="T34" fmla="*/ 0 w 3800"/>
                <a:gd name="T35" fmla="*/ 30599 h 9812"/>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3800" h="9812">
                  <a:moveTo>
                    <a:pt x="1085" y="6453"/>
                  </a:moveTo>
                  <a:cubicBezTo>
                    <a:pt x="1385" y="6710"/>
                    <a:pt x="1728" y="6852"/>
                    <a:pt x="2085" y="6852"/>
                  </a:cubicBezTo>
                  <a:cubicBezTo>
                    <a:pt x="2485" y="6852"/>
                    <a:pt x="2713" y="6667"/>
                    <a:pt x="2713" y="6224"/>
                  </a:cubicBezTo>
                  <a:lnTo>
                    <a:pt x="2713" y="1656"/>
                  </a:lnTo>
                  <a:cubicBezTo>
                    <a:pt x="2713" y="1213"/>
                    <a:pt x="2485" y="1028"/>
                    <a:pt x="2085" y="1028"/>
                  </a:cubicBezTo>
                  <a:cubicBezTo>
                    <a:pt x="1728" y="1028"/>
                    <a:pt x="1385" y="1170"/>
                    <a:pt x="1085" y="1428"/>
                  </a:cubicBezTo>
                  <a:lnTo>
                    <a:pt x="1085" y="6453"/>
                  </a:lnTo>
                  <a:close/>
                  <a:moveTo>
                    <a:pt x="0" y="85"/>
                  </a:moveTo>
                  <a:lnTo>
                    <a:pt x="1085" y="85"/>
                  </a:lnTo>
                  <a:lnTo>
                    <a:pt x="1085" y="585"/>
                  </a:lnTo>
                  <a:cubicBezTo>
                    <a:pt x="1342" y="314"/>
                    <a:pt x="1785" y="0"/>
                    <a:pt x="2413" y="0"/>
                  </a:cubicBezTo>
                  <a:cubicBezTo>
                    <a:pt x="3342" y="0"/>
                    <a:pt x="3799" y="614"/>
                    <a:pt x="3799" y="1527"/>
                  </a:cubicBezTo>
                  <a:lnTo>
                    <a:pt x="3799" y="6353"/>
                  </a:lnTo>
                  <a:cubicBezTo>
                    <a:pt x="3799" y="7267"/>
                    <a:pt x="3342" y="7881"/>
                    <a:pt x="2413" y="7881"/>
                  </a:cubicBezTo>
                  <a:cubicBezTo>
                    <a:pt x="1785" y="7881"/>
                    <a:pt x="1342" y="7581"/>
                    <a:pt x="1085" y="7324"/>
                  </a:cubicBezTo>
                  <a:lnTo>
                    <a:pt x="1085" y="9811"/>
                  </a:lnTo>
                  <a:lnTo>
                    <a:pt x="0" y="9811"/>
                  </a:lnTo>
                  <a:lnTo>
                    <a:pt x="0" y="85"/>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endParaRPr lang="en-US"/>
            </a:p>
          </p:txBody>
        </p:sp>
        <p:sp>
          <p:nvSpPr>
            <p:cNvPr id="14" name="Freeform 3">
              <a:extLst>
                <a:ext uri="{FF2B5EF4-FFF2-40B4-BE49-F238E27FC236}">
                  <a16:creationId xmlns:a16="http://schemas.microsoft.com/office/drawing/2014/main" id="{8B6E503C-1061-5381-D771-72D2BE9A838D}"/>
                </a:ext>
              </a:extLst>
            </p:cNvPr>
            <p:cNvSpPr>
              <a:spLocks noChangeArrowheads="1"/>
            </p:cNvSpPr>
            <p:nvPr/>
          </p:nvSpPr>
          <p:spPr bwMode="auto">
            <a:xfrm>
              <a:off x="4711700" y="2035175"/>
              <a:ext cx="1328738" cy="2836863"/>
            </a:xfrm>
            <a:custGeom>
              <a:avLst/>
              <a:gdLst>
                <a:gd name="T0" fmla="*/ 937679 w 3690"/>
                <a:gd name="T1" fmla="*/ 2338019 h 7882"/>
                <a:gd name="T2" fmla="*/ 937679 w 3690"/>
                <a:gd name="T3" fmla="*/ 1422750 h 7882"/>
                <a:gd name="T4" fmla="*/ 582988 w 3690"/>
                <a:gd name="T5" fmla="*/ 1556999 h 7882"/>
                <a:gd name="T6" fmla="*/ 392500 w 3690"/>
                <a:gd name="T7" fmla="*/ 1844573 h 7882"/>
                <a:gd name="T8" fmla="*/ 392500 w 3690"/>
                <a:gd name="T9" fmla="*/ 2266035 h 7882"/>
                <a:gd name="T10" fmla="*/ 582988 w 3690"/>
                <a:gd name="T11" fmla="*/ 2466149 h 7882"/>
                <a:gd name="T12" fmla="*/ 937679 w 3690"/>
                <a:gd name="T13" fmla="*/ 2338019 h 7882"/>
                <a:gd name="T14" fmla="*/ 2161 w 3690"/>
                <a:gd name="T15" fmla="*/ 1839174 h 7882"/>
                <a:gd name="T16" fmla="*/ 413025 w 3690"/>
                <a:gd name="T17" fmla="*/ 1253950 h 7882"/>
                <a:gd name="T18" fmla="*/ 937679 w 3690"/>
                <a:gd name="T19" fmla="*/ 1073991 h 7882"/>
                <a:gd name="T20" fmla="*/ 937679 w 3690"/>
                <a:gd name="T21" fmla="*/ 611498 h 7882"/>
                <a:gd name="T22" fmla="*/ 690656 w 3690"/>
                <a:gd name="T23" fmla="*/ 359557 h 7882"/>
                <a:gd name="T24" fmla="*/ 627280 w 3690"/>
                <a:gd name="T25" fmla="*/ 359557 h 7882"/>
                <a:gd name="T26" fmla="*/ 380257 w 3690"/>
                <a:gd name="T27" fmla="*/ 611498 h 7882"/>
                <a:gd name="T28" fmla="*/ 380257 w 3690"/>
                <a:gd name="T29" fmla="*/ 1004527 h 7882"/>
                <a:gd name="T30" fmla="*/ 0 w 3690"/>
                <a:gd name="T31" fmla="*/ 1004527 h 7882"/>
                <a:gd name="T32" fmla="*/ 0 w 3690"/>
                <a:gd name="T33" fmla="*/ 626975 h 7882"/>
                <a:gd name="T34" fmla="*/ 627280 w 3690"/>
                <a:gd name="T35" fmla="*/ 0 h 7882"/>
                <a:gd name="T36" fmla="*/ 701098 w 3690"/>
                <a:gd name="T37" fmla="*/ 0 h 7882"/>
                <a:gd name="T38" fmla="*/ 1328378 w 3690"/>
                <a:gd name="T39" fmla="*/ 626975 h 7882"/>
                <a:gd name="T40" fmla="*/ 1328378 w 3690"/>
                <a:gd name="T41" fmla="*/ 2805550 h 7882"/>
                <a:gd name="T42" fmla="*/ 937679 w 3690"/>
                <a:gd name="T43" fmla="*/ 2805550 h 7882"/>
                <a:gd name="T44" fmla="*/ 937679 w 3690"/>
                <a:gd name="T45" fmla="*/ 2630631 h 7882"/>
                <a:gd name="T46" fmla="*/ 459477 w 3690"/>
                <a:gd name="T47" fmla="*/ 2836503 h 7882"/>
                <a:gd name="T48" fmla="*/ 2161 w 3690"/>
                <a:gd name="T49" fmla="*/ 2348096 h 7882"/>
                <a:gd name="T50" fmla="*/ 2161 w 3690"/>
                <a:gd name="T51" fmla="*/ 1839174 h 7882"/>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3690" h="7882">
                  <a:moveTo>
                    <a:pt x="2604" y="6496"/>
                  </a:moveTo>
                  <a:lnTo>
                    <a:pt x="2604" y="3953"/>
                  </a:lnTo>
                  <a:lnTo>
                    <a:pt x="1619" y="4326"/>
                  </a:lnTo>
                  <a:cubicBezTo>
                    <a:pt x="1219" y="4483"/>
                    <a:pt x="1090" y="4683"/>
                    <a:pt x="1090" y="5125"/>
                  </a:cubicBezTo>
                  <a:lnTo>
                    <a:pt x="1090" y="6296"/>
                  </a:lnTo>
                  <a:cubicBezTo>
                    <a:pt x="1090" y="6667"/>
                    <a:pt x="1276" y="6852"/>
                    <a:pt x="1619" y="6852"/>
                  </a:cubicBezTo>
                  <a:cubicBezTo>
                    <a:pt x="1947" y="6852"/>
                    <a:pt x="2247" y="6738"/>
                    <a:pt x="2604" y="6496"/>
                  </a:cubicBezTo>
                  <a:close/>
                  <a:moveTo>
                    <a:pt x="6" y="5110"/>
                  </a:moveTo>
                  <a:cubicBezTo>
                    <a:pt x="6" y="4155"/>
                    <a:pt x="320" y="3769"/>
                    <a:pt x="1147" y="3484"/>
                  </a:cubicBezTo>
                  <a:lnTo>
                    <a:pt x="2604" y="2984"/>
                  </a:lnTo>
                  <a:lnTo>
                    <a:pt x="2604" y="1699"/>
                  </a:lnTo>
                  <a:cubicBezTo>
                    <a:pt x="2604" y="1242"/>
                    <a:pt x="2375" y="999"/>
                    <a:pt x="1918" y="999"/>
                  </a:cubicBezTo>
                  <a:lnTo>
                    <a:pt x="1742" y="999"/>
                  </a:lnTo>
                  <a:cubicBezTo>
                    <a:pt x="1285" y="999"/>
                    <a:pt x="1056" y="1242"/>
                    <a:pt x="1056" y="1699"/>
                  </a:cubicBezTo>
                  <a:lnTo>
                    <a:pt x="1056" y="2791"/>
                  </a:lnTo>
                  <a:lnTo>
                    <a:pt x="0" y="2791"/>
                  </a:lnTo>
                  <a:lnTo>
                    <a:pt x="0" y="1742"/>
                  </a:lnTo>
                  <a:cubicBezTo>
                    <a:pt x="0" y="585"/>
                    <a:pt x="586" y="0"/>
                    <a:pt x="1742" y="0"/>
                  </a:cubicBezTo>
                  <a:lnTo>
                    <a:pt x="1947" y="0"/>
                  </a:lnTo>
                  <a:cubicBezTo>
                    <a:pt x="3104" y="0"/>
                    <a:pt x="3689" y="585"/>
                    <a:pt x="3689" y="1742"/>
                  </a:cubicBezTo>
                  <a:lnTo>
                    <a:pt x="3689" y="7795"/>
                  </a:lnTo>
                  <a:lnTo>
                    <a:pt x="2604" y="7795"/>
                  </a:lnTo>
                  <a:lnTo>
                    <a:pt x="2604" y="7309"/>
                  </a:lnTo>
                  <a:cubicBezTo>
                    <a:pt x="2304" y="7595"/>
                    <a:pt x="1904" y="7881"/>
                    <a:pt x="1276" y="7881"/>
                  </a:cubicBezTo>
                  <a:cubicBezTo>
                    <a:pt x="406" y="7881"/>
                    <a:pt x="6" y="7381"/>
                    <a:pt x="6" y="6524"/>
                  </a:cubicBezTo>
                  <a:lnTo>
                    <a:pt x="6" y="5110"/>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endParaRPr lang="en-US"/>
            </a:p>
          </p:txBody>
        </p:sp>
        <p:sp>
          <p:nvSpPr>
            <p:cNvPr id="15" name="Freeform 4">
              <a:extLst>
                <a:ext uri="{FF2B5EF4-FFF2-40B4-BE49-F238E27FC236}">
                  <a16:creationId xmlns:a16="http://schemas.microsoft.com/office/drawing/2014/main" id="{47AB56B6-6D81-644D-72C5-03EA7F453FAD}"/>
                </a:ext>
              </a:extLst>
            </p:cNvPr>
            <p:cNvSpPr>
              <a:spLocks noChangeArrowheads="1"/>
            </p:cNvSpPr>
            <p:nvPr/>
          </p:nvSpPr>
          <p:spPr bwMode="auto">
            <a:xfrm>
              <a:off x="6292850" y="2035175"/>
              <a:ext cx="2262188" cy="2806700"/>
            </a:xfrm>
            <a:custGeom>
              <a:avLst/>
              <a:gdLst>
                <a:gd name="T0" fmla="*/ 1326358 w 6285"/>
                <a:gd name="T1" fmla="*/ 2806340 h 7796"/>
                <a:gd name="T2" fmla="*/ 935470 w 6285"/>
                <a:gd name="T3" fmla="*/ 2806340 h 7796"/>
                <a:gd name="T4" fmla="*/ 935470 w 6285"/>
                <a:gd name="T5" fmla="*/ 570628 h 7796"/>
                <a:gd name="T6" fmla="*/ 750463 w 6285"/>
                <a:gd name="T7" fmla="*/ 370098 h 7796"/>
                <a:gd name="T8" fmla="*/ 390889 w 6285"/>
                <a:gd name="T9" fmla="*/ 508705 h 7796"/>
                <a:gd name="T10" fmla="*/ 390889 w 6285"/>
                <a:gd name="T11" fmla="*/ 2806340 h 7796"/>
                <a:gd name="T12" fmla="*/ 0 w 6285"/>
                <a:gd name="T13" fmla="*/ 2806340 h 7796"/>
                <a:gd name="T14" fmla="*/ 0 w 6285"/>
                <a:gd name="T15" fmla="*/ 30602 h 7796"/>
                <a:gd name="T16" fmla="*/ 390889 w 6285"/>
                <a:gd name="T17" fmla="*/ 30602 h 7796"/>
                <a:gd name="T18" fmla="*/ 390889 w 6285"/>
                <a:gd name="T19" fmla="*/ 210611 h 7796"/>
                <a:gd name="T20" fmla="*/ 868882 w 6285"/>
                <a:gd name="T21" fmla="*/ 0 h 7796"/>
                <a:gd name="T22" fmla="*/ 1274888 w 6285"/>
                <a:gd name="T23" fmla="*/ 226091 h 7796"/>
                <a:gd name="T24" fmla="*/ 1804351 w 6285"/>
                <a:gd name="T25" fmla="*/ 0 h 7796"/>
                <a:gd name="T26" fmla="*/ 2261828 w 6285"/>
                <a:gd name="T27" fmla="*/ 488184 h 7796"/>
                <a:gd name="T28" fmla="*/ 2261828 w 6285"/>
                <a:gd name="T29" fmla="*/ 2806340 h 7796"/>
                <a:gd name="T30" fmla="*/ 1870939 w 6285"/>
                <a:gd name="T31" fmla="*/ 2806340 h 7796"/>
                <a:gd name="T32" fmla="*/ 1870939 w 6285"/>
                <a:gd name="T33" fmla="*/ 570628 h 7796"/>
                <a:gd name="T34" fmla="*/ 1685933 w 6285"/>
                <a:gd name="T35" fmla="*/ 370098 h 7796"/>
                <a:gd name="T36" fmla="*/ 1326358 w 6285"/>
                <a:gd name="T37" fmla="*/ 508705 h 7796"/>
                <a:gd name="T38" fmla="*/ 1326358 w 6285"/>
                <a:gd name="T39" fmla="*/ 2806340 h 779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6285" h="7796">
                  <a:moveTo>
                    <a:pt x="3685" y="7795"/>
                  </a:moveTo>
                  <a:lnTo>
                    <a:pt x="2599" y="7795"/>
                  </a:lnTo>
                  <a:lnTo>
                    <a:pt x="2599" y="1585"/>
                  </a:lnTo>
                  <a:cubicBezTo>
                    <a:pt x="2599" y="1199"/>
                    <a:pt x="2414" y="1028"/>
                    <a:pt x="2085" y="1028"/>
                  </a:cubicBezTo>
                  <a:cubicBezTo>
                    <a:pt x="1785" y="1028"/>
                    <a:pt x="1471" y="1142"/>
                    <a:pt x="1086" y="1413"/>
                  </a:cubicBezTo>
                  <a:lnTo>
                    <a:pt x="1086" y="7795"/>
                  </a:lnTo>
                  <a:lnTo>
                    <a:pt x="0" y="7795"/>
                  </a:lnTo>
                  <a:lnTo>
                    <a:pt x="0" y="85"/>
                  </a:lnTo>
                  <a:lnTo>
                    <a:pt x="1086" y="85"/>
                  </a:lnTo>
                  <a:lnTo>
                    <a:pt x="1086" y="585"/>
                  </a:lnTo>
                  <a:cubicBezTo>
                    <a:pt x="1400" y="285"/>
                    <a:pt x="1814" y="0"/>
                    <a:pt x="2414" y="0"/>
                  </a:cubicBezTo>
                  <a:cubicBezTo>
                    <a:pt x="2971" y="0"/>
                    <a:pt x="3342" y="228"/>
                    <a:pt x="3542" y="628"/>
                  </a:cubicBezTo>
                  <a:cubicBezTo>
                    <a:pt x="3928" y="299"/>
                    <a:pt x="4385" y="0"/>
                    <a:pt x="5013" y="0"/>
                  </a:cubicBezTo>
                  <a:cubicBezTo>
                    <a:pt x="5855" y="0"/>
                    <a:pt x="6284" y="514"/>
                    <a:pt x="6284" y="1356"/>
                  </a:cubicBezTo>
                  <a:lnTo>
                    <a:pt x="6284" y="7795"/>
                  </a:lnTo>
                  <a:lnTo>
                    <a:pt x="5198" y="7795"/>
                  </a:lnTo>
                  <a:lnTo>
                    <a:pt x="5198" y="1585"/>
                  </a:lnTo>
                  <a:cubicBezTo>
                    <a:pt x="5198" y="1199"/>
                    <a:pt x="5013" y="1028"/>
                    <a:pt x="4684" y="1028"/>
                  </a:cubicBezTo>
                  <a:cubicBezTo>
                    <a:pt x="4385" y="1028"/>
                    <a:pt x="4070" y="1142"/>
                    <a:pt x="3685" y="1413"/>
                  </a:cubicBezTo>
                  <a:lnTo>
                    <a:pt x="3685" y="7795"/>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endParaRPr lang="en-US"/>
            </a:p>
          </p:txBody>
        </p:sp>
        <p:sp>
          <p:nvSpPr>
            <p:cNvPr id="18" name="Freeform 5">
              <a:extLst>
                <a:ext uri="{FF2B5EF4-FFF2-40B4-BE49-F238E27FC236}">
                  <a16:creationId xmlns:a16="http://schemas.microsoft.com/office/drawing/2014/main" id="{8FC75ABE-5A50-CF1D-1AE1-5D313C5DD386}"/>
                </a:ext>
              </a:extLst>
            </p:cNvPr>
            <p:cNvSpPr>
              <a:spLocks noChangeArrowheads="1"/>
            </p:cNvSpPr>
            <p:nvPr/>
          </p:nvSpPr>
          <p:spPr bwMode="auto">
            <a:xfrm>
              <a:off x="14288" y="2322513"/>
              <a:ext cx="1004887" cy="2274887"/>
            </a:xfrm>
            <a:custGeom>
              <a:avLst/>
              <a:gdLst>
                <a:gd name="T0" fmla="*/ 1004527 w 2790"/>
                <a:gd name="T1" fmla="*/ 0 h 6317"/>
                <a:gd name="T2" fmla="*/ 1004527 w 2790"/>
                <a:gd name="T3" fmla="*/ 510652 h 6317"/>
                <a:gd name="T4" fmla="*/ 346488 w 2790"/>
                <a:gd name="T5" fmla="*/ 1137624 h 6317"/>
                <a:gd name="T6" fmla="*/ 1004527 w 2790"/>
                <a:gd name="T7" fmla="*/ 1752711 h 6317"/>
                <a:gd name="T8" fmla="*/ 1004527 w 2790"/>
                <a:gd name="T9" fmla="*/ 2274527 h 6317"/>
                <a:gd name="T10" fmla="*/ 0 w 2790"/>
                <a:gd name="T11" fmla="*/ 1331009 h 6317"/>
                <a:gd name="T12" fmla="*/ 0 w 2790"/>
                <a:gd name="T13" fmla="*/ 955042 h 6317"/>
                <a:gd name="T14" fmla="*/ 1004527 w 2790"/>
                <a:gd name="T15" fmla="*/ 0 h 6317"/>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2790" h="6317">
                  <a:moveTo>
                    <a:pt x="2789" y="0"/>
                  </a:moveTo>
                  <a:lnTo>
                    <a:pt x="2789" y="1418"/>
                  </a:lnTo>
                  <a:lnTo>
                    <a:pt x="962" y="3159"/>
                  </a:lnTo>
                  <a:lnTo>
                    <a:pt x="2789" y="4867"/>
                  </a:lnTo>
                  <a:lnTo>
                    <a:pt x="2789" y="6316"/>
                  </a:lnTo>
                  <a:lnTo>
                    <a:pt x="0" y="3696"/>
                  </a:lnTo>
                  <a:lnTo>
                    <a:pt x="0" y="2652"/>
                  </a:lnTo>
                  <a:lnTo>
                    <a:pt x="2789"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endParaRPr lang="en-US"/>
            </a:p>
          </p:txBody>
        </p:sp>
        <p:sp>
          <p:nvSpPr>
            <p:cNvPr id="19" name="Freeform 6">
              <a:extLst>
                <a:ext uri="{FF2B5EF4-FFF2-40B4-BE49-F238E27FC236}">
                  <a16:creationId xmlns:a16="http://schemas.microsoft.com/office/drawing/2014/main" id="{220BBEBC-E1BE-0152-3AF9-E25D84B937AA}"/>
                </a:ext>
              </a:extLst>
            </p:cNvPr>
            <p:cNvSpPr>
              <a:spLocks noChangeArrowheads="1"/>
            </p:cNvSpPr>
            <p:nvPr/>
          </p:nvSpPr>
          <p:spPr bwMode="auto">
            <a:xfrm>
              <a:off x="9050338" y="2322513"/>
              <a:ext cx="1003300" cy="2274887"/>
            </a:xfrm>
            <a:custGeom>
              <a:avLst/>
              <a:gdLst>
                <a:gd name="T0" fmla="*/ 1002940 w 2789"/>
                <a:gd name="T1" fmla="*/ 955042 h 6317"/>
                <a:gd name="T2" fmla="*/ 1002940 w 2789"/>
                <a:gd name="T3" fmla="*/ 1331009 h 6317"/>
                <a:gd name="T4" fmla="*/ 0 w 2789"/>
                <a:gd name="T5" fmla="*/ 2274527 h 6317"/>
                <a:gd name="T6" fmla="*/ 0 w 2789"/>
                <a:gd name="T7" fmla="*/ 1752711 h 6317"/>
                <a:gd name="T8" fmla="*/ 656876 w 2789"/>
                <a:gd name="T9" fmla="*/ 1137624 h 6317"/>
                <a:gd name="T10" fmla="*/ 0 w 2789"/>
                <a:gd name="T11" fmla="*/ 510652 h 6317"/>
                <a:gd name="T12" fmla="*/ 0 w 2789"/>
                <a:gd name="T13" fmla="*/ 0 h 6317"/>
                <a:gd name="T14" fmla="*/ 1002940 w 2789"/>
                <a:gd name="T15" fmla="*/ 955042 h 6317"/>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2789" h="6317">
                  <a:moveTo>
                    <a:pt x="2788" y="2652"/>
                  </a:moveTo>
                  <a:lnTo>
                    <a:pt x="2788" y="3696"/>
                  </a:lnTo>
                  <a:lnTo>
                    <a:pt x="0" y="6316"/>
                  </a:lnTo>
                  <a:lnTo>
                    <a:pt x="0" y="4867"/>
                  </a:lnTo>
                  <a:lnTo>
                    <a:pt x="1826" y="3159"/>
                  </a:lnTo>
                  <a:lnTo>
                    <a:pt x="0" y="1418"/>
                  </a:lnTo>
                  <a:lnTo>
                    <a:pt x="0" y="0"/>
                  </a:lnTo>
                  <a:lnTo>
                    <a:pt x="2788" y="2652"/>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endParaRPr lang="en-US"/>
            </a:p>
          </p:txBody>
        </p:sp>
      </p:grpSp>
      <p:sp>
        <p:nvSpPr>
          <p:cNvPr id="24" name="Footer Placeholder 14">
            <a:extLst>
              <a:ext uri="{FF2B5EF4-FFF2-40B4-BE49-F238E27FC236}">
                <a16:creationId xmlns:a16="http://schemas.microsoft.com/office/drawing/2014/main" id="{8097B1C3-41A9-3119-50BA-2875DEA31698}"/>
              </a:ext>
            </a:extLst>
          </p:cNvPr>
          <p:cNvSpPr txBox="1">
            <a:spLocks/>
          </p:cNvSpPr>
          <p:nvPr userDrawn="1"/>
        </p:nvSpPr>
        <p:spPr>
          <a:xfrm>
            <a:off x="1206203" y="6411603"/>
            <a:ext cx="2157779" cy="228599"/>
          </a:xfrm>
          <a:prstGeom prst="rect">
            <a:avLst/>
          </a:prstGeom>
        </p:spPr>
        <p:txBody>
          <a:bodyPr vert="horz" lIns="0" tIns="0" rIns="0" bIns="0" rtlCol="0" anchor="ctr"/>
          <a:lstStyle>
            <a:defPPr>
              <a:defRPr lang="en-US"/>
            </a:defPPr>
            <a:lvl1pPr marL="0" algn="r" defTabSz="914400" rtl="0" eaLnBrk="1" latinLnBrk="0" hangingPunct="1">
              <a:defRPr sz="600" b="0" i="0" kern="1200">
                <a:solidFill>
                  <a:schemeClr val="tx1"/>
                </a:solidFill>
                <a:latin typeface="+mn-lt"/>
                <a:ea typeface="Calibri" panose="020F0502020204030204" pitchFamily="34" charset="0"/>
                <a:cs typeface="Calibri" panose="020F050202020403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b="0" i="0">
                <a:solidFill>
                  <a:schemeClr val="bg1"/>
                </a:solidFill>
                <a:latin typeface="+mn-lt"/>
              </a:rPr>
              <a:t>EPAM Proprietary &amp; Confidential</a:t>
            </a:r>
            <a:r>
              <a:rPr lang="ru-RU" b="0" i="0">
                <a:solidFill>
                  <a:schemeClr val="bg1"/>
                </a:solidFill>
                <a:latin typeface="+mn-lt"/>
              </a:rPr>
              <a:t> </a:t>
            </a:r>
            <a:endParaRPr lang="en-US" b="0" i="0">
              <a:solidFill>
                <a:schemeClr val="bg1"/>
              </a:solidFill>
              <a:latin typeface="+mn-lt"/>
            </a:endParaRPr>
          </a:p>
        </p:txBody>
      </p:sp>
      <p:pic>
        <p:nvPicPr>
          <p:cNvPr id="26" name="Graphic 25">
            <a:extLst>
              <a:ext uri="{FF2B5EF4-FFF2-40B4-BE49-F238E27FC236}">
                <a16:creationId xmlns:a16="http://schemas.microsoft.com/office/drawing/2014/main" id="{84E7173A-18B7-DD8E-8E96-53688685E6E9}"/>
              </a:ext>
            </a:extLst>
          </p:cNvPr>
          <p:cNvPicPr>
            <a:picLocks noChangeAspect="1"/>
          </p:cNvPicPr>
          <p:nvPr userDrawn="1"/>
        </p:nvPicPr>
        <p:blipFill>
          <a:blip r:embed="rId3">
            <a:extLst>
              <a:ext uri="{96DAC541-7B7A-43D3-8B79-37D633B846F1}">
                <asvg:svgBlip xmlns:asvg="http://schemas.microsoft.com/office/drawing/2016/SVG/main" r:embed="rId4"/>
              </a:ext>
            </a:extLst>
          </a:blip>
          <a:srcRect/>
          <a:stretch/>
        </p:blipFill>
        <p:spPr>
          <a:xfrm>
            <a:off x="10820266" y="6419060"/>
            <a:ext cx="762921" cy="205636"/>
          </a:xfrm>
          <a:prstGeom prst="rect">
            <a:avLst/>
          </a:prstGeom>
        </p:spPr>
      </p:pic>
    </p:spTree>
    <p:extLst>
      <p:ext uri="{BB962C8B-B14F-4D97-AF65-F5344CB8AC3E}">
        <p14:creationId xmlns:p14="http://schemas.microsoft.com/office/powerpoint/2010/main" val="4101150157"/>
      </p:ext>
    </p:extLst>
  </p:cSld>
  <p:clrMapOvr>
    <a:masterClrMapping/>
  </p:clrMapOvr>
  <p:extLst>
    <p:ext uri="{DCECCB84-F9BA-43D5-87BE-67443E8EF086}">
      <p15:sldGuideLst xmlns:p15="http://schemas.microsoft.com/office/powerpoint/2012/main"/>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Quote_Large">
    <p:bg>
      <p:bgPr>
        <a:solidFill>
          <a:schemeClr val="bg1"/>
        </a:solidFill>
        <a:effectLst/>
      </p:bgPr>
    </p:bg>
    <p:spTree>
      <p:nvGrpSpPr>
        <p:cNvPr id="1" name=""/>
        <p:cNvGrpSpPr/>
        <p:nvPr/>
      </p:nvGrpSpPr>
      <p:grpSpPr>
        <a:xfrm>
          <a:off x="0" y="0"/>
          <a:ext cx="0" cy="0"/>
          <a:chOff x="0" y="0"/>
          <a:chExt cx="0" cy="0"/>
        </a:xfrm>
      </p:grpSpPr>
      <p:sp>
        <p:nvSpPr>
          <p:cNvPr id="2" name="Text Placeholder 4">
            <a:extLst>
              <a:ext uri="{FF2B5EF4-FFF2-40B4-BE49-F238E27FC236}">
                <a16:creationId xmlns:a16="http://schemas.microsoft.com/office/drawing/2014/main" id="{433DDFE8-68E0-F21D-DCE9-D9E38F969DA2}"/>
              </a:ext>
            </a:extLst>
          </p:cNvPr>
          <p:cNvSpPr>
            <a:spLocks noGrp="1"/>
          </p:cNvSpPr>
          <p:nvPr>
            <p:ph type="body" sz="quarter" idx="11" hasCustomPrompt="1"/>
          </p:nvPr>
        </p:nvSpPr>
        <p:spPr>
          <a:xfrm>
            <a:off x="658333" y="419100"/>
            <a:ext cx="3732914" cy="153888"/>
          </a:xfrm>
          <a:prstGeom prst="rect">
            <a:avLst/>
          </a:prstGeom>
        </p:spPr>
        <p:txBody>
          <a:bodyPr wrap="square">
            <a:spAutoFit/>
          </a:bodyPr>
          <a:lstStyle>
            <a:lvl1pPr>
              <a:lnSpc>
                <a:spcPct val="100000"/>
              </a:lnSpc>
              <a:spcBef>
                <a:spcPts val="0"/>
              </a:spcBef>
              <a:defRPr sz="1000" b="0" spc="300">
                <a:solidFill>
                  <a:srgbClr val="000000"/>
                </a:solidFill>
                <a:latin typeface="+mj-lt"/>
                <a:cs typeface="Calibri Light" panose="020F0302020204030204" pitchFamily="34" charset="0"/>
              </a:defRPr>
            </a:lvl1pPr>
            <a:lvl2pPr>
              <a:buNone/>
              <a:defRPr/>
            </a:lvl2pPr>
          </a:lstStyle>
          <a:p>
            <a:pPr lvl="0"/>
            <a:r>
              <a:rPr lang="en-US">
                <a:effectLst/>
              </a:rPr>
              <a:t>SECTION TITLE</a:t>
            </a:r>
            <a:endParaRPr lang="en-US"/>
          </a:p>
        </p:txBody>
      </p:sp>
      <p:sp>
        <p:nvSpPr>
          <p:cNvPr id="4" name="Title 2">
            <a:extLst>
              <a:ext uri="{FF2B5EF4-FFF2-40B4-BE49-F238E27FC236}">
                <a16:creationId xmlns:a16="http://schemas.microsoft.com/office/drawing/2014/main" id="{A4A0CF84-1941-A496-4DFE-6EDA7D9D7651}"/>
              </a:ext>
            </a:extLst>
          </p:cNvPr>
          <p:cNvSpPr>
            <a:spLocks noGrp="1"/>
          </p:cNvSpPr>
          <p:nvPr>
            <p:ph type="title" hasCustomPrompt="1"/>
          </p:nvPr>
        </p:nvSpPr>
        <p:spPr>
          <a:xfrm>
            <a:off x="1123950" y="1762728"/>
            <a:ext cx="10248900" cy="1846659"/>
          </a:xfrm>
          <a:prstGeom prst="rect">
            <a:avLst/>
          </a:prstGeom>
        </p:spPr>
        <p:txBody>
          <a:bodyPr wrap="square">
            <a:spAutoFit/>
          </a:bodyPr>
          <a:lstStyle>
            <a:lvl1pPr>
              <a:defRPr sz="6000" b="0" i="0">
                <a:solidFill>
                  <a:schemeClr val="tx1"/>
                </a:solidFill>
                <a:latin typeface="Calibri" panose="020F0502020204030204" pitchFamily="34" charset="0"/>
                <a:cs typeface="Calibri" panose="020F0502020204030204" pitchFamily="34" charset="0"/>
              </a:defRPr>
            </a:lvl1pPr>
          </a:lstStyle>
          <a:p>
            <a:r>
              <a:rPr lang="en-US"/>
              <a:t>Sometimes you need to add a meaningful yet concise quote.”</a:t>
            </a:r>
          </a:p>
        </p:txBody>
      </p:sp>
      <p:sp>
        <p:nvSpPr>
          <p:cNvPr id="6" name="Text Placeholder 4">
            <a:extLst>
              <a:ext uri="{FF2B5EF4-FFF2-40B4-BE49-F238E27FC236}">
                <a16:creationId xmlns:a16="http://schemas.microsoft.com/office/drawing/2014/main" id="{DF2F86F6-216C-D721-7244-AE3BBA0609AA}"/>
              </a:ext>
            </a:extLst>
          </p:cNvPr>
          <p:cNvSpPr>
            <a:spLocks noGrp="1"/>
          </p:cNvSpPr>
          <p:nvPr>
            <p:ph type="body" sz="quarter" idx="16" hasCustomPrompt="1"/>
          </p:nvPr>
        </p:nvSpPr>
        <p:spPr>
          <a:xfrm>
            <a:off x="1123950" y="4231608"/>
            <a:ext cx="4554537" cy="507831"/>
          </a:xfrm>
          <a:prstGeom prst="rect">
            <a:avLst/>
          </a:prstGeom>
        </p:spPr>
        <p:txBody>
          <a:bodyPr wrap="square" anchor="t" anchorCtr="0">
            <a:spAutoFit/>
          </a:bodyPr>
          <a:lstStyle>
            <a:lvl1pPr>
              <a:defRPr sz="1400" b="1" i="0">
                <a:solidFill>
                  <a:schemeClr val="tx1"/>
                </a:solidFill>
                <a:latin typeface="Calibri" panose="020F0502020204030204" pitchFamily="34" charset="0"/>
                <a:cs typeface="Calibri" panose="020F0502020204030204" pitchFamily="34" charset="0"/>
              </a:defRPr>
            </a:lvl1pPr>
          </a:lstStyle>
          <a:p>
            <a:pPr lvl="0"/>
            <a:r>
              <a:rPr lang="en-US" err="1"/>
              <a:t>Firstname</a:t>
            </a:r>
            <a:r>
              <a:rPr lang="en-US"/>
              <a:t> </a:t>
            </a:r>
            <a:r>
              <a:rPr lang="en-US" err="1"/>
              <a:t>Lastname</a:t>
            </a:r>
            <a:endParaRPr lang="en-US"/>
          </a:p>
          <a:p>
            <a:pPr lvl="0"/>
            <a:r>
              <a:rPr lang="en-US"/>
              <a:t>Job Title, Company</a:t>
            </a:r>
          </a:p>
        </p:txBody>
      </p:sp>
      <p:sp>
        <p:nvSpPr>
          <p:cNvPr id="9" name="Title 2">
            <a:extLst>
              <a:ext uri="{FF2B5EF4-FFF2-40B4-BE49-F238E27FC236}">
                <a16:creationId xmlns:a16="http://schemas.microsoft.com/office/drawing/2014/main" id="{636A723C-C15E-DD81-7189-CFA5D70243A9}"/>
              </a:ext>
            </a:extLst>
          </p:cNvPr>
          <p:cNvSpPr txBox="1">
            <a:spLocks/>
          </p:cNvSpPr>
          <p:nvPr userDrawn="1"/>
        </p:nvSpPr>
        <p:spPr>
          <a:xfrm>
            <a:off x="647700" y="1762728"/>
            <a:ext cx="450695" cy="923330"/>
          </a:xfrm>
          <a:prstGeom prst="rect">
            <a:avLst/>
          </a:prstGeom>
        </p:spPr>
        <p:txBody>
          <a:bodyPr vert="horz" wrap="square" lIns="0" tIns="0" rIns="0" bIns="0" rtlCol="0" anchor="t">
            <a:spAutoFit/>
          </a:bodyPr>
          <a:lstStyle>
            <a:lvl1pPr algn="l" defTabSz="914400" rtl="0" eaLnBrk="1" latinLnBrk="0" hangingPunct="1">
              <a:lnSpc>
                <a:spcPct val="100000"/>
              </a:lnSpc>
              <a:spcBef>
                <a:spcPct val="0"/>
              </a:spcBef>
              <a:buNone/>
              <a:defRPr sz="6000" b="1" i="0" kern="1200">
                <a:solidFill>
                  <a:schemeClr val="tx1"/>
                </a:solidFill>
                <a:latin typeface="Calibri" panose="020F0502020204030204" pitchFamily="34" charset="0"/>
                <a:ea typeface="Calibri Light" panose="020F0302020204030204" pitchFamily="34" charset="0"/>
                <a:cs typeface="Calibri" panose="020F0502020204030204" pitchFamily="34" charset="0"/>
              </a:defRPr>
            </a:lvl1pPr>
          </a:lstStyle>
          <a:p>
            <a:r>
              <a:rPr lang="en-US"/>
              <a:t>“</a:t>
            </a:r>
          </a:p>
        </p:txBody>
      </p:sp>
      <p:grpSp>
        <p:nvGrpSpPr>
          <p:cNvPr id="25" name="Group 24">
            <a:extLst>
              <a:ext uri="{FF2B5EF4-FFF2-40B4-BE49-F238E27FC236}">
                <a16:creationId xmlns:a16="http://schemas.microsoft.com/office/drawing/2014/main" id="{0158421D-AA20-E365-BA28-580604D22504}"/>
              </a:ext>
            </a:extLst>
          </p:cNvPr>
          <p:cNvGrpSpPr/>
          <p:nvPr userDrawn="1"/>
        </p:nvGrpSpPr>
        <p:grpSpPr>
          <a:xfrm>
            <a:off x="611054" y="6471298"/>
            <a:ext cx="372834" cy="131175"/>
            <a:chOff x="14288" y="2035175"/>
            <a:chExt cx="10039350" cy="3532188"/>
          </a:xfrm>
          <a:solidFill>
            <a:schemeClr val="tx1"/>
          </a:solidFill>
        </p:grpSpPr>
        <p:sp>
          <p:nvSpPr>
            <p:cNvPr id="26" name="Freeform 1">
              <a:extLst>
                <a:ext uri="{FF2B5EF4-FFF2-40B4-BE49-F238E27FC236}">
                  <a16:creationId xmlns:a16="http://schemas.microsoft.com/office/drawing/2014/main" id="{FAE166E8-E1D8-B126-19C9-EC141C8E10F3}"/>
                </a:ext>
              </a:extLst>
            </p:cNvPr>
            <p:cNvSpPr>
              <a:spLocks noChangeArrowheads="1"/>
            </p:cNvSpPr>
            <p:nvPr/>
          </p:nvSpPr>
          <p:spPr bwMode="auto">
            <a:xfrm>
              <a:off x="1519238" y="2035175"/>
              <a:ext cx="1336675" cy="2836863"/>
            </a:xfrm>
            <a:custGeom>
              <a:avLst/>
              <a:gdLst>
                <a:gd name="T0" fmla="*/ 390493 w 3714"/>
                <a:gd name="T1" fmla="*/ 1200682 h 7882"/>
                <a:gd name="T2" fmla="*/ 945462 w 3714"/>
                <a:gd name="T3" fmla="*/ 1200682 h 7882"/>
                <a:gd name="T4" fmla="*/ 945462 w 3714"/>
                <a:gd name="T5" fmla="*/ 611498 h 7882"/>
                <a:gd name="T6" fmla="*/ 698929 w 3714"/>
                <a:gd name="T7" fmla="*/ 364596 h 7882"/>
                <a:gd name="T8" fmla="*/ 637386 w 3714"/>
                <a:gd name="T9" fmla="*/ 364596 h 7882"/>
                <a:gd name="T10" fmla="*/ 390493 w 3714"/>
                <a:gd name="T11" fmla="*/ 611498 h 7882"/>
                <a:gd name="T12" fmla="*/ 390493 w 3714"/>
                <a:gd name="T13" fmla="*/ 1200682 h 7882"/>
                <a:gd name="T14" fmla="*/ 389414 w 3714"/>
                <a:gd name="T15" fmla="*/ 1576795 h 7882"/>
                <a:gd name="T16" fmla="*/ 390493 w 3714"/>
                <a:gd name="T17" fmla="*/ 2224645 h 7882"/>
                <a:gd name="T18" fmla="*/ 637386 w 3714"/>
                <a:gd name="T19" fmla="*/ 2471548 h 7882"/>
                <a:gd name="T20" fmla="*/ 709366 w 3714"/>
                <a:gd name="T21" fmla="*/ 2471548 h 7882"/>
                <a:gd name="T22" fmla="*/ 955899 w 3714"/>
                <a:gd name="T23" fmla="*/ 2224645 h 7882"/>
                <a:gd name="T24" fmla="*/ 955899 w 3714"/>
                <a:gd name="T25" fmla="*/ 1906119 h 7882"/>
                <a:gd name="T26" fmla="*/ 1336315 w 3714"/>
                <a:gd name="T27" fmla="*/ 1906119 h 7882"/>
                <a:gd name="T28" fmla="*/ 1336315 w 3714"/>
                <a:gd name="T29" fmla="*/ 2209528 h 7882"/>
                <a:gd name="T30" fmla="*/ 709366 w 3714"/>
                <a:gd name="T31" fmla="*/ 2836503 h 7882"/>
                <a:gd name="T32" fmla="*/ 626949 w 3714"/>
                <a:gd name="T33" fmla="*/ 2836503 h 7882"/>
                <a:gd name="T34" fmla="*/ 0 w 3714"/>
                <a:gd name="T35" fmla="*/ 2258117 h 7882"/>
                <a:gd name="T36" fmla="*/ 0 w 3714"/>
                <a:gd name="T37" fmla="*/ 675564 h 7882"/>
                <a:gd name="T38" fmla="*/ 626949 w 3714"/>
                <a:gd name="T39" fmla="*/ 0 h 7882"/>
                <a:gd name="T40" fmla="*/ 709366 w 3714"/>
                <a:gd name="T41" fmla="*/ 0 h 7882"/>
                <a:gd name="T42" fmla="*/ 1336315 w 3714"/>
                <a:gd name="T43" fmla="*/ 626975 h 7882"/>
                <a:gd name="T44" fmla="*/ 1334875 w 3714"/>
                <a:gd name="T45" fmla="*/ 1576795 h 7882"/>
                <a:gd name="T46" fmla="*/ 389414 w 3714"/>
                <a:gd name="T47" fmla="*/ 1576795 h 7882"/>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3714" h="7882">
                  <a:moveTo>
                    <a:pt x="1085" y="3336"/>
                  </a:moveTo>
                  <a:lnTo>
                    <a:pt x="2627" y="3336"/>
                  </a:lnTo>
                  <a:lnTo>
                    <a:pt x="2627" y="1699"/>
                  </a:lnTo>
                  <a:cubicBezTo>
                    <a:pt x="2627" y="1242"/>
                    <a:pt x="2399" y="1013"/>
                    <a:pt x="1942" y="1013"/>
                  </a:cubicBezTo>
                  <a:lnTo>
                    <a:pt x="1771" y="1013"/>
                  </a:lnTo>
                  <a:cubicBezTo>
                    <a:pt x="1314" y="1013"/>
                    <a:pt x="1085" y="1242"/>
                    <a:pt x="1085" y="1699"/>
                  </a:cubicBezTo>
                  <a:lnTo>
                    <a:pt x="1085" y="3336"/>
                  </a:lnTo>
                  <a:close/>
                  <a:moveTo>
                    <a:pt x="1082" y="4381"/>
                  </a:moveTo>
                  <a:lnTo>
                    <a:pt x="1085" y="6181"/>
                  </a:lnTo>
                  <a:cubicBezTo>
                    <a:pt x="1085" y="6638"/>
                    <a:pt x="1314" y="6867"/>
                    <a:pt x="1771" y="6867"/>
                  </a:cubicBezTo>
                  <a:lnTo>
                    <a:pt x="1971" y="6867"/>
                  </a:lnTo>
                  <a:cubicBezTo>
                    <a:pt x="2428" y="6867"/>
                    <a:pt x="2656" y="6638"/>
                    <a:pt x="2656" y="6181"/>
                  </a:cubicBezTo>
                  <a:lnTo>
                    <a:pt x="2656" y="5296"/>
                  </a:lnTo>
                  <a:lnTo>
                    <a:pt x="3713" y="5296"/>
                  </a:lnTo>
                  <a:lnTo>
                    <a:pt x="3713" y="6139"/>
                  </a:lnTo>
                  <a:cubicBezTo>
                    <a:pt x="3713" y="7295"/>
                    <a:pt x="3127" y="7881"/>
                    <a:pt x="1971" y="7881"/>
                  </a:cubicBezTo>
                  <a:lnTo>
                    <a:pt x="1742" y="7881"/>
                  </a:lnTo>
                  <a:cubicBezTo>
                    <a:pt x="585" y="7881"/>
                    <a:pt x="0" y="7295"/>
                    <a:pt x="0" y="6274"/>
                  </a:cubicBezTo>
                  <a:lnTo>
                    <a:pt x="0" y="1877"/>
                  </a:lnTo>
                  <a:cubicBezTo>
                    <a:pt x="0" y="585"/>
                    <a:pt x="585" y="0"/>
                    <a:pt x="1742" y="0"/>
                  </a:cubicBezTo>
                  <a:lnTo>
                    <a:pt x="1971" y="0"/>
                  </a:lnTo>
                  <a:cubicBezTo>
                    <a:pt x="3127" y="0"/>
                    <a:pt x="3713" y="585"/>
                    <a:pt x="3713" y="1742"/>
                  </a:cubicBezTo>
                  <a:lnTo>
                    <a:pt x="3709" y="4381"/>
                  </a:lnTo>
                  <a:lnTo>
                    <a:pt x="1082" y="4381"/>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endParaRPr lang="en-US"/>
            </a:p>
          </p:txBody>
        </p:sp>
        <p:sp>
          <p:nvSpPr>
            <p:cNvPr id="27" name="Freeform 2">
              <a:extLst>
                <a:ext uri="{FF2B5EF4-FFF2-40B4-BE49-F238E27FC236}">
                  <a16:creationId xmlns:a16="http://schemas.microsoft.com/office/drawing/2014/main" id="{82936861-0A9D-06ED-CF9C-95F485BA109B}"/>
                </a:ext>
              </a:extLst>
            </p:cNvPr>
            <p:cNvSpPr>
              <a:spLocks noChangeArrowheads="1"/>
            </p:cNvSpPr>
            <p:nvPr/>
          </p:nvSpPr>
          <p:spPr bwMode="auto">
            <a:xfrm>
              <a:off x="3109913" y="2035175"/>
              <a:ext cx="1368425" cy="3532188"/>
            </a:xfrm>
            <a:custGeom>
              <a:avLst/>
              <a:gdLst>
                <a:gd name="T0" fmla="*/ 390721 w 3800"/>
                <a:gd name="T1" fmla="*/ 2322993 h 9812"/>
                <a:gd name="T2" fmla="*/ 750833 w 3800"/>
                <a:gd name="T3" fmla="*/ 2466628 h 9812"/>
                <a:gd name="T4" fmla="*/ 976983 w 3800"/>
                <a:gd name="T5" fmla="*/ 2240556 h 9812"/>
                <a:gd name="T6" fmla="*/ 976983 w 3800"/>
                <a:gd name="T7" fmla="*/ 596138 h 9812"/>
                <a:gd name="T8" fmla="*/ 750833 w 3800"/>
                <a:gd name="T9" fmla="*/ 370066 h 9812"/>
                <a:gd name="T10" fmla="*/ 390721 w 3800"/>
                <a:gd name="T11" fmla="*/ 514061 h 9812"/>
                <a:gd name="T12" fmla="*/ 390721 w 3800"/>
                <a:gd name="T13" fmla="*/ 2322993 h 9812"/>
                <a:gd name="T14" fmla="*/ 0 w 3800"/>
                <a:gd name="T15" fmla="*/ 30599 h 9812"/>
                <a:gd name="T16" fmla="*/ 390721 w 3800"/>
                <a:gd name="T17" fmla="*/ 30599 h 9812"/>
                <a:gd name="T18" fmla="*/ 390721 w 3800"/>
                <a:gd name="T19" fmla="*/ 210592 h 9812"/>
                <a:gd name="T20" fmla="*/ 868950 w 3800"/>
                <a:gd name="T21" fmla="*/ 0 h 9812"/>
                <a:gd name="T22" fmla="*/ 1368065 w 3800"/>
                <a:gd name="T23" fmla="*/ 549699 h 9812"/>
                <a:gd name="T24" fmla="*/ 1368065 w 3800"/>
                <a:gd name="T25" fmla="*/ 2286995 h 9812"/>
                <a:gd name="T26" fmla="*/ 868950 w 3800"/>
                <a:gd name="T27" fmla="*/ 2837054 h 9812"/>
                <a:gd name="T28" fmla="*/ 390721 w 3800"/>
                <a:gd name="T29" fmla="*/ 2636541 h 9812"/>
                <a:gd name="T30" fmla="*/ 390721 w 3800"/>
                <a:gd name="T31" fmla="*/ 3531828 h 9812"/>
                <a:gd name="T32" fmla="*/ 0 w 3800"/>
                <a:gd name="T33" fmla="*/ 3531828 h 9812"/>
                <a:gd name="T34" fmla="*/ 0 w 3800"/>
                <a:gd name="T35" fmla="*/ 30599 h 9812"/>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3800" h="9812">
                  <a:moveTo>
                    <a:pt x="1085" y="6453"/>
                  </a:moveTo>
                  <a:cubicBezTo>
                    <a:pt x="1385" y="6710"/>
                    <a:pt x="1728" y="6852"/>
                    <a:pt x="2085" y="6852"/>
                  </a:cubicBezTo>
                  <a:cubicBezTo>
                    <a:pt x="2485" y="6852"/>
                    <a:pt x="2713" y="6667"/>
                    <a:pt x="2713" y="6224"/>
                  </a:cubicBezTo>
                  <a:lnTo>
                    <a:pt x="2713" y="1656"/>
                  </a:lnTo>
                  <a:cubicBezTo>
                    <a:pt x="2713" y="1213"/>
                    <a:pt x="2485" y="1028"/>
                    <a:pt x="2085" y="1028"/>
                  </a:cubicBezTo>
                  <a:cubicBezTo>
                    <a:pt x="1728" y="1028"/>
                    <a:pt x="1385" y="1170"/>
                    <a:pt x="1085" y="1428"/>
                  </a:cubicBezTo>
                  <a:lnTo>
                    <a:pt x="1085" y="6453"/>
                  </a:lnTo>
                  <a:close/>
                  <a:moveTo>
                    <a:pt x="0" y="85"/>
                  </a:moveTo>
                  <a:lnTo>
                    <a:pt x="1085" y="85"/>
                  </a:lnTo>
                  <a:lnTo>
                    <a:pt x="1085" y="585"/>
                  </a:lnTo>
                  <a:cubicBezTo>
                    <a:pt x="1342" y="314"/>
                    <a:pt x="1785" y="0"/>
                    <a:pt x="2413" y="0"/>
                  </a:cubicBezTo>
                  <a:cubicBezTo>
                    <a:pt x="3342" y="0"/>
                    <a:pt x="3799" y="614"/>
                    <a:pt x="3799" y="1527"/>
                  </a:cubicBezTo>
                  <a:lnTo>
                    <a:pt x="3799" y="6353"/>
                  </a:lnTo>
                  <a:cubicBezTo>
                    <a:pt x="3799" y="7267"/>
                    <a:pt x="3342" y="7881"/>
                    <a:pt x="2413" y="7881"/>
                  </a:cubicBezTo>
                  <a:cubicBezTo>
                    <a:pt x="1785" y="7881"/>
                    <a:pt x="1342" y="7581"/>
                    <a:pt x="1085" y="7324"/>
                  </a:cubicBezTo>
                  <a:lnTo>
                    <a:pt x="1085" y="9811"/>
                  </a:lnTo>
                  <a:lnTo>
                    <a:pt x="0" y="9811"/>
                  </a:lnTo>
                  <a:lnTo>
                    <a:pt x="0" y="85"/>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endParaRPr lang="en-US"/>
            </a:p>
          </p:txBody>
        </p:sp>
        <p:sp>
          <p:nvSpPr>
            <p:cNvPr id="28" name="Freeform 3">
              <a:extLst>
                <a:ext uri="{FF2B5EF4-FFF2-40B4-BE49-F238E27FC236}">
                  <a16:creationId xmlns:a16="http://schemas.microsoft.com/office/drawing/2014/main" id="{BC7E48F0-187F-CD3F-97ED-D553DF731B29}"/>
                </a:ext>
              </a:extLst>
            </p:cNvPr>
            <p:cNvSpPr>
              <a:spLocks noChangeArrowheads="1"/>
            </p:cNvSpPr>
            <p:nvPr/>
          </p:nvSpPr>
          <p:spPr bwMode="auto">
            <a:xfrm>
              <a:off x="4711700" y="2035175"/>
              <a:ext cx="1328738" cy="2836863"/>
            </a:xfrm>
            <a:custGeom>
              <a:avLst/>
              <a:gdLst>
                <a:gd name="T0" fmla="*/ 937679 w 3690"/>
                <a:gd name="T1" fmla="*/ 2338019 h 7882"/>
                <a:gd name="T2" fmla="*/ 937679 w 3690"/>
                <a:gd name="T3" fmla="*/ 1422750 h 7882"/>
                <a:gd name="T4" fmla="*/ 582988 w 3690"/>
                <a:gd name="T5" fmla="*/ 1556999 h 7882"/>
                <a:gd name="T6" fmla="*/ 392500 w 3690"/>
                <a:gd name="T7" fmla="*/ 1844573 h 7882"/>
                <a:gd name="T8" fmla="*/ 392500 w 3690"/>
                <a:gd name="T9" fmla="*/ 2266035 h 7882"/>
                <a:gd name="T10" fmla="*/ 582988 w 3690"/>
                <a:gd name="T11" fmla="*/ 2466149 h 7882"/>
                <a:gd name="T12" fmla="*/ 937679 w 3690"/>
                <a:gd name="T13" fmla="*/ 2338019 h 7882"/>
                <a:gd name="T14" fmla="*/ 2161 w 3690"/>
                <a:gd name="T15" fmla="*/ 1839174 h 7882"/>
                <a:gd name="T16" fmla="*/ 413025 w 3690"/>
                <a:gd name="T17" fmla="*/ 1253950 h 7882"/>
                <a:gd name="T18" fmla="*/ 937679 w 3690"/>
                <a:gd name="T19" fmla="*/ 1073991 h 7882"/>
                <a:gd name="T20" fmla="*/ 937679 w 3690"/>
                <a:gd name="T21" fmla="*/ 611498 h 7882"/>
                <a:gd name="T22" fmla="*/ 690656 w 3690"/>
                <a:gd name="T23" fmla="*/ 359557 h 7882"/>
                <a:gd name="T24" fmla="*/ 627280 w 3690"/>
                <a:gd name="T25" fmla="*/ 359557 h 7882"/>
                <a:gd name="T26" fmla="*/ 380257 w 3690"/>
                <a:gd name="T27" fmla="*/ 611498 h 7882"/>
                <a:gd name="T28" fmla="*/ 380257 w 3690"/>
                <a:gd name="T29" fmla="*/ 1004527 h 7882"/>
                <a:gd name="T30" fmla="*/ 0 w 3690"/>
                <a:gd name="T31" fmla="*/ 1004527 h 7882"/>
                <a:gd name="T32" fmla="*/ 0 w 3690"/>
                <a:gd name="T33" fmla="*/ 626975 h 7882"/>
                <a:gd name="T34" fmla="*/ 627280 w 3690"/>
                <a:gd name="T35" fmla="*/ 0 h 7882"/>
                <a:gd name="T36" fmla="*/ 701098 w 3690"/>
                <a:gd name="T37" fmla="*/ 0 h 7882"/>
                <a:gd name="T38" fmla="*/ 1328378 w 3690"/>
                <a:gd name="T39" fmla="*/ 626975 h 7882"/>
                <a:gd name="T40" fmla="*/ 1328378 w 3690"/>
                <a:gd name="T41" fmla="*/ 2805550 h 7882"/>
                <a:gd name="T42" fmla="*/ 937679 w 3690"/>
                <a:gd name="T43" fmla="*/ 2805550 h 7882"/>
                <a:gd name="T44" fmla="*/ 937679 w 3690"/>
                <a:gd name="T45" fmla="*/ 2630631 h 7882"/>
                <a:gd name="T46" fmla="*/ 459477 w 3690"/>
                <a:gd name="T47" fmla="*/ 2836503 h 7882"/>
                <a:gd name="T48" fmla="*/ 2161 w 3690"/>
                <a:gd name="T49" fmla="*/ 2348096 h 7882"/>
                <a:gd name="T50" fmla="*/ 2161 w 3690"/>
                <a:gd name="T51" fmla="*/ 1839174 h 7882"/>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3690" h="7882">
                  <a:moveTo>
                    <a:pt x="2604" y="6496"/>
                  </a:moveTo>
                  <a:lnTo>
                    <a:pt x="2604" y="3953"/>
                  </a:lnTo>
                  <a:lnTo>
                    <a:pt x="1619" y="4326"/>
                  </a:lnTo>
                  <a:cubicBezTo>
                    <a:pt x="1219" y="4483"/>
                    <a:pt x="1090" y="4683"/>
                    <a:pt x="1090" y="5125"/>
                  </a:cubicBezTo>
                  <a:lnTo>
                    <a:pt x="1090" y="6296"/>
                  </a:lnTo>
                  <a:cubicBezTo>
                    <a:pt x="1090" y="6667"/>
                    <a:pt x="1276" y="6852"/>
                    <a:pt x="1619" y="6852"/>
                  </a:cubicBezTo>
                  <a:cubicBezTo>
                    <a:pt x="1947" y="6852"/>
                    <a:pt x="2247" y="6738"/>
                    <a:pt x="2604" y="6496"/>
                  </a:cubicBezTo>
                  <a:close/>
                  <a:moveTo>
                    <a:pt x="6" y="5110"/>
                  </a:moveTo>
                  <a:cubicBezTo>
                    <a:pt x="6" y="4155"/>
                    <a:pt x="320" y="3769"/>
                    <a:pt x="1147" y="3484"/>
                  </a:cubicBezTo>
                  <a:lnTo>
                    <a:pt x="2604" y="2984"/>
                  </a:lnTo>
                  <a:lnTo>
                    <a:pt x="2604" y="1699"/>
                  </a:lnTo>
                  <a:cubicBezTo>
                    <a:pt x="2604" y="1242"/>
                    <a:pt x="2375" y="999"/>
                    <a:pt x="1918" y="999"/>
                  </a:cubicBezTo>
                  <a:lnTo>
                    <a:pt x="1742" y="999"/>
                  </a:lnTo>
                  <a:cubicBezTo>
                    <a:pt x="1285" y="999"/>
                    <a:pt x="1056" y="1242"/>
                    <a:pt x="1056" y="1699"/>
                  </a:cubicBezTo>
                  <a:lnTo>
                    <a:pt x="1056" y="2791"/>
                  </a:lnTo>
                  <a:lnTo>
                    <a:pt x="0" y="2791"/>
                  </a:lnTo>
                  <a:lnTo>
                    <a:pt x="0" y="1742"/>
                  </a:lnTo>
                  <a:cubicBezTo>
                    <a:pt x="0" y="585"/>
                    <a:pt x="586" y="0"/>
                    <a:pt x="1742" y="0"/>
                  </a:cubicBezTo>
                  <a:lnTo>
                    <a:pt x="1947" y="0"/>
                  </a:lnTo>
                  <a:cubicBezTo>
                    <a:pt x="3104" y="0"/>
                    <a:pt x="3689" y="585"/>
                    <a:pt x="3689" y="1742"/>
                  </a:cubicBezTo>
                  <a:lnTo>
                    <a:pt x="3689" y="7795"/>
                  </a:lnTo>
                  <a:lnTo>
                    <a:pt x="2604" y="7795"/>
                  </a:lnTo>
                  <a:lnTo>
                    <a:pt x="2604" y="7309"/>
                  </a:lnTo>
                  <a:cubicBezTo>
                    <a:pt x="2304" y="7595"/>
                    <a:pt x="1904" y="7881"/>
                    <a:pt x="1276" y="7881"/>
                  </a:cubicBezTo>
                  <a:cubicBezTo>
                    <a:pt x="406" y="7881"/>
                    <a:pt x="6" y="7381"/>
                    <a:pt x="6" y="6524"/>
                  </a:cubicBezTo>
                  <a:lnTo>
                    <a:pt x="6" y="5110"/>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endParaRPr lang="en-US"/>
            </a:p>
          </p:txBody>
        </p:sp>
        <p:sp>
          <p:nvSpPr>
            <p:cNvPr id="29" name="Freeform 4">
              <a:extLst>
                <a:ext uri="{FF2B5EF4-FFF2-40B4-BE49-F238E27FC236}">
                  <a16:creationId xmlns:a16="http://schemas.microsoft.com/office/drawing/2014/main" id="{8792C264-8CAF-013E-2BAE-E247F6FEA603}"/>
                </a:ext>
              </a:extLst>
            </p:cNvPr>
            <p:cNvSpPr>
              <a:spLocks noChangeArrowheads="1"/>
            </p:cNvSpPr>
            <p:nvPr/>
          </p:nvSpPr>
          <p:spPr bwMode="auto">
            <a:xfrm>
              <a:off x="6292850" y="2035175"/>
              <a:ext cx="2262188" cy="2806700"/>
            </a:xfrm>
            <a:custGeom>
              <a:avLst/>
              <a:gdLst>
                <a:gd name="T0" fmla="*/ 1326358 w 6285"/>
                <a:gd name="T1" fmla="*/ 2806340 h 7796"/>
                <a:gd name="T2" fmla="*/ 935470 w 6285"/>
                <a:gd name="T3" fmla="*/ 2806340 h 7796"/>
                <a:gd name="T4" fmla="*/ 935470 w 6285"/>
                <a:gd name="T5" fmla="*/ 570628 h 7796"/>
                <a:gd name="T6" fmla="*/ 750463 w 6285"/>
                <a:gd name="T7" fmla="*/ 370098 h 7796"/>
                <a:gd name="T8" fmla="*/ 390889 w 6285"/>
                <a:gd name="T9" fmla="*/ 508705 h 7796"/>
                <a:gd name="T10" fmla="*/ 390889 w 6285"/>
                <a:gd name="T11" fmla="*/ 2806340 h 7796"/>
                <a:gd name="T12" fmla="*/ 0 w 6285"/>
                <a:gd name="T13" fmla="*/ 2806340 h 7796"/>
                <a:gd name="T14" fmla="*/ 0 w 6285"/>
                <a:gd name="T15" fmla="*/ 30602 h 7796"/>
                <a:gd name="T16" fmla="*/ 390889 w 6285"/>
                <a:gd name="T17" fmla="*/ 30602 h 7796"/>
                <a:gd name="T18" fmla="*/ 390889 w 6285"/>
                <a:gd name="T19" fmla="*/ 210611 h 7796"/>
                <a:gd name="T20" fmla="*/ 868882 w 6285"/>
                <a:gd name="T21" fmla="*/ 0 h 7796"/>
                <a:gd name="T22" fmla="*/ 1274888 w 6285"/>
                <a:gd name="T23" fmla="*/ 226091 h 7796"/>
                <a:gd name="T24" fmla="*/ 1804351 w 6285"/>
                <a:gd name="T25" fmla="*/ 0 h 7796"/>
                <a:gd name="T26" fmla="*/ 2261828 w 6285"/>
                <a:gd name="T27" fmla="*/ 488184 h 7796"/>
                <a:gd name="T28" fmla="*/ 2261828 w 6285"/>
                <a:gd name="T29" fmla="*/ 2806340 h 7796"/>
                <a:gd name="T30" fmla="*/ 1870939 w 6285"/>
                <a:gd name="T31" fmla="*/ 2806340 h 7796"/>
                <a:gd name="T32" fmla="*/ 1870939 w 6285"/>
                <a:gd name="T33" fmla="*/ 570628 h 7796"/>
                <a:gd name="T34" fmla="*/ 1685933 w 6285"/>
                <a:gd name="T35" fmla="*/ 370098 h 7796"/>
                <a:gd name="T36" fmla="*/ 1326358 w 6285"/>
                <a:gd name="T37" fmla="*/ 508705 h 7796"/>
                <a:gd name="T38" fmla="*/ 1326358 w 6285"/>
                <a:gd name="T39" fmla="*/ 2806340 h 779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6285" h="7796">
                  <a:moveTo>
                    <a:pt x="3685" y="7795"/>
                  </a:moveTo>
                  <a:lnTo>
                    <a:pt x="2599" y="7795"/>
                  </a:lnTo>
                  <a:lnTo>
                    <a:pt x="2599" y="1585"/>
                  </a:lnTo>
                  <a:cubicBezTo>
                    <a:pt x="2599" y="1199"/>
                    <a:pt x="2414" y="1028"/>
                    <a:pt x="2085" y="1028"/>
                  </a:cubicBezTo>
                  <a:cubicBezTo>
                    <a:pt x="1785" y="1028"/>
                    <a:pt x="1471" y="1142"/>
                    <a:pt x="1086" y="1413"/>
                  </a:cubicBezTo>
                  <a:lnTo>
                    <a:pt x="1086" y="7795"/>
                  </a:lnTo>
                  <a:lnTo>
                    <a:pt x="0" y="7795"/>
                  </a:lnTo>
                  <a:lnTo>
                    <a:pt x="0" y="85"/>
                  </a:lnTo>
                  <a:lnTo>
                    <a:pt x="1086" y="85"/>
                  </a:lnTo>
                  <a:lnTo>
                    <a:pt x="1086" y="585"/>
                  </a:lnTo>
                  <a:cubicBezTo>
                    <a:pt x="1400" y="285"/>
                    <a:pt x="1814" y="0"/>
                    <a:pt x="2414" y="0"/>
                  </a:cubicBezTo>
                  <a:cubicBezTo>
                    <a:pt x="2971" y="0"/>
                    <a:pt x="3342" y="228"/>
                    <a:pt x="3542" y="628"/>
                  </a:cubicBezTo>
                  <a:cubicBezTo>
                    <a:pt x="3928" y="299"/>
                    <a:pt x="4385" y="0"/>
                    <a:pt x="5013" y="0"/>
                  </a:cubicBezTo>
                  <a:cubicBezTo>
                    <a:pt x="5855" y="0"/>
                    <a:pt x="6284" y="514"/>
                    <a:pt x="6284" y="1356"/>
                  </a:cubicBezTo>
                  <a:lnTo>
                    <a:pt x="6284" y="7795"/>
                  </a:lnTo>
                  <a:lnTo>
                    <a:pt x="5198" y="7795"/>
                  </a:lnTo>
                  <a:lnTo>
                    <a:pt x="5198" y="1585"/>
                  </a:lnTo>
                  <a:cubicBezTo>
                    <a:pt x="5198" y="1199"/>
                    <a:pt x="5013" y="1028"/>
                    <a:pt x="4684" y="1028"/>
                  </a:cubicBezTo>
                  <a:cubicBezTo>
                    <a:pt x="4385" y="1028"/>
                    <a:pt x="4070" y="1142"/>
                    <a:pt x="3685" y="1413"/>
                  </a:cubicBezTo>
                  <a:lnTo>
                    <a:pt x="3685" y="7795"/>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endParaRPr lang="en-US"/>
            </a:p>
          </p:txBody>
        </p:sp>
        <p:sp>
          <p:nvSpPr>
            <p:cNvPr id="30" name="Freeform 5">
              <a:extLst>
                <a:ext uri="{FF2B5EF4-FFF2-40B4-BE49-F238E27FC236}">
                  <a16:creationId xmlns:a16="http://schemas.microsoft.com/office/drawing/2014/main" id="{C927A7EE-148E-58D2-EBF4-FA2C9F1E1E49}"/>
                </a:ext>
              </a:extLst>
            </p:cNvPr>
            <p:cNvSpPr>
              <a:spLocks noChangeArrowheads="1"/>
            </p:cNvSpPr>
            <p:nvPr/>
          </p:nvSpPr>
          <p:spPr bwMode="auto">
            <a:xfrm>
              <a:off x="14288" y="2322513"/>
              <a:ext cx="1004887" cy="2274887"/>
            </a:xfrm>
            <a:custGeom>
              <a:avLst/>
              <a:gdLst>
                <a:gd name="T0" fmla="*/ 1004527 w 2790"/>
                <a:gd name="T1" fmla="*/ 0 h 6317"/>
                <a:gd name="T2" fmla="*/ 1004527 w 2790"/>
                <a:gd name="T3" fmla="*/ 510652 h 6317"/>
                <a:gd name="T4" fmla="*/ 346488 w 2790"/>
                <a:gd name="T5" fmla="*/ 1137624 h 6317"/>
                <a:gd name="T6" fmla="*/ 1004527 w 2790"/>
                <a:gd name="T7" fmla="*/ 1752711 h 6317"/>
                <a:gd name="T8" fmla="*/ 1004527 w 2790"/>
                <a:gd name="T9" fmla="*/ 2274527 h 6317"/>
                <a:gd name="T10" fmla="*/ 0 w 2790"/>
                <a:gd name="T11" fmla="*/ 1331009 h 6317"/>
                <a:gd name="T12" fmla="*/ 0 w 2790"/>
                <a:gd name="T13" fmla="*/ 955042 h 6317"/>
                <a:gd name="T14" fmla="*/ 1004527 w 2790"/>
                <a:gd name="T15" fmla="*/ 0 h 6317"/>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2790" h="6317">
                  <a:moveTo>
                    <a:pt x="2789" y="0"/>
                  </a:moveTo>
                  <a:lnTo>
                    <a:pt x="2789" y="1418"/>
                  </a:lnTo>
                  <a:lnTo>
                    <a:pt x="962" y="3159"/>
                  </a:lnTo>
                  <a:lnTo>
                    <a:pt x="2789" y="4867"/>
                  </a:lnTo>
                  <a:lnTo>
                    <a:pt x="2789" y="6316"/>
                  </a:lnTo>
                  <a:lnTo>
                    <a:pt x="0" y="3696"/>
                  </a:lnTo>
                  <a:lnTo>
                    <a:pt x="0" y="2652"/>
                  </a:lnTo>
                  <a:lnTo>
                    <a:pt x="2789"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endParaRPr lang="en-US"/>
            </a:p>
          </p:txBody>
        </p:sp>
        <p:sp>
          <p:nvSpPr>
            <p:cNvPr id="31" name="Freeform 6">
              <a:extLst>
                <a:ext uri="{FF2B5EF4-FFF2-40B4-BE49-F238E27FC236}">
                  <a16:creationId xmlns:a16="http://schemas.microsoft.com/office/drawing/2014/main" id="{D8EF25EA-254B-7F0C-DEF9-C4D28611D896}"/>
                </a:ext>
              </a:extLst>
            </p:cNvPr>
            <p:cNvSpPr>
              <a:spLocks noChangeArrowheads="1"/>
            </p:cNvSpPr>
            <p:nvPr/>
          </p:nvSpPr>
          <p:spPr bwMode="auto">
            <a:xfrm>
              <a:off x="9050338" y="2322513"/>
              <a:ext cx="1003300" cy="2274887"/>
            </a:xfrm>
            <a:custGeom>
              <a:avLst/>
              <a:gdLst>
                <a:gd name="T0" fmla="*/ 1002940 w 2789"/>
                <a:gd name="T1" fmla="*/ 955042 h 6317"/>
                <a:gd name="T2" fmla="*/ 1002940 w 2789"/>
                <a:gd name="T3" fmla="*/ 1331009 h 6317"/>
                <a:gd name="T4" fmla="*/ 0 w 2789"/>
                <a:gd name="T5" fmla="*/ 2274527 h 6317"/>
                <a:gd name="T6" fmla="*/ 0 w 2789"/>
                <a:gd name="T7" fmla="*/ 1752711 h 6317"/>
                <a:gd name="T8" fmla="*/ 656876 w 2789"/>
                <a:gd name="T9" fmla="*/ 1137624 h 6317"/>
                <a:gd name="T10" fmla="*/ 0 w 2789"/>
                <a:gd name="T11" fmla="*/ 510652 h 6317"/>
                <a:gd name="T12" fmla="*/ 0 w 2789"/>
                <a:gd name="T13" fmla="*/ 0 h 6317"/>
                <a:gd name="T14" fmla="*/ 1002940 w 2789"/>
                <a:gd name="T15" fmla="*/ 955042 h 6317"/>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2789" h="6317">
                  <a:moveTo>
                    <a:pt x="2788" y="2652"/>
                  </a:moveTo>
                  <a:lnTo>
                    <a:pt x="2788" y="3696"/>
                  </a:lnTo>
                  <a:lnTo>
                    <a:pt x="0" y="6316"/>
                  </a:lnTo>
                  <a:lnTo>
                    <a:pt x="0" y="4867"/>
                  </a:lnTo>
                  <a:lnTo>
                    <a:pt x="1826" y="3159"/>
                  </a:lnTo>
                  <a:lnTo>
                    <a:pt x="0" y="1418"/>
                  </a:lnTo>
                  <a:lnTo>
                    <a:pt x="0" y="0"/>
                  </a:lnTo>
                  <a:lnTo>
                    <a:pt x="2788" y="2652"/>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endParaRPr lang="en-US"/>
            </a:p>
          </p:txBody>
        </p:sp>
      </p:grpSp>
      <p:sp>
        <p:nvSpPr>
          <p:cNvPr id="32" name="Footer Placeholder 14">
            <a:extLst>
              <a:ext uri="{FF2B5EF4-FFF2-40B4-BE49-F238E27FC236}">
                <a16:creationId xmlns:a16="http://schemas.microsoft.com/office/drawing/2014/main" id="{535CA780-7798-AA25-02C4-D1C918A9973C}"/>
              </a:ext>
            </a:extLst>
          </p:cNvPr>
          <p:cNvSpPr txBox="1">
            <a:spLocks/>
          </p:cNvSpPr>
          <p:nvPr userDrawn="1"/>
        </p:nvSpPr>
        <p:spPr>
          <a:xfrm>
            <a:off x="1205299" y="6410231"/>
            <a:ext cx="2157779" cy="228599"/>
          </a:xfrm>
          <a:prstGeom prst="rect">
            <a:avLst/>
          </a:prstGeom>
        </p:spPr>
        <p:txBody>
          <a:bodyPr vert="horz" lIns="0" tIns="0" rIns="0" bIns="0" rtlCol="0" anchor="ctr"/>
          <a:lstStyle>
            <a:defPPr>
              <a:defRPr lang="en-US"/>
            </a:defPPr>
            <a:lvl1pPr marL="0" algn="r" defTabSz="914400" rtl="0" eaLnBrk="1" latinLnBrk="0" hangingPunct="1">
              <a:defRPr sz="600" b="0" i="0" kern="1200">
                <a:solidFill>
                  <a:schemeClr val="tx1"/>
                </a:solidFill>
                <a:latin typeface="+mn-lt"/>
                <a:ea typeface="Calibri" panose="020F0502020204030204" pitchFamily="34" charset="0"/>
                <a:cs typeface="Calibri" panose="020F050202020403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b="0" i="0">
                <a:solidFill>
                  <a:schemeClr val="tx1"/>
                </a:solidFill>
                <a:latin typeface="+mn-lt"/>
              </a:rPr>
              <a:t>EPAM Proprietary &amp; Confidential</a:t>
            </a:r>
            <a:r>
              <a:rPr lang="ru-RU" b="0" i="0">
                <a:solidFill>
                  <a:schemeClr val="tx1"/>
                </a:solidFill>
                <a:latin typeface="+mn-lt"/>
              </a:rPr>
              <a:t> </a:t>
            </a:r>
            <a:endParaRPr lang="en-US" b="0" i="0">
              <a:solidFill>
                <a:schemeClr val="tx1"/>
              </a:solidFill>
              <a:latin typeface="+mn-lt"/>
            </a:endParaRPr>
          </a:p>
        </p:txBody>
      </p:sp>
      <p:pic>
        <p:nvPicPr>
          <p:cNvPr id="5" name="Graphic 4">
            <a:extLst>
              <a:ext uri="{FF2B5EF4-FFF2-40B4-BE49-F238E27FC236}">
                <a16:creationId xmlns:a16="http://schemas.microsoft.com/office/drawing/2014/main" id="{379C384F-5CE9-259F-C7FB-0B746CF2A040}"/>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820265" y="6419060"/>
            <a:ext cx="762923" cy="205636"/>
          </a:xfrm>
          <a:prstGeom prst="rect">
            <a:avLst/>
          </a:prstGeom>
        </p:spPr>
      </p:pic>
    </p:spTree>
    <p:extLst>
      <p:ext uri="{BB962C8B-B14F-4D97-AF65-F5344CB8AC3E}">
        <p14:creationId xmlns:p14="http://schemas.microsoft.com/office/powerpoint/2010/main" val="715147315"/>
      </p:ext>
    </p:extLst>
  </p:cSld>
  <p:clrMapOvr>
    <a:masterClrMapping/>
  </p:clrMapOvr>
  <p:extLst>
    <p:ext uri="{DCECCB84-F9BA-43D5-87BE-67443E8EF086}">
      <p15:sldGuideLst xmlns:p15="http://schemas.microsoft.com/office/powerpoint/2012/main"/>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Quote_Large_Light_Type">
    <p:bg>
      <p:bgPr>
        <a:solidFill>
          <a:schemeClr val="tx1"/>
        </a:solidFill>
        <a:effectLst/>
      </p:bgPr>
    </p:bg>
    <p:spTree>
      <p:nvGrpSpPr>
        <p:cNvPr id="1" name=""/>
        <p:cNvGrpSpPr/>
        <p:nvPr/>
      </p:nvGrpSpPr>
      <p:grpSpPr>
        <a:xfrm>
          <a:off x="0" y="0"/>
          <a:ext cx="0" cy="0"/>
          <a:chOff x="0" y="0"/>
          <a:chExt cx="0" cy="0"/>
        </a:xfrm>
      </p:grpSpPr>
      <p:sp>
        <p:nvSpPr>
          <p:cNvPr id="2" name="Text Placeholder 4">
            <a:extLst>
              <a:ext uri="{FF2B5EF4-FFF2-40B4-BE49-F238E27FC236}">
                <a16:creationId xmlns:a16="http://schemas.microsoft.com/office/drawing/2014/main" id="{433DDFE8-68E0-F21D-DCE9-D9E38F969DA2}"/>
              </a:ext>
            </a:extLst>
          </p:cNvPr>
          <p:cNvSpPr>
            <a:spLocks noGrp="1"/>
          </p:cNvSpPr>
          <p:nvPr>
            <p:ph type="body" sz="quarter" idx="11" hasCustomPrompt="1"/>
          </p:nvPr>
        </p:nvSpPr>
        <p:spPr>
          <a:xfrm>
            <a:off x="658333" y="419100"/>
            <a:ext cx="3732914" cy="153888"/>
          </a:xfrm>
          <a:prstGeom prst="rect">
            <a:avLst/>
          </a:prstGeom>
        </p:spPr>
        <p:txBody>
          <a:bodyPr wrap="square">
            <a:spAutoFit/>
          </a:bodyPr>
          <a:lstStyle>
            <a:lvl1pPr>
              <a:lnSpc>
                <a:spcPct val="100000"/>
              </a:lnSpc>
              <a:spcBef>
                <a:spcPts val="0"/>
              </a:spcBef>
              <a:defRPr sz="1000" b="0" spc="300">
                <a:solidFill>
                  <a:schemeClr val="bg1"/>
                </a:solidFill>
                <a:latin typeface="+mj-lt"/>
                <a:cs typeface="Calibri Light" panose="020F0302020204030204" pitchFamily="34" charset="0"/>
              </a:defRPr>
            </a:lvl1pPr>
            <a:lvl2pPr>
              <a:buNone/>
              <a:defRPr/>
            </a:lvl2pPr>
          </a:lstStyle>
          <a:p>
            <a:pPr lvl="0"/>
            <a:r>
              <a:rPr lang="en-US">
                <a:effectLst/>
              </a:rPr>
              <a:t>SECTION TITLE</a:t>
            </a:r>
            <a:endParaRPr lang="en-US"/>
          </a:p>
        </p:txBody>
      </p:sp>
      <p:sp>
        <p:nvSpPr>
          <p:cNvPr id="4" name="Title 2">
            <a:extLst>
              <a:ext uri="{FF2B5EF4-FFF2-40B4-BE49-F238E27FC236}">
                <a16:creationId xmlns:a16="http://schemas.microsoft.com/office/drawing/2014/main" id="{A4A0CF84-1941-A496-4DFE-6EDA7D9D7651}"/>
              </a:ext>
            </a:extLst>
          </p:cNvPr>
          <p:cNvSpPr>
            <a:spLocks noGrp="1"/>
          </p:cNvSpPr>
          <p:nvPr>
            <p:ph type="title" hasCustomPrompt="1"/>
          </p:nvPr>
        </p:nvSpPr>
        <p:spPr>
          <a:xfrm>
            <a:off x="1123950" y="1762728"/>
            <a:ext cx="10248900" cy="1846659"/>
          </a:xfrm>
          <a:prstGeom prst="rect">
            <a:avLst/>
          </a:prstGeom>
        </p:spPr>
        <p:txBody>
          <a:bodyPr wrap="square">
            <a:spAutoFit/>
          </a:bodyPr>
          <a:lstStyle>
            <a:lvl1pPr>
              <a:defRPr sz="6000" b="0" i="0">
                <a:solidFill>
                  <a:schemeClr val="bg1"/>
                </a:solidFill>
                <a:latin typeface="Calibri Light" panose="020F0302020204030204" pitchFamily="34" charset="0"/>
                <a:cs typeface="Calibri Light" panose="020F0302020204030204" pitchFamily="34" charset="0"/>
              </a:defRPr>
            </a:lvl1pPr>
          </a:lstStyle>
          <a:p>
            <a:r>
              <a:rPr lang="en-US"/>
              <a:t>Sometimes you need to add a meaningful yet concise quote.”</a:t>
            </a:r>
          </a:p>
        </p:txBody>
      </p:sp>
      <p:sp>
        <p:nvSpPr>
          <p:cNvPr id="6" name="Text Placeholder 4">
            <a:extLst>
              <a:ext uri="{FF2B5EF4-FFF2-40B4-BE49-F238E27FC236}">
                <a16:creationId xmlns:a16="http://schemas.microsoft.com/office/drawing/2014/main" id="{DF2F86F6-216C-D721-7244-AE3BBA0609AA}"/>
              </a:ext>
            </a:extLst>
          </p:cNvPr>
          <p:cNvSpPr>
            <a:spLocks noGrp="1"/>
          </p:cNvSpPr>
          <p:nvPr>
            <p:ph type="body" sz="quarter" idx="16" hasCustomPrompt="1"/>
          </p:nvPr>
        </p:nvSpPr>
        <p:spPr>
          <a:xfrm>
            <a:off x="1123950" y="4231608"/>
            <a:ext cx="4554537" cy="507831"/>
          </a:xfrm>
          <a:prstGeom prst="rect">
            <a:avLst/>
          </a:prstGeom>
        </p:spPr>
        <p:txBody>
          <a:bodyPr wrap="square" anchor="t" anchorCtr="0">
            <a:spAutoFit/>
          </a:bodyPr>
          <a:lstStyle>
            <a:lvl1pPr>
              <a:defRPr sz="1400" b="1" i="0">
                <a:solidFill>
                  <a:schemeClr val="bg1"/>
                </a:solidFill>
                <a:latin typeface="Calibri" panose="020F0502020204030204" pitchFamily="34" charset="0"/>
                <a:cs typeface="Calibri" panose="020F0502020204030204" pitchFamily="34" charset="0"/>
              </a:defRPr>
            </a:lvl1pPr>
          </a:lstStyle>
          <a:p>
            <a:pPr lvl="0"/>
            <a:r>
              <a:rPr lang="en-US" err="1"/>
              <a:t>Firstname</a:t>
            </a:r>
            <a:r>
              <a:rPr lang="en-US"/>
              <a:t> </a:t>
            </a:r>
            <a:r>
              <a:rPr lang="en-US" err="1"/>
              <a:t>Lastname</a:t>
            </a:r>
            <a:endParaRPr lang="en-US"/>
          </a:p>
          <a:p>
            <a:pPr lvl="0"/>
            <a:r>
              <a:rPr lang="en-US"/>
              <a:t>Job Title, Company</a:t>
            </a:r>
          </a:p>
        </p:txBody>
      </p:sp>
      <p:sp>
        <p:nvSpPr>
          <p:cNvPr id="9" name="Title 2">
            <a:extLst>
              <a:ext uri="{FF2B5EF4-FFF2-40B4-BE49-F238E27FC236}">
                <a16:creationId xmlns:a16="http://schemas.microsoft.com/office/drawing/2014/main" id="{636A723C-C15E-DD81-7189-CFA5D70243A9}"/>
              </a:ext>
            </a:extLst>
          </p:cNvPr>
          <p:cNvSpPr txBox="1">
            <a:spLocks/>
          </p:cNvSpPr>
          <p:nvPr userDrawn="1"/>
        </p:nvSpPr>
        <p:spPr>
          <a:xfrm>
            <a:off x="647700" y="1762728"/>
            <a:ext cx="450695" cy="923330"/>
          </a:xfrm>
          <a:prstGeom prst="rect">
            <a:avLst/>
          </a:prstGeom>
        </p:spPr>
        <p:txBody>
          <a:bodyPr vert="horz" wrap="square" lIns="0" tIns="0" rIns="0" bIns="0" rtlCol="0" anchor="t">
            <a:spAutoFit/>
          </a:bodyPr>
          <a:lstStyle>
            <a:lvl1pPr algn="l" defTabSz="914400" rtl="0" eaLnBrk="1" latinLnBrk="0" hangingPunct="1">
              <a:lnSpc>
                <a:spcPct val="100000"/>
              </a:lnSpc>
              <a:spcBef>
                <a:spcPct val="0"/>
              </a:spcBef>
              <a:buNone/>
              <a:defRPr sz="6000" b="1" i="0" kern="1200">
                <a:solidFill>
                  <a:schemeClr val="tx1"/>
                </a:solidFill>
                <a:latin typeface="Calibri" panose="020F0502020204030204" pitchFamily="34" charset="0"/>
                <a:ea typeface="Calibri Light" panose="020F0302020204030204" pitchFamily="34" charset="0"/>
                <a:cs typeface="Calibri" panose="020F0502020204030204" pitchFamily="34" charset="0"/>
              </a:defRPr>
            </a:lvl1pPr>
          </a:lstStyle>
          <a:p>
            <a:r>
              <a:rPr lang="en-US" b="0" i="0">
                <a:solidFill>
                  <a:schemeClr val="bg1"/>
                </a:solidFill>
                <a:latin typeface="Calibri Light" panose="020F0302020204030204" pitchFamily="34" charset="0"/>
                <a:cs typeface="Calibri Light" panose="020F0302020204030204" pitchFamily="34" charset="0"/>
              </a:rPr>
              <a:t>“</a:t>
            </a:r>
          </a:p>
        </p:txBody>
      </p:sp>
      <p:sp>
        <p:nvSpPr>
          <p:cNvPr id="3" name="TextBox 2">
            <a:extLst>
              <a:ext uri="{FF2B5EF4-FFF2-40B4-BE49-F238E27FC236}">
                <a16:creationId xmlns:a16="http://schemas.microsoft.com/office/drawing/2014/main" id="{8BD5D94D-214E-34EE-E035-AFD456CA6395}"/>
              </a:ext>
            </a:extLst>
          </p:cNvPr>
          <p:cNvSpPr txBox="1"/>
          <p:nvPr userDrawn="1"/>
        </p:nvSpPr>
        <p:spPr>
          <a:xfrm>
            <a:off x="1511300" y="1612900"/>
            <a:ext cx="0" cy="0"/>
          </a:xfrm>
          <a:prstGeom prst="rect">
            <a:avLst/>
          </a:prstGeom>
          <a:noFill/>
        </p:spPr>
        <p:txBody>
          <a:bodyPr wrap="none" lIns="0" tIns="0" rIns="0" bIns="0" rtlCol="0">
            <a:noAutofit/>
          </a:bodyPr>
          <a:lstStyle/>
          <a:p>
            <a:pPr>
              <a:lnSpc>
                <a:spcPct val="110000"/>
              </a:lnSpc>
              <a:spcBef>
                <a:spcPts val="600"/>
              </a:spcBef>
            </a:pPr>
            <a:endParaRPr lang="en-US" sz="1200" b="0" i="0" err="1">
              <a:latin typeface="Calibri Light" panose="020F0302020204030204" pitchFamily="34" charset="0"/>
              <a:ea typeface="Human Sans" charset="0"/>
              <a:cs typeface="Calibri Light" panose="020F0302020204030204" pitchFamily="34" charset="0"/>
            </a:endParaRPr>
          </a:p>
        </p:txBody>
      </p:sp>
      <p:grpSp>
        <p:nvGrpSpPr>
          <p:cNvPr id="5" name="Group 4">
            <a:extLst>
              <a:ext uri="{FF2B5EF4-FFF2-40B4-BE49-F238E27FC236}">
                <a16:creationId xmlns:a16="http://schemas.microsoft.com/office/drawing/2014/main" id="{70DE49A3-96C6-8C87-1C60-FC54F399FAF4}"/>
              </a:ext>
            </a:extLst>
          </p:cNvPr>
          <p:cNvGrpSpPr/>
          <p:nvPr userDrawn="1"/>
        </p:nvGrpSpPr>
        <p:grpSpPr>
          <a:xfrm>
            <a:off x="610888" y="6472556"/>
            <a:ext cx="372834" cy="131175"/>
            <a:chOff x="14288" y="2035175"/>
            <a:chExt cx="10039350" cy="3532188"/>
          </a:xfrm>
          <a:solidFill>
            <a:schemeClr val="bg1"/>
          </a:solidFill>
        </p:grpSpPr>
        <p:sp>
          <p:nvSpPr>
            <p:cNvPr id="7" name="Freeform 1">
              <a:extLst>
                <a:ext uri="{FF2B5EF4-FFF2-40B4-BE49-F238E27FC236}">
                  <a16:creationId xmlns:a16="http://schemas.microsoft.com/office/drawing/2014/main" id="{36CEA0B0-54EF-6429-93AF-2A18DEF95DCF}"/>
                </a:ext>
              </a:extLst>
            </p:cNvPr>
            <p:cNvSpPr>
              <a:spLocks noChangeArrowheads="1"/>
            </p:cNvSpPr>
            <p:nvPr/>
          </p:nvSpPr>
          <p:spPr bwMode="auto">
            <a:xfrm>
              <a:off x="1519238" y="2035175"/>
              <a:ext cx="1336675" cy="2836863"/>
            </a:xfrm>
            <a:custGeom>
              <a:avLst/>
              <a:gdLst>
                <a:gd name="T0" fmla="*/ 390493 w 3714"/>
                <a:gd name="T1" fmla="*/ 1200682 h 7882"/>
                <a:gd name="T2" fmla="*/ 945462 w 3714"/>
                <a:gd name="T3" fmla="*/ 1200682 h 7882"/>
                <a:gd name="T4" fmla="*/ 945462 w 3714"/>
                <a:gd name="T5" fmla="*/ 611498 h 7882"/>
                <a:gd name="T6" fmla="*/ 698929 w 3714"/>
                <a:gd name="T7" fmla="*/ 364596 h 7882"/>
                <a:gd name="T8" fmla="*/ 637386 w 3714"/>
                <a:gd name="T9" fmla="*/ 364596 h 7882"/>
                <a:gd name="T10" fmla="*/ 390493 w 3714"/>
                <a:gd name="T11" fmla="*/ 611498 h 7882"/>
                <a:gd name="T12" fmla="*/ 390493 w 3714"/>
                <a:gd name="T13" fmla="*/ 1200682 h 7882"/>
                <a:gd name="T14" fmla="*/ 389414 w 3714"/>
                <a:gd name="T15" fmla="*/ 1576795 h 7882"/>
                <a:gd name="T16" fmla="*/ 390493 w 3714"/>
                <a:gd name="T17" fmla="*/ 2224645 h 7882"/>
                <a:gd name="T18" fmla="*/ 637386 w 3714"/>
                <a:gd name="T19" fmla="*/ 2471548 h 7882"/>
                <a:gd name="T20" fmla="*/ 709366 w 3714"/>
                <a:gd name="T21" fmla="*/ 2471548 h 7882"/>
                <a:gd name="T22" fmla="*/ 955899 w 3714"/>
                <a:gd name="T23" fmla="*/ 2224645 h 7882"/>
                <a:gd name="T24" fmla="*/ 955899 w 3714"/>
                <a:gd name="T25" fmla="*/ 1906119 h 7882"/>
                <a:gd name="T26" fmla="*/ 1336315 w 3714"/>
                <a:gd name="T27" fmla="*/ 1906119 h 7882"/>
                <a:gd name="T28" fmla="*/ 1336315 w 3714"/>
                <a:gd name="T29" fmla="*/ 2209528 h 7882"/>
                <a:gd name="T30" fmla="*/ 709366 w 3714"/>
                <a:gd name="T31" fmla="*/ 2836503 h 7882"/>
                <a:gd name="T32" fmla="*/ 626949 w 3714"/>
                <a:gd name="T33" fmla="*/ 2836503 h 7882"/>
                <a:gd name="T34" fmla="*/ 0 w 3714"/>
                <a:gd name="T35" fmla="*/ 2258117 h 7882"/>
                <a:gd name="T36" fmla="*/ 0 w 3714"/>
                <a:gd name="T37" fmla="*/ 675564 h 7882"/>
                <a:gd name="T38" fmla="*/ 626949 w 3714"/>
                <a:gd name="T39" fmla="*/ 0 h 7882"/>
                <a:gd name="T40" fmla="*/ 709366 w 3714"/>
                <a:gd name="T41" fmla="*/ 0 h 7882"/>
                <a:gd name="T42" fmla="*/ 1336315 w 3714"/>
                <a:gd name="T43" fmla="*/ 626975 h 7882"/>
                <a:gd name="T44" fmla="*/ 1334875 w 3714"/>
                <a:gd name="T45" fmla="*/ 1576795 h 7882"/>
                <a:gd name="T46" fmla="*/ 389414 w 3714"/>
                <a:gd name="T47" fmla="*/ 1576795 h 7882"/>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3714" h="7882">
                  <a:moveTo>
                    <a:pt x="1085" y="3336"/>
                  </a:moveTo>
                  <a:lnTo>
                    <a:pt x="2627" y="3336"/>
                  </a:lnTo>
                  <a:lnTo>
                    <a:pt x="2627" y="1699"/>
                  </a:lnTo>
                  <a:cubicBezTo>
                    <a:pt x="2627" y="1242"/>
                    <a:pt x="2399" y="1013"/>
                    <a:pt x="1942" y="1013"/>
                  </a:cubicBezTo>
                  <a:lnTo>
                    <a:pt x="1771" y="1013"/>
                  </a:lnTo>
                  <a:cubicBezTo>
                    <a:pt x="1314" y="1013"/>
                    <a:pt x="1085" y="1242"/>
                    <a:pt x="1085" y="1699"/>
                  </a:cubicBezTo>
                  <a:lnTo>
                    <a:pt x="1085" y="3336"/>
                  </a:lnTo>
                  <a:close/>
                  <a:moveTo>
                    <a:pt x="1082" y="4381"/>
                  </a:moveTo>
                  <a:lnTo>
                    <a:pt x="1085" y="6181"/>
                  </a:lnTo>
                  <a:cubicBezTo>
                    <a:pt x="1085" y="6638"/>
                    <a:pt x="1314" y="6867"/>
                    <a:pt x="1771" y="6867"/>
                  </a:cubicBezTo>
                  <a:lnTo>
                    <a:pt x="1971" y="6867"/>
                  </a:lnTo>
                  <a:cubicBezTo>
                    <a:pt x="2428" y="6867"/>
                    <a:pt x="2656" y="6638"/>
                    <a:pt x="2656" y="6181"/>
                  </a:cubicBezTo>
                  <a:lnTo>
                    <a:pt x="2656" y="5296"/>
                  </a:lnTo>
                  <a:lnTo>
                    <a:pt x="3713" y="5296"/>
                  </a:lnTo>
                  <a:lnTo>
                    <a:pt x="3713" y="6139"/>
                  </a:lnTo>
                  <a:cubicBezTo>
                    <a:pt x="3713" y="7295"/>
                    <a:pt x="3127" y="7881"/>
                    <a:pt x="1971" y="7881"/>
                  </a:cubicBezTo>
                  <a:lnTo>
                    <a:pt x="1742" y="7881"/>
                  </a:lnTo>
                  <a:cubicBezTo>
                    <a:pt x="585" y="7881"/>
                    <a:pt x="0" y="7295"/>
                    <a:pt x="0" y="6274"/>
                  </a:cubicBezTo>
                  <a:lnTo>
                    <a:pt x="0" y="1877"/>
                  </a:lnTo>
                  <a:cubicBezTo>
                    <a:pt x="0" y="585"/>
                    <a:pt x="585" y="0"/>
                    <a:pt x="1742" y="0"/>
                  </a:cubicBezTo>
                  <a:lnTo>
                    <a:pt x="1971" y="0"/>
                  </a:lnTo>
                  <a:cubicBezTo>
                    <a:pt x="3127" y="0"/>
                    <a:pt x="3713" y="585"/>
                    <a:pt x="3713" y="1742"/>
                  </a:cubicBezTo>
                  <a:lnTo>
                    <a:pt x="3709" y="4381"/>
                  </a:lnTo>
                  <a:lnTo>
                    <a:pt x="1082" y="4381"/>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endParaRPr lang="en-US"/>
            </a:p>
          </p:txBody>
        </p:sp>
        <p:sp>
          <p:nvSpPr>
            <p:cNvPr id="8" name="Freeform 2">
              <a:extLst>
                <a:ext uri="{FF2B5EF4-FFF2-40B4-BE49-F238E27FC236}">
                  <a16:creationId xmlns:a16="http://schemas.microsoft.com/office/drawing/2014/main" id="{8425C2FF-58C3-E4A6-377E-AFF1DCD7B531}"/>
                </a:ext>
              </a:extLst>
            </p:cNvPr>
            <p:cNvSpPr>
              <a:spLocks noChangeArrowheads="1"/>
            </p:cNvSpPr>
            <p:nvPr/>
          </p:nvSpPr>
          <p:spPr bwMode="auto">
            <a:xfrm>
              <a:off x="3109913" y="2035175"/>
              <a:ext cx="1368425" cy="3532188"/>
            </a:xfrm>
            <a:custGeom>
              <a:avLst/>
              <a:gdLst>
                <a:gd name="T0" fmla="*/ 390721 w 3800"/>
                <a:gd name="T1" fmla="*/ 2322993 h 9812"/>
                <a:gd name="T2" fmla="*/ 750833 w 3800"/>
                <a:gd name="T3" fmla="*/ 2466628 h 9812"/>
                <a:gd name="T4" fmla="*/ 976983 w 3800"/>
                <a:gd name="T5" fmla="*/ 2240556 h 9812"/>
                <a:gd name="T6" fmla="*/ 976983 w 3800"/>
                <a:gd name="T7" fmla="*/ 596138 h 9812"/>
                <a:gd name="T8" fmla="*/ 750833 w 3800"/>
                <a:gd name="T9" fmla="*/ 370066 h 9812"/>
                <a:gd name="T10" fmla="*/ 390721 w 3800"/>
                <a:gd name="T11" fmla="*/ 514061 h 9812"/>
                <a:gd name="T12" fmla="*/ 390721 w 3800"/>
                <a:gd name="T13" fmla="*/ 2322993 h 9812"/>
                <a:gd name="T14" fmla="*/ 0 w 3800"/>
                <a:gd name="T15" fmla="*/ 30599 h 9812"/>
                <a:gd name="T16" fmla="*/ 390721 w 3800"/>
                <a:gd name="T17" fmla="*/ 30599 h 9812"/>
                <a:gd name="T18" fmla="*/ 390721 w 3800"/>
                <a:gd name="T19" fmla="*/ 210592 h 9812"/>
                <a:gd name="T20" fmla="*/ 868950 w 3800"/>
                <a:gd name="T21" fmla="*/ 0 h 9812"/>
                <a:gd name="T22" fmla="*/ 1368065 w 3800"/>
                <a:gd name="T23" fmla="*/ 549699 h 9812"/>
                <a:gd name="T24" fmla="*/ 1368065 w 3800"/>
                <a:gd name="T25" fmla="*/ 2286995 h 9812"/>
                <a:gd name="T26" fmla="*/ 868950 w 3800"/>
                <a:gd name="T27" fmla="*/ 2837054 h 9812"/>
                <a:gd name="T28" fmla="*/ 390721 w 3800"/>
                <a:gd name="T29" fmla="*/ 2636541 h 9812"/>
                <a:gd name="T30" fmla="*/ 390721 w 3800"/>
                <a:gd name="T31" fmla="*/ 3531828 h 9812"/>
                <a:gd name="T32" fmla="*/ 0 w 3800"/>
                <a:gd name="T33" fmla="*/ 3531828 h 9812"/>
                <a:gd name="T34" fmla="*/ 0 w 3800"/>
                <a:gd name="T35" fmla="*/ 30599 h 9812"/>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3800" h="9812">
                  <a:moveTo>
                    <a:pt x="1085" y="6453"/>
                  </a:moveTo>
                  <a:cubicBezTo>
                    <a:pt x="1385" y="6710"/>
                    <a:pt x="1728" y="6852"/>
                    <a:pt x="2085" y="6852"/>
                  </a:cubicBezTo>
                  <a:cubicBezTo>
                    <a:pt x="2485" y="6852"/>
                    <a:pt x="2713" y="6667"/>
                    <a:pt x="2713" y="6224"/>
                  </a:cubicBezTo>
                  <a:lnTo>
                    <a:pt x="2713" y="1656"/>
                  </a:lnTo>
                  <a:cubicBezTo>
                    <a:pt x="2713" y="1213"/>
                    <a:pt x="2485" y="1028"/>
                    <a:pt x="2085" y="1028"/>
                  </a:cubicBezTo>
                  <a:cubicBezTo>
                    <a:pt x="1728" y="1028"/>
                    <a:pt x="1385" y="1170"/>
                    <a:pt x="1085" y="1428"/>
                  </a:cubicBezTo>
                  <a:lnTo>
                    <a:pt x="1085" y="6453"/>
                  </a:lnTo>
                  <a:close/>
                  <a:moveTo>
                    <a:pt x="0" y="85"/>
                  </a:moveTo>
                  <a:lnTo>
                    <a:pt x="1085" y="85"/>
                  </a:lnTo>
                  <a:lnTo>
                    <a:pt x="1085" y="585"/>
                  </a:lnTo>
                  <a:cubicBezTo>
                    <a:pt x="1342" y="314"/>
                    <a:pt x="1785" y="0"/>
                    <a:pt x="2413" y="0"/>
                  </a:cubicBezTo>
                  <a:cubicBezTo>
                    <a:pt x="3342" y="0"/>
                    <a:pt x="3799" y="614"/>
                    <a:pt x="3799" y="1527"/>
                  </a:cubicBezTo>
                  <a:lnTo>
                    <a:pt x="3799" y="6353"/>
                  </a:lnTo>
                  <a:cubicBezTo>
                    <a:pt x="3799" y="7267"/>
                    <a:pt x="3342" y="7881"/>
                    <a:pt x="2413" y="7881"/>
                  </a:cubicBezTo>
                  <a:cubicBezTo>
                    <a:pt x="1785" y="7881"/>
                    <a:pt x="1342" y="7581"/>
                    <a:pt x="1085" y="7324"/>
                  </a:cubicBezTo>
                  <a:lnTo>
                    <a:pt x="1085" y="9811"/>
                  </a:lnTo>
                  <a:lnTo>
                    <a:pt x="0" y="9811"/>
                  </a:lnTo>
                  <a:lnTo>
                    <a:pt x="0" y="85"/>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endParaRPr lang="en-US"/>
            </a:p>
          </p:txBody>
        </p:sp>
        <p:sp>
          <p:nvSpPr>
            <p:cNvPr id="10" name="Freeform 3">
              <a:extLst>
                <a:ext uri="{FF2B5EF4-FFF2-40B4-BE49-F238E27FC236}">
                  <a16:creationId xmlns:a16="http://schemas.microsoft.com/office/drawing/2014/main" id="{07EBDC0C-009D-597B-C393-BE9CE866E63A}"/>
                </a:ext>
              </a:extLst>
            </p:cNvPr>
            <p:cNvSpPr>
              <a:spLocks noChangeArrowheads="1"/>
            </p:cNvSpPr>
            <p:nvPr/>
          </p:nvSpPr>
          <p:spPr bwMode="auto">
            <a:xfrm>
              <a:off x="4711700" y="2035175"/>
              <a:ext cx="1328738" cy="2836863"/>
            </a:xfrm>
            <a:custGeom>
              <a:avLst/>
              <a:gdLst>
                <a:gd name="T0" fmla="*/ 937679 w 3690"/>
                <a:gd name="T1" fmla="*/ 2338019 h 7882"/>
                <a:gd name="T2" fmla="*/ 937679 w 3690"/>
                <a:gd name="T3" fmla="*/ 1422750 h 7882"/>
                <a:gd name="T4" fmla="*/ 582988 w 3690"/>
                <a:gd name="T5" fmla="*/ 1556999 h 7882"/>
                <a:gd name="T6" fmla="*/ 392500 w 3690"/>
                <a:gd name="T7" fmla="*/ 1844573 h 7882"/>
                <a:gd name="T8" fmla="*/ 392500 w 3690"/>
                <a:gd name="T9" fmla="*/ 2266035 h 7882"/>
                <a:gd name="T10" fmla="*/ 582988 w 3690"/>
                <a:gd name="T11" fmla="*/ 2466149 h 7882"/>
                <a:gd name="T12" fmla="*/ 937679 w 3690"/>
                <a:gd name="T13" fmla="*/ 2338019 h 7882"/>
                <a:gd name="T14" fmla="*/ 2161 w 3690"/>
                <a:gd name="T15" fmla="*/ 1839174 h 7882"/>
                <a:gd name="T16" fmla="*/ 413025 w 3690"/>
                <a:gd name="T17" fmla="*/ 1253950 h 7882"/>
                <a:gd name="T18" fmla="*/ 937679 w 3690"/>
                <a:gd name="T19" fmla="*/ 1073991 h 7882"/>
                <a:gd name="T20" fmla="*/ 937679 w 3690"/>
                <a:gd name="T21" fmla="*/ 611498 h 7882"/>
                <a:gd name="T22" fmla="*/ 690656 w 3690"/>
                <a:gd name="T23" fmla="*/ 359557 h 7882"/>
                <a:gd name="T24" fmla="*/ 627280 w 3690"/>
                <a:gd name="T25" fmla="*/ 359557 h 7882"/>
                <a:gd name="T26" fmla="*/ 380257 w 3690"/>
                <a:gd name="T27" fmla="*/ 611498 h 7882"/>
                <a:gd name="T28" fmla="*/ 380257 w 3690"/>
                <a:gd name="T29" fmla="*/ 1004527 h 7882"/>
                <a:gd name="T30" fmla="*/ 0 w 3690"/>
                <a:gd name="T31" fmla="*/ 1004527 h 7882"/>
                <a:gd name="T32" fmla="*/ 0 w 3690"/>
                <a:gd name="T33" fmla="*/ 626975 h 7882"/>
                <a:gd name="T34" fmla="*/ 627280 w 3690"/>
                <a:gd name="T35" fmla="*/ 0 h 7882"/>
                <a:gd name="T36" fmla="*/ 701098 w 3690"/>
                <a:gd name="T37" fmla="*/ 0 h 7882"/>
                <a:gd name="T38" fmla="*/ 1328378 w 3690"/>
                <a:gd name="T39" fmla="*/ 626975 h 7882"/>
                <a:gd name="T40" fmla="*/ 1328378 w 3690"/>
                <a:gd name="T41" fmla="*/ 2805550 h 7882"/>
                <a:gd name="T42" fmla="*/ 937679 w 3690"/>
                <a:gd name="T43" fmla="*/ 2805550 h 7882"/>
                <a:gd name="T44" fmla="*/ 937679 w 3690"/>
                <a:gd name="T45" fmla="*/ 2630631 h 7882"/>
                <a:gd name="T46" fmla="*/ 459477 w 3690"/>
                <a:gd name="T47" fmla="*/ 2836503 h 7882"/>
                <a:gd name="T48" fmla="*/ 2161 w 3690"/>
                <a:gd name="T49" fmla="*/ 2348096 h 7882"/>
                <a:gd name="T50" fmla="*/ 2161 w 3690"/>
                <a:gd name="T51" fmla="*/ 1839174 h 7882"/>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3690" h="7882">
                  <a:moveTo>
                    <a:pt x="2604" y="6496"/>
                  </a:moveTo>
                  <a:lnTo>
                    <a:pt x="2604" y="3953"/>
                  </a:lnTo>
                  <a:lnTo>
                    <a:pt x="1619" y="4326"/>
                  </a:lnTo>
                  <a:cubicBezTo>
                    <a:pt x="1219" y="4483"/>
                    <a:pt x="1090" y="4683"/>
                    <a:pt x="1090" y="5125"/>
                  </a:cubicBezTo>
                  <a:lnTo>
                    <a:pt x="1090" y="6296"/>
                  </a:lnTo>
                  <a:cubicBezTo>
                    <a:pt x="1090" y="6667"/>
                    <a:pt x="1276" y="6852"/>
                    <a:pt x="1619" y="6852"/>
                  </a:cubicBezTo>
                  <a:cubicBezTo>
                    <a:pt x="1947" y="6852"/>
                    <a:pt x="2247" y="6738"/>
                    <a:pt x="2604" y="6496"/>
                  </a:cubicBezTo>
                  <a:close/>
                  <a:moveTo>
                    <a:pt x="6" y="5110"/>
                  </a:moveTo>
                  <a:cubicBezTo>
                    <a:pt x="6" y="4155"/>
                    <a:pt x="320" y="3769"/>
                    <a:pt x="1147" y="3484"/>
                  </a:cubicBezTo>
                  <a:lnTo>
                    <a:pt x="2604" y="2984"/>
                  </a:lnTo>
                  <a:lnTo>
                    <a:pt x="2604" y="1699"/>
                  </a:lnTo>
                  <a:cubicBezTo>
                    <a:pt x="2604" y="1242"/>
                    <a:pt x="2375" y="999"/>
                    <a:pt x="1918" y="999"/>
                  </a:cubicBezTo>
                  <a:lnTo>
                    <a:pt x="1742" y="999"/>
                  </a:lnTo>
                  <a:cubicBezTo>
                    <a:pt x="1285" y="999"/>
                    <a:pt x="1056" y="1242"/>
                    <a:pt x="1056" y="1699"/>
                  </a:cubicBezTo>
                  <a:lnTo>
                    <a:pt x="1056" y="2791"/>
                  </a:lnTo>
                  <a:lnTo>
                    <a:pt x="0" y="2791"/>
                  </a:lnTo>
                  <a:lnTo>
                    <a:pt x="0" y="1742"/>
                  </a:lnTo>
                  <a:cubicBezTo>
                    <a:pt x="0" y="585"/>
                    <a:pt x="586" y="0"/>
                    <a:pt x="1742" y="0"/>
                  </a:cubicBezTo>
                  <a:lnTo>
                    <a:pt x="1947" y="0"/>
                  </a:lnTo>
                  <a:cubicBezTo>
                    <a:pt x="3104" y="0"/>
                    <a:pt x="3689" y="585"/>
                    <a:pt x="3689" y="1742"/>
                  </a:cubicBezTo>
                  <a:lnTo>
                    <a:pt x="3689" y="7795"/>
                  </a:lnTo>
                  <a:lnTo>
                    <a:pt x="2604" y="7795"/>
                  </a:lnTo>
                  <a:lnTo>
                    <a:pt x="2604" y="7309"/>
                  </a:lnTo>
                  <a:cubicBezTo>
                    <a:pt x="2304" y="7595"/>
                    <a:pt x="1904" y="7881"/>
                    <a:pt x="1276" y="7881"/>
                  </a:cubicBezTo>
                  <a:cubicBezTo>
                    <a:pt x="406" y="7881"/>
                    <a:pt x="6" y="7381"/>
                    <a:pt x="6" y="6524"/>
                  </a:cubicBezTo>
                  <a:lnTo>
                    <a:pt x="6" y="5110"/>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endParaRPr lang="en-US"/>
            </a:p>
          </p:txBody>
        </p:sp>
        <p:sp>
          <p:nvSpPr>
            <p:cNvPr id="11" name="Freeform 4">
              <a:extLst>
                <a:ext uri="{FF2B5EF4-FFF2-40B4-BE49-F238E27FC236}">
                  <a16:creationId xmlns:a16="http://schemas.microsoft.com/office/drawing/2014/main" id="{18DBBD56-F026-3526-30A2-10135A68A1C3}"/>
                </a:ext>
              </a:extLst>
            </p:cNvPr>
            <p:cNvSpPr>
              <a:spLocks noChangeArrowheads="1"/>
            </p:cNvSpPr>
            <p:nvPr/>
          </p:nvSpPr>
          <p:spPr bwMode="auto">
            <a:xfrm>
              <a:off x="6292850" y="2035175"/>
              <a:ext cx="2262188" cy="2806700"/>
            </a:xfrm>
            <a:custGeom>
              <a:avLst/>
              <a:gdLst>
                <a:gd name="T0" fmla="*/ 1326358 w 6285"/>
                <a:gd name="T1" fmla="*/ 2806340 h 7796"/>
                <a:gd name="T2" fmla="*/ 935470 w 6285"/>
                <a:gd name="T3" fmla="*/ 2806340 h 7796"/>
                <a:gd name="T4" fmla="*/ 935470 w 6285"/>
                <a:gd name="T5" fmla="*/ 570628 h 7796"/>
                <a:gd name="T6" fmla="*/ 750463 w 6285"/>
                <a:gd name="T7" fmla="*/ 370098 h 7796"/>
                <a:gd name="T8" fmla="*/ 390889 w 6285"/>
                <a:gd name="T9" fmla="*/ 508705 h 7796"/>
                <a:gd name="T10" fmla="*/ 390889 w 6285"/>
                <a:gd name="T11" fmla="*/ 2806340 h 7796"/>
                <a:gd name="T12" fmla="*/ 0 w 6285"/>
                <a:gd name="T13" fmla="*/ 2806340 h 7796"/>
                <a:gd name="T14" fmla="*/ 0 w 6285"/>
                <a:gd name="T15" fmla="*/ 30602 h 7796"/>
                <a:gd name="T16" fmla="*/ 390889 w 6285"/>
                <a:gd name="T17" fmla="*/ 30602 h 7796"/>
                <a:gd name="T18" fmla="*/ 390889 w 6285"/>
                <a:gd name="T19" fmla="*/ 210611 h 7796"/>
                <a:gd name="T20" fmla="*/ 868882 w 6285"/>
                <a:gd name="T21" fmla="*/ 0 h 7796"/>
                <a:gd name="T22" fmla="*/ 1274888 w 6285"/>
                <a:gd name="T23" fmla="*/ 226091 h 7796"/>
                <a:gd name="T24" fmla="*/ 1804351 w 6285"/>
                <a:gd name="T25" fmla="*/ 0 h 7796"/>
                <a:gd name="T26" fmla="*/ 2261828 w 6285"/>
                <a:gd name="T27" fmla="*/ 488184 h 7796"/>
                <a:gd name="T28" fmla="*/ 2261828 w 6285"/>
                <a:gd name="T29" fmla="*/ 2806340 h 7796"/>
                <a:gd name="T30" fmla="*/ 1870939 w 6285"/>
                <a:gd name="T31" fmla="*/ 2806340 h 7796"/>
                <a:gd name="T32" fmla="*/ 1870939 w 6285"/>
                <a:gd name="T33" fmla="*/ 570628 h 7796"/>
                <a:gd name="T34" fmla="*/ 1685933 w 6285"/>
                <a:gd name="T35" fmla="*/ 370098 h 7796"/>
                <a:gd name="T36" fmla="*/ 1326358 w 6285"/>
                <a:gd name="T37" fmla="*/ 508705 h 7796"/>
                <a:gd name="T38" fmla="*/ 1326358 w 6285"/>
                <a:gd name="T39" fmla="*/ 2806340 h 779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6285" h="7796">
                  <a:moveTo>
                    <a:pt x="3685" y="7795"/>
                  </a:moveTo>
                  <a:lnTo>
                    <a:pt x="2599" y="7795"/>
                  </a:lnTo>
                  <a:lnTo>
                    <a:pt x="2599" y="1585"/>
                  </a:lnTo>
                  <a:cubicBezTo>
                    <a:pt x="2599" y="1199"/>
                    <a:pt x="2414" y="1028"/>
                    <a:pt x="2085" y="1028"/>
                  </a:cubicBezTo>
                  <a:cubicBezTo>
                    <a:pt x="1785" y="1028"/>
                    <a:pt x="1471" y="1142"/>
                    <a:pt x="1086" y="1413"/>
                  </a:cubicBezTo>
                  <a:lnTo>
                    <a:pt x="1086" y="7795"/>
                  </a:lnTo>
                  <a:lnTo>
                    <a:pt x="0" y="7795"/>
                  </a:lnTo>
                  <a:lnTo>
                    <a:pt x="0" y="85"/>
                  </a:lnTo>
                  <a:lnTo>
                    <a:pt x="1086" y="85"/>
                  </a:lnTo>
                  <a:lnTo>
                    <a:pt x="1086" y="585"/>
                  </a:lnTo>
                  <a:cubicBezTo>
                    <a:pt x="1400" y="285"/>
                    <a:pt x="1814" y="0"/>
                    <a:pt x="2414" y="0"/>
                  </a:cubicBezTo>
                  <a:cubicBezTo>
                    <a:pt x="2971" y="0"/>
                    <a:pt x="3342" y="228"/>
                    <a:pt x="3542" y="628"/>
                  </a:cubicBezTo>
                  <a:cubicBezTo>
                    <a:pt x="3928" y="299"/>
                    <a:pt x="4385" y="0"/>
                    <a:pt x="5013" y="0"/>
                  </a:cubicBezTo>
                  <a:cubicBezTo>
                    <a:pt x="5855" y="0"/>
                    <a:pt x="6284" y="514"/>
                    <a:pt x="6284" y="1356"/>
                  </a:cubicBezTo>
                  <a:lnTo>
                    <a:pt x="6284" y="7795"/>
                  </a:lnTo>
                  <a:lnTo>
                    <a:pt x="5198" y="7795"/>
                  </a:lnTo>
                  <a:lnTo>
                    <a:pt x="5198" y="1585"/>
                  </a:lnTo>
                  <a:cubicBezTo>
                    <a:pt x="5198" y="1199"/>
                    <a:pt x="5013" y="1028"/>
                    <a:pt x="4684" y="1028"/>
                  </a:cubicBezTo>
                  <a:cubicBezTo>
                    <a:pt x="4385" y="1028"/>
                    <a:pt x="4070" y="1142"/>
                    <a:pt x="3685" y="1413"/>
                  </a:cubicBezTo>
                  <a:lnTo>
                    <a:pt x="3685" y="7795"/>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endParaRPr lang="en-US"/>
            </a:p>
          </p:txBody>
        </p:sp>
        <p:sp>
          <p:nvSpPr>
            <p:cNvPr id="12" name="Freeform 5">
              <a:extLst>
                <a:ext uri="{FF2B5EF4-FFF2-40B4-BE49-F238E27FC236}">
                  <a16:creationId xmlns:a16="http://schemas.microsoft.com/office/drawing/2014/main" id="{EB133BC4-4E94-555D-A9E6-3B2D7311840F}"/>
                </a:ext>
              </a:extLst>
            </p:cNvPr>
            <p:cNvSpPr>
              <a:spLocks noChangeArrowheads="1"/>
            </p:cNvSpPr>
            <p:nvPr/>
          </p:nvSpPr>
          <p:spPr bwMode="auto">
            <a:xfrm>
              <a:off x="14288" y="2322513"/>
              <a:ext cx="1004887" cy="2274887"/>
            </a:xfrm>
            <a:custGeom>
              <a:avLst/>
              <a:gdLst>
                <a:gd name="T0" fmla="*/ 1004527 w 2790"/>
                <a:gd name="T1" fmla="*/ 0 h 6317"/>
                <a:gd name="T2" fmla="*/ 1004527 w 2790"/>
                <a:gd name="T3" fmla="*/ 510652 h 6317"/>
                <a:gd name="T4" fmla="*/ 346488 w 2790"/>
                <a:gd name="T5" fmla="*/ 1137624 h 6317"/>
                <a:gd name="T6" fmla="*/ 1004527 w 2790"/>
                <a:gd name="T7" fmla="*/ 1752711 h 6317"/>
                <a:gd name="T8" fmla="*/ 1004527 w 2790"/>
                <a:gd name="T9" fmla="*/ 2274527 h 6317"/>
                <a:gd name="T10" fmla="*/ 0 w 2790"/>
                <a:gd name="T11" fmla="*/ 1331009 h 6317"/>
                <a:gd name="T12" fmla="*/ 0 w 2790"/>
                <a:gd name="T13" fmla="*/ 955042 h 6317"/>
                <a:gd name="T14" fmla="*/ 1004527 w 2790"/>
                <a:gd name="T15" fmla="*/ 0 h 6317"/>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2790" h="6317">
                  <a:moveTo>
                    <a:pt x="2789" y="0"/>
                  </a:moveTo>
                  <a:lnTo>
                    <a:pt x="2789" y="1418"/>
                  </a:lnTo>
                  <a:lnTo>
                    <a:pt x="962" y="3159"/>
                  </a:lnTo>
                  <a:lnTo>
                    <a:pt x="2789" y="4867"/>
                  </a:lnTo>
                  <a:lnTo>
                    <a:pt x="2789" y="6316"/>
                  </a:lnTo>
                  <a:lnTo>
                    <a:pt x="0" y="3696"/>
                  </a:lnTo>
                  <a:lnTo>
                    <a:pt x="0" y="2652"/>
                  </a:lnTo>
                  <a:lnTo>
                    <a:pt x="2789"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endParaRPr lang="en-US"/>
            </a:p>
          </p:txBody>
        </p:sp>
        <p:sp>
          <p:nvSpPr>
            <p:cNvPr id="13" name="Freeform 6">
              <a:extLst>
                <a:ext uri="{FF2B5EF4-FFF2-40B4-BE49-F238E27FC236}">
                  <a16:creationId xmlns:a16="http://schemas.microsoft.com/office/drawing/2014/main" id="{2814815F-AA55-F654-73E5-F17D5918479C}"/>
                </a:ext>
              </a:extLst>
            </p:cNvPr>
            <p:cNvSpPr>
              <a:spLocks noChangeArrowheads="1"/>
            </p:cNvSpPr>
            <p:nvPr/>
          </p:nvSpPr>
          <p:spPr bwMode="auto">
            <a:xfrm>
              <a:off x="9050338" y="2322513"/>
              <a:ext cx="1003300" cy="2274887"/>
            </a:xfrm>
            <a:custGeom>
              <a:avLst/>
              <a:gdLst>
                <a:gd name="T0" fmla="*/ 1002940 w 2789"/>
                <a:gd name="T1" fmla="*/ 955042 h 6317"/>
                <a:gd name="T2" fmla="*/ 1002940 w 2789"/>
                <a:gd name="T3" fmla="*/ 1331009 h 6317"/>
                <a:gd name="T4" fmla="*/ 0 w 2789"/>
                <a:gd name="T5" fmla="*/ 2274527 h 6317"/>
                <a:gd name="T6" fmla="*/ 0 w 2789"/>
                <a:gd name="T7" fmla="*/ 1752711 h 6317"/>
                <a:gd name="T8" fmla="*/ 656876 w 2789"/>
                <a:gd name="T9" fmla="*/ 1137624 h 6317"/>
                <a:gd name="T10" fmla="*/ 0 w 2789"/>
                <a:gd name="T11" fmla="*/ 510652 h 6317"/>
                <a:gd name="T12" fmla="*/ 0 w 2789"/>
                <a:gd name="T13" fmla="*/ 0 h 6317"/>
                <a:gd name="T14" fmla="*/ 1002940 w 2789"/>
                <a:gd name="T15" fmla="*/ 955042 h 6317"/>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2789" h="6317">
                  <a:moveTo>
                    <a:pt x="2788" y="2652"/>
                  </a:moveTo>
                  <a:lnTo>
                    <a:pt x="2788" y="3696"/>
                  </a:lnTo>
                  <a:lnTo>
                    <a:pt x="0" y="6316"/>
                  </a:lnTo>
                  <a:lnTo>
                    <a:pt x="0" y="4867"/>
                  </a:lnTo>
                  <a:lnTo>
                    <a:pt x="1826" y="3159"/>
                  </a:lnTo>
                  <a:lnTo>
                    <a:pt x="0" y="1418"/>
                  </a:lnTo>
                  <a:lnTo>
                    <a:pt x="0" y="0"/>
                  </a:lnTo>
                  <a:lnTo>
                    <a:pt x="2788" y="2652"/>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endParaRPr lang="en-US"/>
            </a:p>
          </p:txBody>
        </p:sp>
      </p:grpSp>
      <p:sp>
        <p:nvSpPr>
          <p:cNvPr id="14" name="Footer Placeholder 14">
            <a:extLst>
              <a:ext uri="{FF2B5EF4-FFF2-40B4-BE49-F238E27FC236}">
                <a16:creationId xmlns:a16="http://schemas.microsoft.com/office/drawing/2014/main" id="{2DE61908-417F-CEF7-9D24-CD11F35F13A3}"/>
              </a:ext>
            </a:extLst>
          </p:cNvPr>
          <p:cNvSpPr txBox="1">
            <a:spLocks/>
          </p:cNvSpPr>
          <p:nvPr userDrawn="1"/>
        </p:nvSpPr>
        <p:spPr>
          <a:xfrm>
            <a:off x="1206203" y="6411603"/>
            <a:ext cx="2157779" cy="228599"/>
          </a:xfrm>
          <a:prstGeom prst="rect">
            <a:avLst/>
          </a:prstGeom>
        </p:spPr>
        <p:txBody>
          <a:bodyPr vert="horz" lIns="0" tIns="0" rIns="0" bIns="0" rtlCol="0" anchor="ctr"/>
          <a:lstStyle>
            <a:defPPr>
              <a:defRPr lang="en-US"/>
            </a:defPPr>
            <a:lvl1pPr marL="0" algn="r" defTabSz="914400" rtl="0" eaLnBrk="1" latinLnBrk="0" hangingPunct="1">
              <a:defRPr sz="600" b="0" i="0" kern="1200">
                <a:solidFill>
                  <a:schemeClr val="tx1"/>
                </a:solidFill>
                <a:latin typeface="+mn-lt"/>
                <a:ea typeface="Calibri" panose="020F0502020204030204" pitchFamily="34" charset="0"/>
                <a:cs typeface="Calibri" panose="020F050202020403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b="0" i="0">
                <a:solidFill>
                  <a:schemeClr val="bg1"/>
                </a:solidFill>
                <a:latin typeface="+mn-lt"/>
              </a:rPr>
              <a:t>EPAM Proprietary &amp; Confidential</a:t>
            </a:r>
            <a:r>
              <a:rPr lang="ru-RU" b="0" i="0">
                <a:solidFill>
                  <a:schemeClr val="bg1"/>
                </a:solidFill>
                <a:latin typeface="+mn-lt"/>
              </a:rPr>
              <a:t> </a:t>
            </a:r>
            <a:endParaRPr lang="en-US" b="0" i="0">
              <a:solidFill>
                <a:schemeClr val="bg1"/>
              </a:solidFill>
              <a:latin typeface="+mn-lt"/>
            </a:endParaRPr>
          </a:p>
        </p:txBody>
      </p:sp>
      <p:pic>
        <p:nvPicPr>
          <p:cNvPr id="19" name="Graphic 18">
            <a:extLst>
              <a:ext uri="{FF2B5EF4-FFF2-40B4-BE49-F238E27FC236}">
                <a16:creationId xmlns:a16="http://schemas.microsoft.com/office/drawing/2014/main" id="{E0F194EA-5CE0-D750-9220-65C13B67F418}"/>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820266" y="6419060"/>
            <a:ext cx="762921" cy="205636"/>
          </a:xfrm>
          <a:prstGeom prst="rect">
            <a:avLst/>
          </a:prstGeom>
        </p:spPr>
      </p:pic>
    </p:spTree>
    <p:extLst>
      <p:ext uri="{BB962C8B-B14F-4D97-AF65-F5344CB8AC3E}">
        <p14:creationId xmlns:p14="http://schemas.microsoft.com/office/powerpoint/2010/main" val="3004656400"/>
      </p:ext>
    </p:extLst>
  </p:cSld>
  <p:clrMapOvr>
    <a:masterClrMapping/>
  </p:clrMapOvr>
  <p:extLst>
    <p:ext uri="{DCECCB84-F9BA-43D5-87BE-67443E8EF086}">
      <p15:sldGuideLst xmlns:p15="http://schemas.microsoft.com/office/powerpoint/2012/main"/>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_Quote+Image_Black">
    <p:bg>
      <p:bgPr>
        <a:solidFill>
          <a:schemeClr val="bg1"/>
        </a:solidFill>
        <a:effectLst/>
      </p:bgPr>
    </p:bg>
    <p:spTree>
      <p:nvGrpSpPr>
        <p:cNvPr id="1" name=""/>
        <p:cNvGrpSpPr/>
        <p:nvPr/>
      </p:nvGrpSpPr>
      <p:grpSpPr>
        <a:xfrm>
          <a:off x="0" y="0"/>
          <a:ext cx="0" cy="0"/>
          <a:chOff x="0" y="0"/>
          <a:chExt cx="0" cy="0"/>
        </a:xfrm>
      </p:grpSpPr>
      <p:sp>
        <p:nvSpPr>
          <p:cNvPr id="11" name="Title 2">
            <a:extLst>
              <a:ext uri="{FF2B5EF4-FFF2-40B4-BE49-F238E27FC236}">
                <a16:creationId xmlns:a16="http://schemas.microsoft.com/office/drawing/2014/main" id="{E4D0B811-ED8A-9D55-BC17-49A3393806F6}"/>
              </a:ext>
            </a:extLst>
          </p:cNvPr>
          <p:cNvSpPr>
            <a:spLocks noGrp="1"/>
          </p:cNvSpPr>
          <p:nvPr>
            <p:ph type="title" hasCustomPrompt="1"/>
          </p:nvPr>
        </p:nvSpPr>
        <p:spPr>
          <a:xfrm>
            <a:off x="5091684" y="1455006"/>
            <a:ext cx="6452616" cy="2215991"/>
          </a:xfrm>
          <a:prstGeom prst="rect">
            <a:avLst/>
          </a:prstGeom>
        </p:spPr>
        <p:txBody>
          <a:bodyPr wrap="square">
            <a:spAutoFit/>
          </a:bodyPr>
          <a:lstStyle>
            <a:lvl1pPr>
              <a:defRPr sz="3600" b="1" i="0">
                <a:solidFill>
                  <a:schemeClr val="tx1"/>
                </a:solidFill>
                <a:latin typeface="Calibri" panose="020F0502020204030204" pitchFamily="34" charset="0"/>
                <a:cs typeface="Calibri" panose="020F0502020204030204" pitchFamily="34" charset="0"/>
              </a:defRPr>
            </a:lvl1pPr>
          </a:lstStyle>
          <a:p>
            <a:r>
              <a:rPr lang="en-US"/>
              <a:t>Sometimes you need to add a slightly longer quote. Sometimes you need to add a slightly longer quote.”</a:t>
            </a:r>
          </a:p>
        </p:txBody>
      </p:sp>
      <p:sp>
        <p:nvSpPr>
          <p:cNvPr id="12" name="Text Placeholder 4">
            <a:extLst>
              <a:ext uri="{FF2B5EF4-FFF2-40B4-BE49-F238E27FC236}">
                <a16:creationId xmlns:a16="http://schemas.microsoft.com/office/drawing/2014/main" id="{715767D7-CA92-A238-92D2-5F669365D486}"/>
              </a:ext>
            </a:extLst>
          </p:cNvPr>
          <p:cNvSpPr>
            <a:spLocks noGrp="1"/>
          </p:cNvSpPr>
          <p:nvPr>
            <p:ph type="body" sz="quarter" idx="16" hasCustomPrompt="1"/>
          </p:nvPr>
        </p:nvSpPr>
        <p:spPr>
          <a:xfrm>
            <a:off x="5091683" y="4434840"/>
            <a:ext cx="4554537" cy="507831"/>
          </a:xfrm>
          <a:prstGeom prst="rect">
            <a:avLst/>
          </a:prstGeom>
        </p:spPr>
        <p:txBody>
          <a:bodyPr wrap="square" anchor="t" anchorCtr="0">
            <a:spAutoFit/>
          </a:bodyPr>
          <a:lstStyle>
            <a:lvl1pPr>
              <a:defRPr sz="1400" b="1" i="0">
                <a:solidFill>
                  <a:schemeClr val="tx1"/>
                </a:solidFill>
                <a:latin typeface="Calibri" panose="020F0502020204030204" pitchFamily="34" charset="0"/>
                <a:cs typeface="Calibri" panose="020F0502020204030204" pitchFamily="34" charset="0"/>
              </a:defRPr>
            </a:lvl1pPr>
          </a:lstStyle>
          <a:p>
            <a:pPr lvl="0"/>
            <a:r>
              <a:rPr lang="en-US" err="1"/>
              <a:t>Firstname</a:t>
            </a:r>
            <a:r>
              <a:rPr lang="en-US"/>
              <a:t> </a:t>
            </a:r>
            <a:r>
              <a:rPr lang="en-US" err="1"/>
              <a:t>Lastname</a:t>
            </a:r>
            <a:endParaRPr lang="en-US"/>
          </a:p>
          <a:p>
            <a:pPr lvl="0"/>
            <a:r>
              <a:rPr lang="en-US"/>
              <a:t>Job Title, Company</a:t>
            </a:r>
          </a:p>
        </p:txBody>
      </p:sp>
      <p:sp>
        <p:nvSpPr>
          <p:cNvPr id="13" name="Picture Placeholder 8">
            <a:extLst>
              <a:ext uri="{FF2B5EF4-FFF2-40B4-BE49-F238E27FC236}">
                <a16:creationId xmlns:a16="http://schemas.microsoft.com/office/drawing/2014/main" id="{93D416F1-8A75-DCD6-2A1A-B16BE09ABC02}"/>
              </a:ext>
            </a:extLst>
          </p:cNvPr>
          <p:cNvSpPr>
            <a:spLocks noGrp="1"/>
          </p:cNvSpPr>
          <p:nvPr>
            <p:ph type="pic" sz="quarter" idx="26"/>
          </p:nvPr>
        </p:nvSpPr>
        <p:spPr>
          <a:xfrm>
            <a:off x="627063" y="1562100"/>
            <a:ext cx="3726051" cy="4100476"/>
          </a:xfrm>
          <a:prstGeom prst="rect">
            <a:avLst/>
          </a:prstGeom>
        </p:spPr>
        <p:txBody>
          <a:bodyPr/>
          <a:lstStyle>
            <a:lvl1pPr>
              <a:defRPr>
                <a:solidFill>
                  <a:schemeClr val="tx1"/>
                </a:solidFill>
              </a:defRPr>
            </a:lvl1pPr>
          </a:lstStyle>
          <a:p>
            <a:endParaRPr lang="en-US"/>
          </a:p>
        </p:txBody>
      </p:sp>
      <p:sp>
        <p:nvSpPr>
          <p:cNvPr id="14" name="Title 2">
            <a:extLst>
              <a:ext uri="{FF2B5EF4-FFF2-40B4-BE49-F238E27FC236}">
                <a16:creationId xmlns:a16="http://schemas.microsoft.com/office/drawing/2014/main" id="{8EB1EBBF-7474-72D1-50C0-54A45DCBFB2E}"/>
              </a:ext>
            </a:extLst>
          </p:cNvPr>
          <p:cNvSpPr txBox="1">
            <a:spLocks/>
          </p:cNvSpPr>
          <p:nvPr userDrawn="1"/>
        </p:nvSpPr>
        <p:spPr>
          <a:xfrm>
            <a:off x="4772719" y="1455006"/>
            <a:ext cx="294582" cy="553998"/>
          </a:xfrm>
          <a:prstGeom prst="rect">
            <a:avLst/>
          </a:prstGeom>
        </p:spPr>
        <p:txBody>
          <a:bodyPr vert="horz" wrap="square" lIns="0" tIns="0" rIns="0" bIns="0" rtlCol="0" anchor="t">
            <a:spAutoFit/>
          </a:bodyPr>
          <a:lstStyle>
            <a:lvl1pPr algn="l" defTabSz="914400" rtl="0" eaLnBrk="1" latinLnBrk="0" hangingPunct="1">
              <a:lnSpc>
                <a:spcPct val="100000"/>
              </a:lnSpc>
              <a:spcBef>
                <a:spcPct val="0"/>
              </a:spcBef>
              <a:buNone/>
              <a:defRPr sz="3600" b="1" i="0" kern="1200">
                <a:solidFill>
                  <a:srgbClr val="000000"/>
                </a:solidFill>
                <a:latin typeface="Calibri" panose="020F0502020204030204" pitchFamily="34" charset="0"/>
                <a:ea typeface="Calibri Light" panose="020F0302020204030204" pitchFamily="34" charset="0"/>
                <a:cs typeface="Calibri" panose="020F0502020204030204" pitchFamily="34" charset="0"/>
              </a:defRPr>
            </a:lvl1pPr>
          </a:lstStyle>
          <a:p>
            <a:r>
              <a:rPr lang="en-US">
                <a:solidFill>
                  <a:schemeClr val="tx1"/>
                </a:solidFill>
              </a:rPr>
              <a:t>“</a:t>
            </a:r>
          </a:p>
        </p:txBody>
      </p:sp>
      <p:sp>
        <p:nvSpPr>
          <p:cNvPr id="3" name="Text Placeholder 10">
            <a:extLst>
              <a:ext uri="{FF2B5EF4-FFF2-40B4-BE49-F238E27FC236}">
                <a16:creationId xmlns:a16="http://schemas.microsoft.com/office/drawing/2014/main" id="{00C373F2-39D4-5FF7-946C-A7DC7E1B4664}"/>
              </a:ext>
            </a:extLst>
          </p:cNvPr>
          <p:cNvSpPr>
            <a:spLocks noGrp="1"/>
          </p:cNvSpPr>
          <p:nvPr>
            <p:ph type="body" sz="quarter" idx="37" hasCustomPrompt="1"/>
          </p:nvPr>
        </p:nvSpPr>
        <p:spPr>
          <a:xfrm>
            <a:off x="627063" y="419100"/>
            <a:ext cx="3725862" cy="225706"/>
          </a:xfrm>
          <a:prstGeom prst="rect">
            <a:avLst/>
          </a:prstGeom>
        </p:spPr>
        <p:txBody>
          <a:bodyPr vert="horz" lIns="0" tIns="0" rIns="0" bIns="0" rtlCol="0">
            <a:noAutofit/>
          </a:bodyPr>
          <a:lstStyle>
            <a:lvl1pPr>
              <a:defRPr lang="en-US" sz="1000" b="0" cap="all" spc="300" baseline="0">
                <a:solidFill>
                  <a:schemeClr val="tx1"/>
                </a:solidFill>
                <a:latin typeface="Calibri" panose="020F0502020204030204" pitchFamily="34" charset="0"/>
              </a:defRPr>
            </a:lvl1pPr>
          </a:lstStyle>
          <a:p>
            <a:pPr lvl="0"/>
            <a:r>
              <a:rPr lang="en-US"/>
              <a:t>Click to add section title</a:t>
            </a:r>
          </a:p>
        </p:txBody>
      </p:sp>
    </p:spTree>
    <p:extLst>
      <p:ext uri="{BB962C8B-B14F-4D97-AF65-F5344CB8AC3E}">
        <p14:creationId xmlns:p14="http://schemas.microsoft.com/office/powerpoint/2010/main" val="2835131677"/>
      </p:ext>
    </p:extLst>
  </p:cSld>
  <p:clrMapOvr>
    <a:masterClrMapping/>
  </p:clrMapOvr>
  <p:extLst>
    <p:ext uri="{DCECCB84-F9BA-43D5-87BE-67443E8EF086}">
      <p15:sldGuideLst xmlns:p15="http://schemas.microsoft.com/office/powerpoint/2012/main"/>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2_Quote+Image">
    <p:bg>
      <p:bgPr>
        <a:solidFill>
          <a:schemeClr val="tx1"/>
        </a:solidFill>
        <a:effectLst/>
      </p:bgPr>
    </p:bg>
    <p:spTree>
      <p:nvGrpSpPr>
        <p:cNvPr id="1" name=""/>
        <p:cNvGrpSpPr/>
        <p:nvPr/>
      </p:nvGrpSpPr>
      <p:grpSpPr>
        <a:xfrm>
          <a:off x="0" y="0"/>
          <a:ext cx="0" cy="0"/>
          <a:chOff x="0" y="0"/>
          <a:chExt cx="0" cy="0"/>
        </a:xfrm>
      </p:grpSpPr>
      <p:sp>
        <p:nvSpPr>
          <p:cNvPr id="11" name="Title 2">
            <a:extLst>
              <a:ext uri="{FF2B5EF4-FFF2-40B4-BE49-F238E27FC236}">
                <a16:creationId xmlns:a16="http://schemas.microsoft.com/office/drawing/2014/main" id="{E4D0B811-ED8A-9D55-BC17-49A3393806F6}"/>
              </a:ext>
            </a:extLst>
          </p:cNvPr>
          <p:cNvSpPr>
            <a:spLocks noGrp="1"/>
          </p:cNvSpPr>
          <p:nvPr>
            <p:ph type="title" hasCustomPrompt="1"/>
          </p:nvPr>
        </p:nvSpPr>
        <p:spPr>
          <a:xfrm>
            <a:off x="5091684" y="1455006"/>
            <a:ext cx="6452616" cy="2215991"/>
          </a:xfrm>
          <a:prstGeom prst="rect">
            <a:avLst/>
          </a:prstGeom>
        </p:spPr>
        <p:txBody>
          <a:bodyPr wrap="square">
            <a:spAutoFit/>
          </a:bodyPr>
          <a:lstStyle>
            <a:lvl1pPr>
              <a:defRPr sz="3600" b="1" i="0">
                <a:solidFill>
                  <a:schemeClr val="bg1"/>
                </a:solidFill>
                <a:latin typeface="Calibri" panose="020F0502020204030204" pitchFamily="34" charset="0"/>
                <a:cs typeface="Calibri" panose="020F0502020204030204" pitchFamily="34" charset="0"/>
              </a:defRPr>
            </a:lvl1pPr>
          </a:lstStyle>
          <a:p>
            <a:r>
              <a:rPr lang="en-US"/>
              <a:t>Sometimes you need to add a slightly longer quote. Sometimes you need to add a slightly longer quote.”</a:t>
            </a:r>
          </a:p>
        </p:txBody>
      </p:sp>
      <p:sp>
        <p:nvSpPr>
          <p:cNvPr id="12" name="Text Placeholder 4">
            <a:extLst>
              <a:ext uri="{FF2B5EF4-FFF2-40B4-BE49-F238E27FC236}">
                <a16:creationId xmlns:a16="http://schemas.microsoft.com/office/drawing/2014/main" id="{715767D7-CA92-A238-92D2-5F669365D486}"/>
              </a:ext>
            </a:extLst>
          </p:cNvPr>
          <p:cNvSpPr>
            <a:spLocks noGrp="1"/>
          </p:cNvSpPr>
          <p:nvPr>
            <p:ph type="body" sz="quarter" idx="16" hasCustomPrompt="1"/>
          </p:nvPr>
        </p:nvSpPr>
        <p:spPr>
          <a:xfrm>
            <a:off x="5091683" y="4434840"/>
            <a:ext cx="4554537" cy="538994"/>
          </a:xfrm>
          <a:prstGeom prst="rect">
            <a:avLst/>
          </a:prstGeom>
        </p:spPr>
        <p:txBody>
          <a:bodyPr wrap="square" anchor="t" anchorCtr="0">
            <a:spAutoFit/>
          </a:bodyPr>
          <a:lstStyle>
            <a:lvl1pPr>
              <a:defRPr sz="1400" b="1" i="0">
                <a:solidFill>
                  <a:schemeClr val="bg1"/>
                </a:solidFill>
                <a:latin typeface="Calibri" panose="020F0502020204030204" pitchFamily="34" charset="0"/>
                <a:cs typeface="Calibri" panose="020F0502020204030204" pitchFamily="34" charset="0"/>
              </a:defRPr>
            </a:lvl1pPr>
          </a:lstStyle>
          <a:p>
            <a:pPr lvl="0"/>
            <a:r>
              <a:rPr lang="en-US" err="1"/>
              <a:t>Firstname</a:t>
            </a:r>
            <a:r>
              <a:rPr lang="en-US"/>
              <a:t> </a:t>
            </a:r>
            <a:r>
              <a:rPr lang="en-US" err="1"/>
              <a:t>Lastname</a:t>
            </a:r>
            <a:endParaRPr lang="en-US"/>
          </a:p>
          <a:p>
            <a:pPr lvl="0"/>
            <a:r>
              <a:rPr lang="en-US"/>
              <a:t>Job Title, Company</a:t>
            </a:r>
          </a:p>
        </p:txBody>
      </p:sp>
      <p:sp>
        <p:nvSpPr>
          <p:cNvPr id="13" name="Picture Placeholder 8">
            <a:extLst>
              <a:ext uri="{FF2B5EF4-FFF2-40B4-BE49-F238E27FC236}">
                <a16:creationId xmlns:a16="http://schemas.microsoft.com/office/drawing/2014/main" id="{93D416F1-8A75-DCD6-2A1A-B16BE09ABC02}"/>
              </a:ext>
            </a:extLst>
          </p:cNvPr>
          <p:cNvSpPr>
            <a:spLocks noGrp="1"/>
          </p:cNvSpPr>
          <p:nvPr>
            <p:ph type="pic" sz="quarter" idx="26"/>
          </p:nvPr>
        </p:nvSpPr>
        <p:spPr>
          <a:xfrm>
            <a:off x="627063" y="1562100"/>
            <a:ext cx="3726051" cy="4100476"/>
          </a:xfrm>
          <a:prstGeom prst="rect">
            <a:avLst/>
          </a:prstGeom>
        </p:spPr>
        <p:txBody>
          <a:bodyPr/>
          <a:lstStyle>
            <a:lvl1pPr>
              <a:defRPr>
                <a:solidFill>
                  <a:schemeClr val="bg1"/>
                </a:solidFill>
              </a:defRPr>
            </a:lvl1pPr>
          </a:lstStyle>
          <a:p>
            <a:endParaRPr lang="en-US"/>
          </a:p>
        </p:txBody>
      </p:sp>
      <p:sp>
        <p:nvSpPr>
          <p:cNvPr id="14" name="Title 2">
            <a:extLst>
              <a:ext uri="{FF2B5EF4-FFF2-40B4-BE49-F238E27FC236}">
                <a16:creationId xmlns:a16="http://schemas.microsoft.com/office/drawing/2014/main" id="{8EB1EBBF-7474-72D1-50C0-54A45DCBFB2E}"/>
              </a:ext>
            </a:extLst>
          </p:cNvPr>
          <p:cNvSpPr txBox="1">
            <a:spLocks/>
          </p:cNvSpPr>
          <p:nvPr userDrawn="1"/>
        </p:nvSpPr>
        <p:spPr>
          <a:xfrm>
            <a:off x="4772719" y="1455006"/>
            <a:ext cx="294582" cy="553998"/>
          </a:xfrm>
          <a:prstGeom prst="rect">
            <a:avLst/>
          </a:prstGeom>
        </p:spPr>
        <p:txBody>
          <a:bodyPr vert="horz" wrap="square" lIns="0" tIns="0" rIns="0" bIns="0" rtlCol="0" anchor="t">
            <a:spAutoFit/>
          </a:bodyPr>
          <a:lstStyle>
            <a:lvl1pPr algn="l" defTabSz="914400" rtl="0" eaLnBrk="1" latinLnBrk="0" hangingPunct="1">
              <a:lnSpc>
                <a:spcPct val="100000"/>
              </a:lnSpc>
              <a:spcBef>
                <a:spcPct val="0"/>
              </a:spcBef>
              <a:buNone/>
              <a:defRPr sz="3600" b="1" i="0" kern="1200">
                <a:solidFill>
                  <a:srgbClr val="000000"/>
                </a:solidFill>
                <a:latin typeface="Calibri" panose="020F0502020204030204" pitchFamily="34" charset="0"/>
                <a:ea typeface="Calibri Light" panose="020F0302020204030204" pitchFamily="34" charset="0"/>
                <a:cs typeface="Calibri" panose="020F0502020204030204" pitchFamily="34" charset="0"/>
              </a:defRPr>
            </a:lvl1pPr>
          </a:lstStyle>
          <a:p>
            <a:r>
              <a:rPr lang="en-US">
                <a:solidFill>
                  <a:schemeClr val="bg1"/>
                </a:solidFill>
              </a:rPr>
              <a:t>“</a:t>
            </a:r>
          </a:p>
        </p:txBody>
      </p:sp>
      <p:sp>
        <p:nvSpPr>
          <p:cNvPr id="9" name="Text Placeholder 10">
            <a:extLst>
              <a:ext uri="{FF2B5EF4-FFF2-40B4-BE49-F238E27FC236}">
                <a16:creationId xmlns:a16="http://schemas.microsoft.com/office/drawing/2014/main" id="{D78226D6-C70F-7F41-A49D-D155A4650AC7}"/>
              </a:ext>
            </a:extLst>
          </p:cNvPr>
          <p:cNvSpPr>
            <a:spLocks noGrp="1"/>
          </p:cNvSpPr>
          <p:nvPr>
            <p:ph type="body" sz="quarter" idx="37" hasCustomPrompt="1"/>
          </p:nvPr>
        </p:nvSpPr>
        <p:spPr>
          <a:xfrm>
            <a:off x="627063" y="419100"/>
            <a:ext cx="3725862" cy="225706"/>
          </a:xfrm>
          <a:prstGeom prst="rect">
            <a:avLst/>
          </a:prstGeom>
        </p:spPr>
        <p:txBody>
          <a:bodyPr vert="horz" lIns="0" tIns="0" rIns="0" bIns="0" rtlCol="0">
            <a:noAutofit/>
          </a:bodyPr>
          <a:lstStyle>
            <a:lvl1pPr>
              <a:defRPr lang="en-US" sz="1000" b="0" cap="all" spc="300" baseline="0">
                <a:solidFill>
                  <a:schemeClr val="bg1"/>
                </a:solidFill>
                <a:latin typeface="Calibri" panose="020F0502020204030204" pitchFamily="34" charset="0"/>
              </a:defRPr>
            </a:lvl1pPr>
          </a:lstStyle>
          <a:p>
            <a:pPr lvl="0"/>
            <a:r>
              <a:rPr lang="en-US"/>
              <a:t>Click to add section title</a:t>
            </a:r>
          </a:p>
        </p:txBody>
      </p:sp>
      <p:sp>
        <p:nvSpPr>
          <p:cNvPr id="2" name="Footer Placeholder 14">
            <a:extLst>
              <a:ext uri="{FF2B5EF4-FFF2-40B4-BE49-F238E27FC236}">
                <a16:creationId xmlns:a16="http://schemas.microsoft.com/office/drawing/2014/main" id="{F1522DDD-A2B2-05F3-25E0-A7C39777D1F0}"/>
              </a:ext>
            </a:extLst>
          </p:cNvPr>
          <p:cNvSpPr txBox="1">
            <a:spLocks/>
          </p:cNvSpPr>
          <p:nvPr userDrawn="1"/>
        </p:nvSpPr>
        <p:spPr>
          <a:xfrm>
            <a:off x="1206203" y="6411603"/>
            <a:ext cx="2157779" cy="228599"/>
          </a:xfrm>
          <a:prstGeom prst="rect">
            <a:avLst/>
          </a:prstGeom>
        </p:spPr>
        <p:txBody>
          <a:bodyPr vert="horz" lIns="0" tIns="0" rIns="0" bIns="0" rtlCol="0" anchor="ctr"/>
          <a:lstStyle>
            <a:defPPr>
              <a:defRPr lang="en-US"/>
            </a:defPPr>
            <a:lvl1pPr marL="0" algn="r" defTabSz="914400" rtl="0" eaLnBrk="1" latinLnBrk="0" hangingPunct="1">
              <a:defRPr sz="600" b="0" i="0" kern="1200">
                <a:solidFill>
                  <a:schemeClr val="tx1"/>
                </a:solidFill>
                <a:latin typeface="+mn-lt"/>
                <a:ea typeface="Calibri" panose="020F0502020204030204" pitchFamily="34" charset="0"/>
                <a:cs typeface="Calibri" panose="020F050202020403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b="0" i="0">
                <a:solidFill>
                  <a:schemeClr val="bg1"/>
                </a:solidFill>
                <a:latin typeface="+mn-lt"/>
              </a:rPr>
              <a:t>EPAM Proprietary &amp; Confidential</a:t>
            </a:r>
            <a:r>
              <a:rPr lang="ru-RU" b="0" i="0">
                <a:solidFill>
                  <a:schemeClr val="bg1"/>
                </a:solidFill>
                <a:latin typeface="+mn-lt"/>
              </a:rPr>
              <a:t> </a:t>
            </a:r>
            <a:endParaRPr lang="en-US" b="0" i="0">
              <a:solidFill>
                <a:schemeClr val="bg1"/>
              </a:solidFill>
              <a:latin typeface="+mn-lt"/>
            </a:endParaRPr>
          </a:p>
        </p:txBody>
      </p:sp>
      <p:grpSp>
        <p:nvGrpSpPr>
          <p:cNvPr id="3" name="Group 2">
            <a:extLst>
              <a:ext uri="{FF2B5EF4-FFF2-40B4-BE49-F238E27FC236}">
                <a16:creationId xmlns:a16="http://schemas.microsoft.com/office/drawing/2014/main" id="{B934B262-231A-0590-32D2-EE6795299396}"/>
              </a:ext>
            </a:extLst>
          </p:cNvPr>
          <p:cNvGrpSpPr/>
          <p:nvPr userDrawn="1"/>
        </p:nvGrpSpPr>
        <p:grpSpPr>
          <a:xfrm>
            <a:off x="610888" y="6472556"/>
            <a:ext cx="372834" cy="131175"/>
            <a:chOff x="14288" y="2035175"/>
            <a:chExt cx="10039350" cy="3532188"/>
          </a:xfrm>
          <a:solidFill>
            <a:schemeClr val="bg1"/>
          </a:solidFill>
        </p:grpSpPr>
        <p:sp>
          <p:nvSpPr>
            <p:cNvPr id="4" name="Freeform 1">
              <a:extLst>
                <a:ext uri="{FF2B5EF4-FFF2-40B4-BE49-F238E27FC236}">
                  <a16:creationId xmlns:a16="http://schemas.microsoft.com/office/drawing/2014/main" id="{29421D12-8D8B-5325-92A5-7F5577536EDD}"/>
                </a:ext>
              </a:extLst>
            </p:cNvPr>
            <p:cNvSpPr>
              <a:spLocks noChangeArrowheads="1"/>
            </p:cNvSpPr>
            <p:nvPr/>
          </p:nvSpPr>
          <p:spPr bwMode="auto">
            <a:xfrm>
              <a:off x="1519238" y="2035175"/>
              <a:ext cx="1336675" cy="2836863"/>
            </a:xfrm>
            <a:custGeom>
              <a:avLst/>
              <a:gdLst>
                <a:gd name="T0" fmla="*/ 390493 w 3714"/>
                <a:gd name="T1" fmla="*/ 1200682 h 7882"/>
                <a:gd name="T2" fmla="*/ 945462 w 3714"/>
                <a:gd name="T3" fmla="*/ 1200682 h 7882"/>
                <a:gd name="T4" fmla="*/ 945462 w 3714"/>
                <a:gd name="T5" fmla="*/ 611498 h 7882"/>
                <a:gd name="T6" fmla="*/ 698929 w 3714"/>
                <a:gd name="T7" fmla="*/ 364596 h 7882"/>
                <a:gd name="T8" fmla="*/ 637386 w 3714"/>
                <a:gd name="T9" fmla="*/ 364596 h 7882"/>
                <a:gd name="T10" fmla="*/ 390493 w 3714"/>
                <a:gd name="T11" fmla="*/ 611498 h 7882"/>
                <a:gd name="T12" fmla="*/ 390493 w 3714"/>
                <a:gd name="T13" fmla="*/ 1200682 h 7882"/>
                <a:gd name="T14" fmla="*/ 389414 w 3714"/>
                <a:gd name="T15" fmla="*/ 1576795 h 7882"/>
                <a:gd name="T16" fmla="*/ 390493 w 3714"/>
                <a:gd name="T17" fmla="*/ 2224645 h 7882"/>
                <a:gd name="T18" fmla="*/ 637386 w 3714"/>
                <a:gd name="T19" fmla="*/ 2471548 h 7882"/>
                <a:gd name="T20" fmla="*/ 709366 w 3714"/>
                <a:gd name="T21" fmla="*/ 2471548 h 7882"/>
                <a:gd name="T22" fmla="*/ 955899 w 3714"/>
                <a:gd name="T23" fmla="*/ 2224645 h 7882"/>
                <a:gd name="T24" fmla="*/ 955899 w 3714"/>
                <a:gd name="T25" fmla="*/ 1906119 h 7882"/>
                <a:gd name="T26" fmla="*/ 1336315 w 3714"/>
                <a:gd name="T27" fmla="*/ 1906119 h 7882"/>
                <a:gd name="T28" fmla="*/ 1336315 w 3714"/>
                <a:gd name="T29" fmla="*/ 2209528 h 7882"/>
                <a:gd name="T30" fmla="*/ 709366 w 3714"/>
                <a:gd name="T31" fmla="*/ 2836503 h 7882"/>
                <a:gd name="T32" fmla="*/ 626949 w 3714"/>
                <a:gd name="T33" fmla="*/ 2836503 h 7882"/>
                <a:gd name="T34" fmla="*/ 0 w 3714"/>
                <a:gd name="T35" fmla="*/ 2258117 h 7882"/>
                <a:gd name="T36" fmla="*/ 0 w 3714"/>
                <a:gd name="T37" fmla="*/ 675564 h 7882"/>
                <a:gd name="T38" fmla="*/ 626949 w 3714"/>
                <a:gd name="T39" fmla="*/ 0 h 7882"/>
                <a:gd name="T40" fmla="*/ 709366 w 3714"/>
                <a:gd name="T41" fmla="*/ 0 h 7882"/>
                <a:gd name="T42" fmla="*/ 1336315 w 3714"/>
                <a:gd name="T43" fmla="*/ 626975 h 7882"/>
                <a:gd name="T44" fmla="*/ 1334875 w 3714"/>
                <a:gd name="T45" fmla="*/ 1576795 h 7882"/>
                <a:gd name="T46" fmla="*/ 389414 w 3714"/>
                <a:gd name="T47" fmla="*/ 1576795 h 7882"/>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3714" h="7882">
                  <a:moveTo>
                    <a:pt x="1085" y="3336"/>
                  </a:moveTo>
                  <a:lnTo>
                    <a:pt x="2627" y="3336"/>
                  </a:lnTo>
                  <a:lnTo>
                    <a:pt x="2627" y="1699"/>
                  </a:lnTo>
                  <a:cubicBezTo>
                    <a:pt x="2627" y="1242"/>
                    <a:pt x="2399" y="1013"/>
                    <a:pt x="1942" y="1013"/>
                  </a:cubicBezTo>
                  <a:lnTo>
                    <a:pt x="1771" y="1013"/>
                  </a:lnTo>
                  <a:cubicBezTo>
                    <a:pt x="1314" y="1013"/>
                    <a:pt x="1085" y="1242"/>
                    <a:pt x="1085" y="1699"/>
                  </a:cubicBezTo>
                  <a:lnTo>
                    <a:pt x="1085" y="3336"/>
                  </a:lnTo>
                  <a:close/>
                  <a:moveTo>
                    <a:pt x="1082" y="4381"/>
                  </a:moveTo>
                  <a:lnTo>
                    <a:pt x="1085" y="6181"/>
                  </a:lnTo>
                  <a:cubicBezTo>
                    <a:pt x="1085" y="6638"/>
                    <a:pt x="1314" y="6867"/>
                    <a:pt x="1771" y="6867"/>
                  </a:cubicBezTo>
                  <a:lnTo>
                    <a:pt x="1971" y="6867"/>
                  </a:lnTo>
                  <a:cubicBezTo>
                    <a:pt x="2428" y="6867"/>
                    <a:pt x="2656" y="6638"/>
                    <a:pt x="2656" y="6181"/>
                  </a:cubicBezTo>
                  <a:lnTo>
                    <a:pt x="2656" y="5296"/>
                  </a:lnTo>
                  <a:lnTo>
                    <a:pt x="3713" y="5296"/>
                  </a:lnTo>
                  <a:lnTo>
                    <a:pt x="3713" y="6139"/>
                  </a:lnTo>
                  <a:cubicBezTo>
                    <a:pt x="3713" y="7295"/>
                    <a:pt x="3127" y="7881"/>
                    <a:pt x="1971" y="7881"/>
                  </a:cubicBezTo>
                  <a:lnTo>
                    <a:pt x="1742" y="7881"/>
                  </a:lnTo>
                  <a:cubicBezTo>
                    <a:pt x="585" y="7881"/>
                    <a:pt x="0" y="7295"/>
                    <a:pt x="0" y="6274"/>
                  </a:cubicBezTo>
                  <a:lnTo>
                    <a:pt x="0" y="1877"/>
                  </a:lnTo>
                  <a:cubicBezTo>
                    <a:pt x="0" y="585"/>
                    <a:pt x="585" y="0"/>
                    <a:pt x="1742" y="0"/>
                  </a:cubicBezTo>
                  <a:lnTo>
                    <a:pt x="1971" y="0"/>
                  </a:lnTo>
                  <a:cubicBezTo>
                    <a:pt x="3127" y="0"/>
                    <a:pt x="3713" y="585"/>
                    <a:pt x="3713" y="1742"/>
                  </a:cubicBezTo>
                  <a:lnTo>
                    <a:pt x="3709" y="4381"/>
                  </a:lnTo>
                  <a:lnTo>
                    <a:pt x="1082" y="4381"/>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endParaRPr lang="en-US"/>
            </a:p>
          </p:txBody>
        </p:sp>
        <p:sp>
          <p:nvSpPr>
            <p:cNvPr id="7" name="Freeform 2">
              <a:extLst>
                <a:ext uri="{FF2B5EF4-FFF2-40B4-BE49-F238E27FC236}">
                  <a16:creationId xmlns:a16="http://schemas.microsoft.com/office/drawing/2014/main" id="{EAB256C5-9503-7CCB-DC92-E3797DC992F2}"/>
                </a:ext>
              </a:extLst>
            </p:cNvPr>
            <p:cNvSpPr>
              <a:spLocks noChangeArrowheads="1"/>
            </p:cNvSpPr>
            <p:nvPr/>
          </p:nvSpPr>
          <p:spPr bwMode="auto">
            <a:xfrm>
              <a:off x="3109913" y="2035175"/>
              <a:ext cx="1368425" cy="3532188"/>
            </a:xfrm>
            <a:custGeom>
              <a:avLst/>
              <a:gdLst>
                <a:gd name="T0" fmla="*/ 390721 w 3800"/>
                <a:gd name="T1" fmla="*/ 2322993 h 9812"/>
                <a:gd name="T2" fmla="*/ 750833 w 3800"/>
                <a:gd name="T3" fmla="*/ 2466628 h 9812"/>
                <a:gd name="T4" fmla="*/ 976983 w 3800"/>
                <a:gd name="T5" fmla="*/ 2240556 h 9812"/>
                <a:gd name="T6" fmla="*/ 976983 w 3800"/>
                <a:gd name="T7" fmla="*/ 596138 h 9812"/>
                <a:gd name="T8" fmla="*/ 750833 w 3800"/>
                <a:gd name="T9" fmla="*/ 370066 h 9812"/>
                <a:gd name="T10" fmla="*/ 390721 w 3800"/>
                <a:gd name="T11" fmla="*/ 514061 h 9812"/>
                <a:gd name="T12" fmla="*/ 390721 w 3800"/>
                <a:gd name="T13" fmla="*/ 2322993 h 9812"/>
                <a:gd name="T14" fmla="*/ 0 w 3800"/>
                <a:gd name="T15" fmla="*/ 30599 h 9812"/>
                <a:gd name="T16" fmla="*/ 390721 w 3800"/>
                <a:gd name="T17" fmla="*/ 30599 h 9812"/>
                <a:gd name="T18" fmla="*/ 390721 w 3800"/>
                <a:gd name="T19" fmla="*/ 210592 h 9812"/>
                <a:gd name="T20" fmla="*/ 868950 w 3800"/>
                <a:gd name="T21" fmla="*/ 0 h 9812"/>
                <a:gd name="T22" fmla="*/ 1368065 w 3800"/>
                <a:gd name="T23" fmla="*/ 549699 h 9812"/>
                <a:gd name="T24" fmla="*/ 1368065 w 3800"/>
                <a:gd name="T25" fmla="*/ 2286995 h 9812"/>
                <a:gd name="T26" fmla="*/ 868950 w 3800"/>
                <a:gd name="T27" fmla="*/ 2837054 h 9812"/>
                <a:gd name="T28" fmla="*/ 390721 w 3800"/>
                <a:gd name="T29" fmla="*/ 2636541 h 9812"/>
                <a:gd name="T30" fmla="*/ 390721 w 3800"/>
                <a:gd name="T31" fmla="*/ 3531828 h 9812"/>
                <a:gd name="T32" fmla="*/ 0 w 3800"/>
                <a:gd name="T33" fmla="*/ 3531828 h 9812"/>
                <a:gd name="T34" fmla="*/ 0 w 3800"/>
                <a:gd name="T35" fmla="*/ 30599 h 9812"/>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3800" h="9812">
                  <a:moveTo>
                    <a:pt x="1085" y="6453"/>
                  </a:moveTo>
                  <a:cubicBezTo>
                    <a:pt x="1385" y="6710"/>
                    <a:pt x="1728" y="6852"/>
                    <a:pt x="2085" y="6852"/>
                  </a:cubicBezTo>
                  <a:cubicBezTo>
                    <a:pt x="2485" y="6852"/>
                    <a:pt x="2713" y="6667"/>
                    <a:pt x="2713" y="6224"/>
                  </a:cubicBezTo>
                  <a:lnTo>
                    <a:pt x="2713" y="1656"/>
                  </a:lnTo>
                  <a:cubicBezTo>
                    <a:pt x="2713" y="1213"/>
                    <a:pt x="2485" y="1028"/>
                    <a:pt x="2085" y="1028"/>
                  </a:cubicBezTo>
                  <a:cubicBezTo>
                    <a:pt x="1728" y="1028"/>
                    <a:pt x="1385" y="1170"/>
                    <a:pt x="1085" y="1428"/>
                  </a:cubicBezTo>
                  <a:lnTo>
                    <a:pt x="1085" y="6453"/>
                  </a:lnTo>
                  <a:close/>
                  <a:moveTo>
                    <a:pt x="0" y="85"/>
                  </a:moveTo>
                  <a:lnTo>
                    <a:pt x="1085" y="85"/>
                  </a:lnTo>
                  <a:lnTo>
                    <a:pt x="1085" y="585"/>
                  </a:lnTo>
                  <a:cubicBezTo>
                    <a:pt x="1342" y="314"/>
                    <a:pt x="1785" y="0"/>
                    <a:pt x="2413" y="0"/>
                  </a:cubicBezTo>
                  <a:cubicBezTo>
                    <a:pt x="3342" y="0"/>
                    <a:pt x="3799" y="614"/>
                    <a:pt x="3799" y="1527"/>
                  </a:cubicBezTo>
                  <a:lnTo>
                    <a:pt x="3799" y="6353"/>
                  </a:lnTo>
                  <a:cubicBezTo>
                    <a:pt x="3799" y="7267"/>
                    <a:pt x="3342" y="7881"/>
                    <a:pt x="2413" y="7881"/>
                  </a:cubicBezTo>
                  <a:cubicBezTo>
                    <a:pt x="1785" y="7881"/>
                    <a:pt x="1342" y="7581"/>
                    <a:pt x="1085" y="7324"/>
                  </a:cubicBezTo>
                  <a:lnTo>
                    <a:pt x="1085" y="9811"/>
                  </a:lnTo>
                  <a:lnTo>
                    <a:pt x="0" y="9811"/>
                  </a:lnTo>
                  <a:lnTo>
                    <a:pt x="0" y="85"/>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endParaRPr lang="en-US"/>
            </a:p>
          </p:txBody>
        </p:sp>
        <p:sp>
          <p:nvSpPr>
            <p:cNvPr id="10" name="Freeform 3">
              <a:extLst>
                <a:ext uri="{FF2B5EF4-FFF2-40B4-BE49-F238E27FC236}">
                  <a16:creationId xmlns:a16="http://schemas.microsoft.com/office/drawing/2014/main" id="{2B4FB2D5-AEBE-E816-F06F-3458ADBA3D03}"/>
                </a:ext>
              </a:extLst>
            </p:cNvPr>
            <p:cNvSpPr>
              <a:spLocks noChangeArrowheads="1"/>
            </p:cNvSpPr>
            <p:nvPr/>
          </p:nvSpPr>
          <p:spPr bwMode="auto">
            <a:xfrm>
              <a:off x="4711700" y="2035175"/>
              <a:ext cx="1328738" cy="2836863"/>
            </a:xfrm>
            <a:custGeom>
              <a:avLst/>
              <a:gdLst>
                <a:gd name="T0" fmla="*/ 937679 w 3690"/>
                <a:gd name="T1" fmla="*/ 2338019 h 7882"/>
                <a:gd name="T2" fmla="*/ 937679 w 3690"/>
                <a:gd name="T3" fmla="*/ 1422750 h 7882"/>
                <a:gd name="T4" fmla="*/ 582988 w 3690"/>
                <a:gd name="T5" fmla="*/ 1556999 h 7882"/>
                <a:gd name="T6" fmla="*/ 392500 w 3690"/>
                <a:gd name="T7" fmla="*/ 1844573 h 7882"/>
                <a:gd name="T8" fmla="*/ 392500 w 3690"/>
                <a:gd name="T9" fmla="*/ 2266035 h 7882"/>
                <a:gd name="T10" fmla="*/ 582988 w 3690"/>
                <a:gd name="T11" fmla="*/ 2466149 h 7882"/>
                <a:gd name="T12" fmla="*/ 937679 w 3690"/>
                <a:gd name="T13" fmla="*/ 2338019 h 7882"/>
                <a:gd name="T14" fmla="*/ 2161 w 3690"/>
                <a:gd name="T15" fmla="*/ 1839174 h 7882"/>
                <a:gd name="T16" fmla="*/ 413025 w 3690"/>
                <a:gd name="T17" fmla="*/ 1253950 h 7882"/>
                <a:gd name="T18" fmla="*/ 937679 w 3690"/>
                <a:gd name="T19" fmla="*/ 1073991 h 7882"/>
                <a:gd name="T20" fmla="*/ 937679 w 3690"/>
                <a:gd name="T21" fmla="*/ 611498 h 7882"/>
                <a:gd name="T22" fmla="*/ 690656 w 3690"/>
                <a:gd name="T23" fmla="*/ 359557 h 7882"/>
                <a:gd name="T24" fmla="*/ 627280 w 3690"/>
                <a:gd name="T25" fmla="*/ 359557 h 7882"/>
                <a:gd name="T26" fmla="*/ 380257 w 3690"/>
                <a:gd name="T27" fmla="*/ 611498 h 7882"/>
                <a:gd name="T28" fmla="*/ 380257 w 3690"/>
                <a:gd name="T29" fmla="*/ 1004527 h 7882"/>
                <a:gd name="T30" fmla="*/ 0 w 3690"/>
                <a:gd name="T31" fmla="*/ 1004527 h 7882"/>
                <a:gd name="T32" fmla="*/ 0 w 3690"/>
                <a:gd name="T33" fmla="*/ 626975 h 7882"/>
                <a:gd name="T34" fmla="*/ 627280 w 3690"/>
                <a:gd name="T35" fmla="*/ 0 h 7882"/>
                <a:gd name="T36" fmla="*/ 701098 w 3690"/>
                <a:gd name="T37" fmla="*/ 0 h 7882"/>
                <a:gd name="T38" fmla="*/ 1328378 w 3690"/>
                <a:gd name="T39" fmla="*/ 626975 h 7882"/>
                <a:gd name="T40" fmla="*/ 1328378 w 3690"/>
                <a:gd name="T41" fmla="*/ 2805550 h 7882"/>
                <a:gd name="T42" fmla="*/ 937679 w 3690"/>
                <a:gd name="T43" fmla="*/ 2805550 h 7882"/>
                <a:gd name="T44" fmla="*/ 937679 w 3690"/>
                <a:gd name="T45" fmla="*/ 2630631 h 7882"/>
                <a:gd name="T46" fmla="*/ 459477 w 3690"/>
                <a:gd name="T47" fmla="*/ 2836503 h 7882"/>
                <a:gd name="T48" fmla="*/ 2161 w 3690"/>
                <a:gd name="T49" fmla="*/ 2348096 h 7882"/>
                <a:gd name="T50" fmla="*/ 2161 w 3690"/>
                <a:gd name="T51" fmla="*/ 1839174 h 7882"/>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3690" h="7882">
                  <a:moveTo>
                    <a:pt x="2604" y="6496"/>
                  </a:moveTo>
                  <a:lnTo>
                    <a:pt x="2604" y="3953"/>
                  </a:lnTo>
                  <a:lnTo>
                    <a:pt x="1619" y="4326"/>
                  </a:lnTo>
                  <a:cubicBezTo>
                    <a:pt x="1219" y="4483"/>
                    <a:pt x="1090" y="4683"/>
                    <a:pt x="1090" y="5125"/>
                  </a:cubicBezTo>
                  <a:lnTo>
                    <a:pt x="1090" y="6296"/>
                  </a:lnTo>
                  <a:cubicBezTo>
                    <a:pt x="1090" y="6667"/>
                    <a:pt x="1276" y="6852"/>
                    <a:pt x="1619" y="6852"/>
                  </a:cubicBezTo>
                  <a:cubicBezTo>
                    <a:pt x="1947" y="6852"/>
                    <a:pt x="2247" y="6738"/>
                    <a:pt x="2604" y="6496"/>
                  </a:cubicBezTo>
                  <a:close/>
                  <a:moveTo>
                    <a:pt x="6" y="5110"/>
                  </a:moveTo>
                  <a:cubicBezTo>
                    <a:pt x="6" y="4155"/>
                    <a:pt x="320" y="3769"/>
                    <a:pt x="1147" y="3484"/>
                  </a:cubicBezTo>
                  <a:lnTo>
                    <a:pt x="2604" y="2984"/>
                  </a:lnTo>
                  <a:lnTo>
                    <a:pt x="2604" y="1699"/>
                  </a:lnTo>
                  <a:cubicBezTo>
                    <a:pt x="2604" y="1242"/>
                    <a:pt x="2375" y="999"/>
                    <a:pt x="1918" y="999"/>
                  </a:cubicBezTo>
                  <a:lnTo>
                    <a:pt x="1742" y="999"/>
                  </a:lnTo>
                  <a:cubicBezTo>
                    <a:pt x="1285" y="999"/>
                    <a:pt x="1056" y="1242"/>
                    <a:pt x="1056" y="1699"/>
                  </a:cubicBezTo>
                  <a:lnTo>
                    <a:pt x="1056" y="2791"/>
                  </a:lnTo>
                  <a:lnTo>
                    <a:pt x="0" y="2791"/>
                  </a:lnTo>
                  <a:lnTo>
                    <a:pt x="0" y="1742"/>
                  </a:lnTo>
                  <a:cubicBezTo>
                    <a:pt x="0" y="585"/>
                    <a:pt x="586" y="0"/>
                    <a:pt x="1742" y="0"/>
                  </a:cubicBezTo>
                  <a:lnTo>
                    <a:pt x="1947" y="0"/>
                  </a:lnTo>
                  <a:cubicBezTo>
                    <a:pt x="3104" y="0"/>
                    <a:pt x="3689" y="585"/>
                    <a:pt x="3689" y="1742"/>
                  </a:cubicBezTo>
                  <a:lnTo>
                    <a:pt x="3689" y="7795"/>
                  </a:lnTo>
                  <a:lnTo>
                    <a:pt x="2604" y="7795"/>
                  </a:lnTo>
                  <a:lnTo>
                    <a:pt x="2604" y="7309"/>
                  </a:lnTo>
                  <a:cubicBezTo>
                    <a:pt x="2304" y="7595"/>
                    <a:pt x="1904" y="7881"/>
                    <a:pt x="1276" y="7881"/>
                  </a:cubicBezTo>
                  <a:cubicBezTo>
                    <a:pt x="406" y="7881"/>
                    <a:pt x="6" y="7381"/>
                    <a:pt x="6" y="6524"/>
                  </a:cubicBezTo>
                  <a:lnTo>
                    <a:pt x="6" y="5110"/>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endParaRPr lang="en-US"/>
            </a:p>
          </p:txBody>
        </p:sp>
        <p:sp>
          <p:nvSpPr>
            <p:cNvPr id="15" name="Freeform 4">
              <a:extLst>
                <a:ext uri="{FF2B5EF4-FFF2-40B4-BE49-F238E27FC236}">
                  <a16:creationId xmlns:a16="http://schemas.microsoft.com/office/drawing/2014/main" id="{46E146B5-58B7-210F-C166-39C2491B1CD1}"/>
                </a:ext>
              </a:extLst>
            </p:cNvPr>
            <p:cNvSpPr>
              <a:spLocks noChangeArrowheads="1"/>
            </p:cNvSpPr>
            <p:nvPr/>
          </p:nvSpPr>
          <p:spPr bwMode="auto">
            <a:xfrm>
              <a:off x="6292850" y="2035175"/>
              <a:ext cx="2262188" cy="2806700"/>
            </a:xfrm>
            <a:custGeom>
              <a:avLst/>
              <a:gdLst>
                <a:gd name="T0" fmla="*/ 1326358 w 6285"/>
                <a:gd name="T1" fmla="*/ 2806340 h 7796"/>
                <a:gd name="T2" fmla="*/ 935470 w 6285"/>
                <a:gd name="T3" fmla="*/ 2806340 h 7796"/>
                <a:gd name="T4" fmla="*/ 935470 w 6285"/>
                <a:gd name="T5" fmla="*/ 570628 h 7796"/>
                <a:gd name="T6" fmla="*/ 750463 w 6285"/>
                <a:gd name="T7" fmla="*/ 370098 h 7796"/>
                <a:gd name="T8" fmla="*/ 390889 w 6285"/>
                <a:gd name="T9" fmla="*/ 508705 h 7796"/>
                <a:gd name="T10" fmla="*/ 390889 w 6285"/>
                <a:gd name="T11" fmla="*/ 2806340 h 7796"/>
                <a:gd name="T12" fmla="*/ 0 w 6285"/>
                <a:gd name="T13" fmla="*/ 2806340 h 7796"/>
                <a:gd name="T14" fmla="*/ 0 w 6285"/>
                <a:gd name="T15" fmla="*/ 30602 h 7796"/>
                <a:gd name="T16" fmla="*/ 390889 w 6285"/>
                <a:gd name="T17" fmla="*/ 30602 h 7796"/>
                <a:gd name="T18" fmla="*/ 390889 w 6285"/>
                <a:gd name="T19" fmla="*/ 210611 h 7796"/>
                <a:gd name="T20" fmla="*/ 868882 w 6285"/>
                <a:gd name="T21" fmla="*/ 0 h 7796"/>
                <a:gd name="T22" fmla="*/ 1274888 w 6285"/>
                <a:gd name="T23" fmla="*/ 226091 h 7796"/>
                <a:gd name="T24" fmla="*/ 1804351 w 6285"/>
                <a:gd name="T25" fmla="*/ 0 h 7796"/>
                <a:gd name="T26" fmla="*/ 2261828 w 6285"/>
                <a:gd name="T27" fmla="*/ 488184 h 7796"/>
                <a:gd name="T28" fmla="*/ 2261828 w 6285"/>
                <a:gd name="T29" fmla="*/ 2806340 h 7796"/>
                <a:gd name="T30" fmla="*/ 1870939 w 6285"/>
                <a:gd name="T31" fmla="*/ 2806340 h 7796"/>
                <a:gd name="T32" fmla="*/ 1870939 w 6285"/>
                <a:gd name="T33" fmla="*/ 570628 h 7796"/>
                <a:gd name="T34" fmla="*/ 1685933 w 6285"/>
                <a:gd name="T35" fmla="*/ 370098 h 7796"/>
                <a:gd name="T36" fmla="*/ 1326358 w 6285"/>
                <a:gd name="T37" fmla="*/ 508705 h 7796"/>
                <a:gd name="T38" fmla="*/ 1326358 w 6285"/>
                <a:gd name="T39" fmla="*/ 2806340 h 779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6285" h="7796">
                  <a:moveTo>
                    <a:pt x="3685" y="7795"/>
                  </a:moveTo>
                  <a:lnTo>
                    <a:pt x="2599" y="7795"/>
                  </a:lnTo>
                  <a:lnTo>
                    <a:pt x="2599" y="1585"/>
                  </a:lnTo>
                  <a:cubicBezTo>
                    <a:pt x="2599" y="1199"/>
                    <a:pt x="2414" y="1028"/>
                    <a:pt x="2085" y="1028"/>
                  </a:cubicBezTo>
                  <a:cubicBezTo>
                    <a:pt x="1785" y="1028"/>
                    <a:pt x="1471" y="1142"/>
                    <a:pt x="1086" y="1413"/>
                  </a:cubicBezTo>
                  <a:lnTo>
                    <a:pt x="1086" y="7795"/>
                  </a:lnTo>
                  <a:lnTo>
                    <a:pt x="0" y="7795"/>
                  </a:lnTo>
                  <a:lnTo>
                    <a:pt x="0" y="85"/>
                  </a:lnTo>
                  <a:lnTo>
                    <a:pt x="1086" y="85"/>
                  </a:lnTo>
                  <a:lnTo>
                    <a:pt x="1086" y="585"/>
                  </a:lnTo>
                  <a:cubicBezTo>
                    <a:pt x="1400" y="285"/>
                    <a:pt x="1814" y="0"/>
                    <a:pt x="2414" y="0"/>
                  </a:cubicBezTo>
                  <a:cubicBezTo>
                    <a:pt x="2971" y="0"/>
                    <a:pt x="3342" y="228"/>
                    <a:pt x="3542" y="628"/>
                  </a:cubicBezTo>
                  <a:cubicBezTo>
                    <a:pt x="3928" y="299"/>
                    <a:pt x="4385" y="0"/>
                    <a:pt x="5013" y="0"/>
                  </a:cubicBezTo>
                  <a:cubicBezTo>
                    <a:pt x="5855" y="0"/>
                    <a:pt x="6284" y="514"/>
                    <a:pt x="6284" y="1356"/>
                  </a:cubicBezTo>
                  <a:lnTo>
                    <a:pt x="6284" y="7795"/>
                  </a:lnTo>
                  <a:lnTo>
                    <a:pt x="5198" y="7795"/>
                  </a:lnTo>
                  <a:lnTo>
                    <a:pt x="5198" y="1585"/>
                  </a:lnTo>
                  <a:cubicBezTo>
                    <a:pt x="5198" y="1199"/>
                    <a:pt x="5013" y="1028"/>
                    <a:pt x="4684" y="1028"/>
                  </a:cubicBezTo>
                  <a:cubicBezTo>
                    <a:pt x="4385" y="1028"/>
                    <a:pt x="4070" y="1142"/>
                    <a:pt x="3685" y="1413"/>
                  </a:cubicBezTo>
                  <a:lnTo>
                    <a:pt x="3685" y="7795"/>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endParaRPr lang="en-US"/>
            </a:p>
          </p:txBody>
        </p:sp>
        <p:sp>
          <p:nvSpPr>
            <p:cNvPr id="16" name="Freeform 5">
              <a:extLst>
                <a:ext uri="{FF2B5EF4-FFF2-40B4-BE49-F238E27FC236}">
                  <a16:creationId xmlns:a16="http://schemas.microsoft.com/office/drawing/2014/main" id="{D6FE68EF-7680-FFEF-ABF5-D27646D92448}"/>
                </a:ext>
              </a:extLst>
            </p:cNvPr>
            <p:cNvSpPr>
              <a:spLocks noChangeArrowheads="1"/>
            </p:cNvSpPr>
            <p:nvPr/>
          </p:nvSpPr>
          <p:spPr bwMode="auto">
            <a:xfrm>
              <a:off x="14288" y="2322513"/>
              <a:ext cx="1004887" cy="2274887"/>
            </a:xfrm>
            <a:custGeom>
              <a:avLst/>
              <a:gdLst>
                <a:gd name="T0" fmla="*/ 1004527 w 2790"/>
                <a:gd name="T1" fmla="*/ 0 h 6317"/>
                <a:gd name="T2" fmla="*/ 1004527 w 2790"/>
                <a:gd name="T3" fmla="*/ 510652 h 6317"/>
                <a:gd name="T4" fmla="*/ 346488 w 2790"/>
                <a:gd name="T5" fmla="*/ 1137624 h 6317"/>
                <a:gd name="T6" fmla="*/ 1004527 w 2790"/>
                <a:gd name="T7" fmla="*/ 1752711 h 6317"/>
                <a:gd name="T8" fmla="*/ 1004527 w 2790"/>
                <a:gd name="T9" fmla="*/ 2274527 h 6317"/>
                <a:gd name="T10" fmla="*/ 0 w 2790"/>
                <a:gd name="T11" fmla="*/ 1331009 h 6317"/>
                <a:gd name="T12" fmla="*/ 0 w 2790"/>
                <a:gd name="T13" fmla="*/ 955042 h 6317"/>
                <a:gd name="T14" fmla="*/ 1004527 w 2790"/>
                <a:gd name="T15" fmla="*/ 0 h 6317"/>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2790" h="6317">
                  <a:moveTo>
                    <a:pt x="2789" y="0"/>
                  </a:moveTo>
                  <a:lnTo>
                    <a:pt x="2789" y="1418"/>
                  </a:lnTo>
                  <a:lnTo>
                    <a:pt x="962" y="3159"/>
                  </a:lnTo>
                  <a:lnTo>
                    <a:pt x="2789" y="4867"/>
                  </a:lnTo>
                  <a:lnTo>
                    <a:pt x="2789" y="6316"/>
                  </a:lnTo>
                  <a:lnTo>
                    <a:pt x="0" y="3696"/>
                  </a:lnTo>
                  <a:lnTo>
                    <a:pt x="0" y="2652"/>
                  </a:lnTo>
                  <a:lnTo>
                    <a:pt x="2789"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endParaRPr lang="en-US"/>
            </a:p>
          </p:txBody>
        </p:sp>
        <p:sp>
          <p:nvSpPr>
            <p:cNvPr id="17" name="Freeform 6">
              <a:extLst>
                <a:ext uri="{FF2B5EF4-FFF2-40B4-BE49-F238E27FC236}">
                  <a16:creationId xmlns:a16="http://schemas.microsoft.com/office/drawing/2014/main" id="{3B47CFFA-5BCC-F480-6864-369DB6E3D8BE}"/>
                </a:ext>
              </a:extLst>
            </p:cNvPr>
            <p:cNvSpPr>
              <a:spLocks noChangeArrowheads="1"/>
            </p:cNvSpPr>
            <p:nvPr/>
          </p:nvSpPr>
          <p:spPr bwMode="auto">
            <a:xfrm>
              <a:off x="9050338" y="2322513"/>
              <a:ext cx="1003300" cy="2274887"/>
            </a:xfrm>
            <a:custGeom>
              <a:avLst/>
              <a:gdLst>
                <a:gd name="T0" fmla="*/ 1002940 w 2789"/>
                <a:gd name="T1" fmla="*/ 955042 h 6317"/>
                <a:gd name="T2" fmla="*/ 1002940 w 2789"/>
                <a:gd name="T3" fmla="*/ 1331009 h 6317"/>
                <a:gd name="T4" fmla="*/ 0 w 2789"/>
                <a:gd name="T5" fmla="*/ 2274527 h 6317"/>
                <a:gd name="T6" fmla="*/ 0 w 2789"/>
                <a:gd name="T7" fmla="*/ 1752711 h 6317"/>
                <a:gd name="T8" fmla="*/ 656876 w 2789"/>
                <a:gd name="T9" fmla="*/ 1137624 h 6317"/>
                <a:gd name="T10" fmla="*/ 0 w 2789"/>
                <a:gd name="T11" fmla="*/ 510652 h 6317"/>
                <a:gd name="T12" fmla="*/ 0 w 2789"/>
                <a:gd name="T13" fmla="*/ 0 h 6317"/>
                <a:gd name="T14" fmla="*/ 1002940 w 2789"/>
                <a:gd name="T15" fmla="*/ 955042 h 6317"/>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2789" h="6317">
                  <a:moveTo>
                    <a:pt x="2788" y="2652"/>
                  </a:moveTo>
                  <a:lnTo>
                    <a:pt x="2788" y="3696"/>
                  </a:lnTo>
                  <a:lnTo>
                    <a:pt x="0" y="6316"/>
                  </a:lnTo>
                  <a:lnTo>
                    <a:pt x="0" y="4867"/>
                  </a:lnTo>
                  <a:lnTo>
                    <a:pt x="1826" y="3159"/>
                  </a:lnTo>
                  <a:lnTo>
                    <a:pt x="0" y="1418"/>
                  </a:lnTo>
                  <a:lnTo>
                    <a:pt x="0" y="0"/>
                  </a:lnTo>
                  <a:lnTo>
                    <a:pt x="2788" y="2652"/>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endParaRPr lang="en-US"/>
            </a:p>
          </p:txBody>
        </p:sp>
      </p:grpSp>
      <p:pic>
        <p:nvPicPr>
          <p:cNvPr id="8" name="Graphic 7">
            <a:extLst>
              <a:ext uri="{FF2B5EF4-FFF2-40B4-BE49-F238E27FC236}">
                <a16:creationId xmlns:a16="http://schemas.microsoft.com/office/drawing/2014/main" id="{14F3C194-C38C-C259-190C-2EEB8E84F4F3}"/>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820266" y="6419060"/>
            <a:ext cx="762921" cy="205636"/>
          </a:xfrm>
          <a:prstGeom prst="rect">
            <a:avLst/>
          </a:prstGeom>
        </p:spPr>
      </p:pic>
    </p:spTree>
    <p:extLst>
      <p:ext uri="{BB962C8B-B14F-4D97-AF65-F5344CB8AC3E}">
        <p14:creationId xmlns:p14="http://schemas.microsoft.com/office/powerpoint/2010/main" val="2761786222"/>
      </p:ext>
    </p:extLst>
  </p:cSld>
  <p:clrMapOvr>
    <a:masterClrMapping/>
  </p:clrMapOvr>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ver-Picture">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08188486-1E04-4170-877E-F561315E0FFC}"/>
              </a:ext>
            </a:extLst>
          </p:cNvPr>
          <p:cNvSpPr>
            <a:spLocks noGrp="1"/>
          </p:cNvSpPr>
          <p:nvPr>
            <p:ph type="pic" sz="quarter" idx="13"/>
          </p:nvPr>
        </p:nvSpPr>
        <p:spPr>
          <a:xfrm>
            <a:off x="0" y="0"/>
            <a:ext cx="12192000" cy="6858000"/>
          </a:xfrm>
          <a:prstGeom prst="rect">
            <a:avLst/>
          </a:prstGeom>
          <a:solidFill>
            <a:schemeClr val="bg1">
              <a:lumMod val="65000"/>
            </a:schemeClr>
          </a:solidFill>
        </p:spPr>
        <p:txBody>
          <a:bodyPr/>
          <a:lstStyle>
            <a:lvl1pPr>
              <a:defRPr/>
            </a:lvl1pPr>
          </a:lstStyle>
          <a:p>
            <a:endParaRPr lang="en-US"/>
          </a:p>
        </p:txBody>
      </p:sp>
      <p:sp>
        <p:nvSpPr>
          <p:cNvPr id="2" name="Text Placeholder 4">
            <a:extLst>
              <a:ext uri="{FF2B5EF4-FFF2-40B4-BE49-F238E27FC236}">
                <a16:creationId xmlns:a16="http://schemas.microsoft.com/office/drawing/2014/main" id="{1D0C313E-F9F0-A230-8D69-CE05C2235CAC}"/>
              </a:ext>
            </a:extLst>
          </p:cNvPr>
          <p:cNvSpPr>
            <a:spLocks noGrp="1"/>
          </p:cNvSpPr>
          <p:nvPr>
            <p:ph type="body" sz="quarter" idx="11" hasCustomPrompt="1"/>
          </p:nvPr>
        </p:nvSpPr>
        <p:spPr>
          <a:xfrm>
            <a:off x="647699" y="4663440"/>
            <a:ext cx="6310776" cy="338554"/>
          </a:xfrm>
          <a:prstGeom prst="rect">
            <a:avLst/>
          </a:prstGeom>
        </p:spPr>
        <p:txBody>
          <a:bodyPr wrap="square">
            <a:spAutoFit/>
          </a:bodyPr>
          <a:lstStyle>
            <a:lvl1pPr>
              <a:lnSpc>
                <a:spcPct val="100000"/>
              </a:lnSpc>
              <a:spcBef>
                <a:spcPts val="0"/>
              </a:spcBef>
              <a:defRPr sz="2200">
                <a:solidFill>
                  <a:schemeClr val="bg1"/>
                </a:solidFill>
                <a:latin typeface="Calibri Light" panose="020F0302020204030204" pitchFamily="34" charset="0"/>
                <a:cs typeface="Calibri Light" panose="020F0302020204030204" pitchFamily="34" charset="0"/>
              </a:defRPr>
            </a:lvl1pPr>
            <a:lvl2pPr>
              <a:buNone/>
              <a:defRPr/>
            </a:lvl2pPr>
          </a:lstStyle>
          <a:p>
            <a:pPr lvl="0"/>
            <a:r>
              <a:rPr lang="en-US">
                <a:effectLst/>
              </a:rPr>
              <a:t>Sub-description text goes here over one or two lines</a:t>
            </a:r>
            <a:endParaRPr lang="en-US"/>
          </a:p>
        </p:txBody>
      </p:sp>
      <p:sp>
        <p:nvSpPr>
          <p:cNvPr id="4" name="Text Placeholder 4">
            <a:extLst>
              <a:ext uri="{FF2B5EF4-FFF2-40B4-BE49-F238E27FC236}">
                <a16:creationId xmlns:a16="http://schemas.microsoft.com/office/drawing/2014/main" id="{620DF869-35B0-236B-5EF7-AF82BCA31FEC}"/>
              </a:ext>
            </a:extLst>
          </p:cNvPr>
          <p:cNvSpPr>
            <a:spLocks noGrp="1"/>
          </p:cNvSpPr>
          <p:nvPr>
            <p:ph type="body" sz="quarter" idx="12" hasCustomPrompt="1"/>
          </p:nvPr>
        </p:nvSpPr>
        <p:spPr>
          <a:xfrm>
            <a:off x="647699" y="5245390"/>
            <a:ext cx="6489700" cy="200055"/>
          </a:xfrm>
          <a:prstGeom prst="rect">
            <a:avLst/>
          </a:prstGeom>
        </p:spPr>
        <p:txBody>
          <a:bodyPr>
            <a:spAutoFit/>
          </a:bodyPr>
          <a:lstStyle>
            <a:lvl1pPr>
              <a:lnSpc>
                <a:spcPct val="100000"/>
              </a:lnSpc>
              <a:spcBef>
                <a:spcPts val="0"/>
              </a:spcBef>
              <a:defRPr sz="1300" b="1" i="0" spc="400" baseline="0">
                <a:solidFill>
                  <a:schemeClr val="bg1"/>
                </a:solidFill>
                <a:latin typeface="Calibri" panose="020F0502020204030204" pitchFamily="34" charset="0"/>
                <a:cs typeface="Calibri" panose="020F0502020204030204" pitchFamily="34" charset="0"/>
              </a:defRPr>
            </a:lvl1pPr>
            <a:lvl2pPr>
              <a:buNone/>
              <a:defRPr/>
            </a:lvl2pPr>
          </a:lstStyle>
          <a:p>
            <a:pPr lvl="0"/>
            <a:r>
              <a:rPr lang="en-US">
                <a:effectLst/>
              </a:rPr>
              <a:t>23 OCTOBER 2020</a:t>
            </a:r>
            <a:endParaRPr lang="en-US"/>
          </a:p>
        </p:txBody>
      </p:sp>
      <p:sp>
        <p:nvSpPr>
          <p:cNvPr id="5" name="Title 2">
            <a:extLst>
              <a:ext uri="{FF2B5EF4-FFF2-40B4-BE49-F238E27FC236}">
                <a16:creationId xmlns:a16="http://schemas.microsoft.com/office/drawing/2014/main" id="{31E257A1-DF52-CE93-F69E-369009F31E49}"/>
              </a:ext>
            </a:extLst>
          </p:cNvPr>
          <p:cNvSpPr>
            <a:spLocks noGrp="1"/>
          </p:cNvSpPr>
          <p:nvPr>
            <p:ph type="title"/>
          </p:nvPr>
        </p:nvSpPr>
        <p:spPr>
          <a:xfrm>
            <a:off x="647699" y="1671742"/>
            <a:ext cx="7920000" cy="2462213"/>
          </a:xfrm>
          <a:prstGeom prst="rect">
            <a:avLst/>
          </a:prstGeom>
        </p:spPr>
        <p:txBody>
          <a:bodyPr vert="horz" wrap="square" lIns="0" tIns="0" rIns="0" bIns="0" rtlCol="0">
            <a:spAutoFit/>
          </a:bodyPr>
          <a:lstStyle>
            <a:lvl1pPr>
              <a:defRPr lang="en-US" sz="8000" b="0" dirty="0">
                <a:solidFill>
                  <a:schemeClr val="bg1"/>
                </a:solidFill>
                <a:latin typeface="Calibri Light" panose="020F0302020204030204" pitchFamily="34" charset="0"/>
                <a:cs typeface="Calibri Light" panose="020F0302020204030204" pitchFamily="34" charset="0"/>
              </a:defRPr>
            </a:lvl1pPr>
          </a:lstStyle>
          <a:p>
            <a:pPr marL="0" lvl="0" indent="0">
              <a:spcBef>
                <a:spcPts val="0"/>
              </a:spcBef>
              <a:spcAft>
                <a:spcPts val="0"/>
              </a:spcAft>
              <a:buFont typeface="Arial" panose="020B0604020202020204" pitchFamily="34" charset="0"/>
            </a:pPr>
            <a:r>
              <a:rPr lang="en-US"/>
              <a:t>Click to edit Master title style</a:t>
            </a:r>
          </a:p>
        </p:txBody>
      </p:sp>
      <p:grpSp>
        <p:nvGrpSpPr>
          <p:cNvPr id="7" name="Group 6">
            <a:extLst>
              <a:ext uri="{FF2B5EF4-FFF2-40B4-BE49-F238E27FC236}">
                <a16:creationId xmlns:a16="http://schemas.microsoft.com/office/drawing/2014/main" id="{4DF2B786-E5C6-1118-1FB0-3F0BAD5AFC9C}"/>
              </a:ext>
            </a:extLst>
          </p:cNvPr>
          <p:cNvGrpSpPr/>
          <p:nvPr userDrawn="1"/>
        </p:nvGrpSpPr>
        <p:grpSpPr>
          <a:xfrm>
            <a:off x="647699" y="716555"/>
            <a:ext cx="649751" cy="228601"/>
            <a:chOff x="14288" y="2035175"/>
            <a:chExt cx="10039350" cy="3532188"/>
          </a:xfrm>
          <a:solidFill>
            <a:schemeClr val="bg1"/>
          </a:solidFill>
        </p:grpSpPr>
        <p:sp>
          <p:nvSpPr>
            <p:cNvPr id="13" name="Freeform 1">
              <a:extLst>
                <a:ext uri="{FF2B5EF4-FFF2-40B4-BE49-F238E27FC236}">
                  <a16:creationId xmlns:a16="http://schemas.microsoft.com/office/drawing/2014/main" id="{060FA4E3-0740-BBF4-423D-C025C875E4DA}"/>
                </a:ext>
              </a:extLst>
            </p:cNvPr>
            <p:cNvSpPr>
              <a:spLocks noChangeArrowheads="1"/>
            </p:cNvSpPr>
            <p:nvPr/>
          </p:nvSpPr>
          <p:spPr bwMode="auto">
            <a:xfrm>
              <a:off x="1519238" y="2035175"/>
              <a:ext cx="1336675" cy="2836863"/>
            </a:xfrm>
            <a:custGeom>
              <a:avLst/>
              <a:gdLst>
                <a:gd name="T0" fmla="*/ 390493 w 3714"/>
                <a:gd name="T1" fmla="*/ 1200682 h 7882"/>
                <a:gd name="T2" fmla="*/ 945462 w 3714"/>
                <a:gd name="T3" fmla="*/ 1200682 h 7882"/>
                <a:gd name="T4" fmla="*/ 945462 w 3714"/>
                <a:gd name="T5" fmla="*/ 611498 h 7882"/>
                <a:gd name="T6" fmla="*/ 698929 w 3714"/>
                <a:gd name="T7" fmla="*/ 364596 h 7882"/>
                <a:gd name="T8" fmla="*/ 637386 w 3714"/>
                <a:gd name="T9" fmla="*/ 364596 h 7882"/>
                <a:gd name="T10" fmla="*/ 390493 w 3714"/>
                <a:gd name="T11" fmla="*/ 611498 h 7882"/>
                <a:gd name="T12" fmla="*/ 390493 w 3714"/>
                <a:gd name="T13" fmla="*/ 1200682 h 7882"/>
                <a:gd name="T14" fmla="*/ 389414 w 3714"/>
                <a:gd name="T15" fmla="*/ 1576795 h 7882"/>
                <a:gd name="T16" fmla="*/ 390493 w 3714"/>
                <a:gd name="T17" fmla="*/ 2224645 h 7882"/>
                <a:gd name="T18" fmla="*/ 637386 w 3714"/>
                <a:gd name="T19" fmla="*/ 2471548 h 7882"/>
                <a:gd name="T20" fmla="*/ 709366 w 3714"/>
                <a:gd name="T21" fmla="*/ 2471548 h 7882"/>
                <a:gd name="T22" fmla="*/ 955899 w 3714"/>
                <a:gd name="T23" fmla="*/ 2224645 h 7882"/>
                <a:gd name="T24" fmla="*/ 955899 w 3714"/>
                <a:gd name="T25" fmla="*/ 1906119 h 7882"/>
                <a:gd name="T26" fmla="*/ 1336315 w 3714"/>
                <a:gd name="T27" fmla="*/ 1906119 h 7882"/>
                <a:gd name="T28" fmla="*/ 1336315 w 3714"/>
                <a:gd name="T29" fmla="*/ 2209528 h 7882"/>
                <a:gd name="T30" fmla="*/ 709366 w 3714"/>
                <a:gd name="T31" fmla="*/ 2836503 h 7882"/>
                <a:gd name="T32" fmla="*/ 626949 w 3714"/>
                <a:gd name="T33" fmla="*/ 2836503 h 7882"/>
                <a:gd name="T34" fmla="*/ 0 w 3714"/>
                <a:gd name="T35" fmla="*/ 2258117 h 7882"/>
                <a:gd name="T36" fmla="*/ 0 w 3714"/>
                <a:gd name="T37" fmla="*/ 675564 h 7882"/>
                <a:gd name="T38" fmla="*/ 626949 w 3714"/>
                <a:gd name="T39" fmla="*/ 0 h 7882"/>
                <a:gd name="T40" fmla="*/ 709366 w 3714"/>
                <a:gd name="T41" fmla="*/ 0 h 7882"/>
                <a:gd name="T42" fmla="*/ 1336315 w 3714"/>
                <a:gd name="T43" fmla="*/ 626975 h 7882"/>
                <a:gd name="T44" fmla="*/ 1334875 w 3714"/>
                <a:gd name="T45" fmla="*/ 1576795 h 7882"/>
                <a:gd name="T46" fmla="*/ 389414 w 3714"/>
                <a:gd name="T47" fmla="*/ 1576795 h 7882"/>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3714" h="7882">
                  <a:moveTo>
                    <a:pt x="1085" y="3336"/>
                  </a:moveTo>
                  <a:lnTo>
                    <a:pt x="2627" y="3336"/>
                  </a:lnTo>
                  <a:lnTo>
                    <a:pt x="2627" y="1699"/>
                  </a:lnTo>
                  <a:cubicBezTo>
                    <a:pt x="2627" y="1242"/>
                    <a:pt x="2399" y="1013"/>
                    <a:pt x="1942" y="1013"/>
                  </a:cubicBezTo>
                  <a:lnTo>
                    <a:pt x="1771" y="1013"/>
                  </a:lnTo>
                  <a:cubicBezTo>
                    <a:pt x="1314" y="1013"/>
                    <a:pt x="1085" y="1242"/>
                    <a:pt x="1085" y="1699"/>
                  </a:cubicBezTo>
                  <a:lnTo>
                    <a:pt x="1085" y="3336"/>
                  </a:lnTo>
                  <a:close/>
                  <a:moveTo>
                    <a:pt x="1082" y="4381"/>
                  </a:moveTo>
                  <a:lnTo>
                    <a:pt x="1085" y="6181"/>
                  </a:lnTo>
                  <a:cubicBezTo>
                    <a:pt x="1085" y="6638"/>
                    <a:pt x="1314" y="6867"/>
                    <a:pt x="1771" y="6867"/>
                  </a:cubicBezTo>
                  <a:lnTo>
                    <a:pt x="1971" y="6867"/>
                  </a:lnTo>
                  <a:cubicBezTo>
                    <a:pt x="2428" y="6867"/>
                    <a:pt x="2656" y="6638"/>
                    <a:pt x="2656" y="6181"/>
                  </a:cubicBezTo>
                  <a:lnTo>
                    <a:pt x="2656" y="5296"/>
                  </a:lnTo>
                  <a:lnTo>
                    <a:pt x="3713" y="5296"/>
                  </a:lnTo>
                  <a:lnTo>
                    <a:pt x="3713" y="6139"/>
                  </a:lnTo>
                  <a:cubicBezTo>
                    <a:pt x="3713" y="7295"/>
                    <a:pt x="3127" y="7881"/>
                    <a:pt x="1971" y="7881"/>
                  </a:cubicBezTo>
                  <a:lnTo>
                    <a:pt x="1742" y="7881"/>
                  </a:lnTo>
                  <a:cubicBezTo>
                    <a:pt x="585" y="7881"/>
                    <a:pt x="0" y="7295"/>
                    <a:pt x="0" y="6274"/>
                  </a:cubicBezTo>
                  <a:lnTo>
                    <a:pt x="0" y="1877"/>
                  </a:lnTo>
                  <a:cubicBezTo>
                    <a:pt x="0" y="585"/>
                    <a:pt x="585" y="0"/>
                    <a:pt x="1742" y="0"/>
                  </a:cubicBezTo>
                  <a:lnTo>
                    <a:pt x="1971" y="0"/>
                  </a:lnTo>
                  <a:cubicBezTo>
                    <a:pt x="3127" y="0"/>
                    <a:pt x="3713" y="585"/>
                    <a:pt x="3713" y="1742"/>
                  </a:cubicBezTo>
                  <a:lnTo>
                    <a:pt x="3709" y="4381"/>
                  </a:lnTo>
                  <a:lnTo>
                    <a:pt x="1082" y="4381"/>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endParaRPr lang="en-US" sz="1351"/>
            </a:p>
          </p:txBody>
        </p:sp>
        <p:sp>
          <p:nvSpPr>
            <p:cNvPr id="14" name="Freeform 2">
              <a:extLst>
                <a:ext uri="{FF2B5EF4-FFF2-40B4-BE49-F238E27FC236}">
                  <a16:creationId xmlns:a16="http://schemas.microsoft.com/office/drawing/2014/main" id="{F32E6B01-C166-8A4D-F06B-3940450D155F}"/>
                </a:ext>
              </a:extLst>
            </p:cNvPr>
            <p:cNvSpPr>
              <a:spLocks noChangeArrowheads="1"/>
            </p:cNvSpPr>
            <p:nvPr/>
          </p:nvSpPr>
          <p:spPr bwMode="auto">
            <a:xfrm>
              <a:off x="3109913" y="2035175"/>
              <a:ext cx="1368425" cy="3532188"/>
            </a:xfrm>
            <a:custGeom>
              <a:avLst/>
              <a:gdLst>
                <a:gd name="T0" fmla="*/ 390721 w 3800"/>
                <a:gd name="T1" fmla="*/ 2322993 h 9812"/>
                <a:gd name="T2" fmla="*/ 750833 w 3800"/>
                <a:gd name="T3" fmla="*/ 2466628 h 9812"/>
                <a:gd name="T4" fmla="*/ 976983 w 3800"/>
                <a:gd name="T5" fmla="*/ 2240556 h 9812"/>
                <a:gd name="T6" fmla="*/ 976983 w 3800"/>
                <a:gd name="T7" fmla="*/ 596138 h 9812"/>
                <a:gd name="T8" fmla="*/ 750833 w 3800"/>
                <a:gd name="T9" fmla="*/ 370066 h 9812"/>
                <a:gd name="T10" fmla="*/ 390721 w 3800"/>
                <a:gd name="T11" fmla="*/ 514061 h 9812"/>
                <a:gd name="T12" fmla="*/ 390721 w 3800"/>
                <a:gd name="T13" fmla="*/ 2322993 h 9812"/>
                <a:gd name="T14" fmla="*/ 0 w 3800"/>
                <a:gd name="T15" fmla="*/ 30599 h 9812"/>
                <a:gd name="T16" fmla="*/ 390721 w 3800"/>
                <a:gd name="T17" fmla="*/ 30599 h 9812"/>
                <a:gd name="T18" fmla="*/ 390721 w 3800"/>
                <a:gd name="T19" fmla="*/ 210592 h 9812"/>
                <a:gd name="T20" fmla="*/ 868950 w 3800"/>
                <a:gd name="T21" fmla="*/ 0 h 9812"/>
                <a:gd name="T22" fmla="*/ 1368065 w 3800"/>
                <a:gd name="T23" fmla="*/ 549699 h 9812"/>
                <a:gd name="T24" fmla="*/ 1368065 w 3800"/>
                <a:gd name="T25" fmla="*/ 2286995 h 9812"/>
                <a:gd name="T26" fmla="*/ 868950 w 3800"/>
                <a:gd name="T27" fmla="*/ 2837054 h 9812"/>
                <a:gd name="T28" fmla="*/ 390721 w 3800"/>
                <a:gd name="T29" fmla="*/ 2636541 h 9812"/>
                <a:gd name="T30" fmla="*/ 390721 w 3800"/>
                <a:gd name="T31" fmla="*/ 3531828 h 9812"/>
                <a:gd name="T32" fmla="*/ 0 w 3800"/>
                <a:gd name="T33" fmla="*/ 3531828 h 9812"/>
                <a:gd name="T34" fmla="*/ 0 w 3800"/>
                <a:gd name="T35" fmla="*/ 30599 h 9812"/>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3800" h="9812">
                  <a:moveTo>
                    <a:pt x="1085" y="6453"/>
                  </a:moveTo>
                  <a:cubicBezTo>
                    <a:pt x="1385" y="6710"/>
                    <a:pt x="1728" y="6852"/>
                    <a:pt x="2085" y="6852"/>
                  </a:cubicBezTo>
                  <a:cubicBezTo>
                    <a:pt x="2485" y="6852"/>
                    <a:pt x="2713" y="6667"/>
                    <a:pt x="2713" y="6224"/>
                  </a:cubicBezTo>
                  <a:lnTo>
                    <a:pt x="2713" y="1656"/>
                  </a:lnTo>
                  <a:cubicBezTo>
                    <a:pt x="2713" y="1213"/>
                    <a:pt x="2485" y="1028"/>
                    <a:pt x="2085" y="1028"/>
                  </a:cubicBezTo>
                  <a:cubicBezTo>
                    <a:pt x="1728" y="1028"/>
                    <a:pt x="1385" y="1170"/>
                    <a:pt x="1085" y="1428"/>
                  </a:cubicBezTo>
                  <a:lnTo>
                    <a:pt x="1085" y="6453"/>
                  </a:lnTo>
                  <a:close/>
                  <a:moveTo>
                    <a:pt x="0" y="85"/>
                  </a:moveTo>
                  <a:lnTo>
                    <a:pt x="1085" y="85"/>
                  </a:lnTo>
                  <a:lnTo>
                    <a:pt x="1085" y="585"/>
                  </a:lnTo>
                  <a:cubicBezTo>
                    <a:pt x="1342" y="314"/>
                    <a:pt x="1785" y="0"/>
                    <a:pt x="2413" y="0"/>
                  </a:cubicBezTo>
                  <a:cubicBezTo>
                    <a:pt x="3342" y="0"/>
                    <a:pt x="3799" y="614"/>
                    <a:pt x="3799" y="1527"/>
                  </a:cubicBezTo>
                  <a:lnTo>
                    <a:pt x="3799" y="6353"/>
                  </a:lnTo>
                  <a:cubicBezTo>
                    <a:pt x="3799" y="7267"/>
                    <a:pt x="3342" y="7881"/>
                    <a:pt x="2413" y="7881"/>
                  </a:cubicBezTo>
                  <a:cubicBezTo>
                    <a:pt x="1785" y="7881"/>
                    <a:pt x="1342" y="7581"/>
                    <a:pt x="1085" y="7324"/>
                  </a:cubicBezTo>
                  <a:lnTo>
                    <a:pt x="1085" y="9811"/>
                  </a:lnTo>
                  <a:lnTo>
                    <a:pt x="0" y="9811"/>
                  </a:lnTo>
                  <a:lnTo>
                    <a:pt x="0" y="85"/>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endParaRPr lang="en-US" sz="1351"/>
            </a:p>
          </p:txBody>
        </p:sp>
        <p:sp>
          <p:nvSpPr>
            <p:cNvPr id="18" name="Freeform 3">
              <a:extLst>
                <a:ext uri="{FF2B5EF4-FFF2-40B4-BE49-F238E27FC236}">
                  <a16:creationId xmlns:a16="http://schemas.microsoft.com/office/drawing/2014/main" id="{E03AE30D-E01D-646B-B6C0-684365C7E83B}"/>
                </a:ext>
              </a:extLst>
            </p:cNvPr>
            <p:cNvSpPr>
              <a:spLocks noChangeArrowheads="1"/>
            </p:cNvSpPr>
            <p:nvPr/>
          </p:nvSpPr>
          <p:spPr bwMode="auto">
            <a:xfrm>
              <a:off x="4711700" y="2035175"/>
              <a:ext cx="1328738" cy="2836863"/>
            </a:xfrm>
            <a:custGeom>
              <a:avLst/>
              <a:gdLst>
                <a:gd name="T0" fmla="*/ 937679 w 3690"/>
                <a:gd name="T1" fmla="*/ 2338019 h 7882"/>
                <a:gd name="T2" fmla="*/ 937679 w 3690"/>
                <a:gd name="T3" fmla="*/ 1422750 h 7882"/>
                <a:gd name="T4" fmla="*/ 582988 w 3690"/>
                <a:gd name="T5" fmla="*/ 1556999 h 7882"/>
                <a:gd name="T6" fmla="*/ 392500 w 3690"/>
                <a:gd name="T7" fmla="*/ 1844573 h 7882"/>
                <a:gd name="T8" fmla="*/ 392500 w 3690"/>
                <a:gd name="T9" fmla="*/ 2266035 h 7882"/>
                <a:gd name="T10" fmla="*/ 582988 w 3690"/>
                <a:gd name="T11" fmla="*/ 2466149 h 7882"/>
                <a:gd name="T12" fmla="*/ 937679 w 3690"/>
                <a:gd name="T13" fmla="*/ 2338019 h 7882"/>
                <a:gd name="T14" fmla="*/ 2161 w 3690"/>
                <a:gd name="T15" fmla="*/ 1839174 h 7882"/>
                <a:gd name="T16" fmla="*/ 413025 w 3690"/>
                <a:gd name="T17" fmla="*/ 1253950 h 7882"/>
                <a:gd name="T18" fmla="*/ 937679 w 3690"/>
                <a:gd name="T19" fmla="*/ 1073991 h 7882"/>
                <a:gd name="T20" fmla="*/ 937679 w 3690"/>
                <a:gd name="T21" fmla="*/ 611498 h 7882"/>
                <a:gd name="T22" fmla="*/ 690656 w 3690"/>
                <a:gd name="T23" fmla="*/ 359557 h 7882"/>
                <a:gd name="T24" fmla="*/ 627280 w 3690"/>
                <a:gd name="T25" fmla="*/ 359557 h 7882"/>
                <a:gd name="T26" fmla="*/ 380257 w 3690"/>
                <a:gd name="T27" fmla="*/ 611498 h 7882"/>
                <a:gd name="T28" fmla="*/ 380257 w 3690"/>
                <a:gd name="T29" fmla="*/ 1004527 h 7882"/>
                <a:gd name="T30" fmla="*/ 0 w 3690"/>
                <a:gd name="T31" fmla="*/ 1004527 h 7882"/>
                <a:gd name="T32" fmla="*/ 0 w 3690"/>
                <a:gd name="T33" fmla="*/ 626975 h 7882"/>
                <a:gd name="T34" fmla="*/ 627280 w 3690"/>
                <a:gd name="T35" fmla="*/ 0 h 7882"/>
                <a:gd name="T36" fmla="*/ 701098 w 3690"/>
                <a:gd name="T37" fmla="*/ 0 h 7882"/>
                <a:gd name="T38" fmla="*/ 1328378 w 3690"/>
                <a:gd name="T39" fmla="*/ 626975 h 7882"/>
                <a:gd name="T40" fmla="*/ 1328378 w 3690"/>
                <a:gd name="T41" fmla="*/ 2805550 h 7882"/>
                <a:gd name="T42" fmla="*/ 937679 w 3690"/>
                <a:gd name="T43" fmla="*/ 2805550 h 7882"/>
                <a:gd name="T44" fmla="*/ 937679 w 3690"/>
                <a:gd name="T45" fmla="*/ 2630631 h 7882"/>
                <a:gd name="T46" fmla="*/ 459477 w 3690"/>
                <a:gd name="T47" fmla="*/ 2836503 h 7882"/>
                <a:gd name="T48" fmla="*/ 2161 w 3690"/>
                <a:gd name="T49" fmla="*/ 2348096 h 7882"/>
                <a:gd name="T50" fmla="*/ 2161 w 3690"/>
                <a:gd name="T51" fmla="*/ 1839174 h 7882"/>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3690" h="7882">
                  <a:moveTo>
                    <a:pt x="2604" y="6496"/>
                  </a:moveTo>
                  <a:lnTo>
                    <a:pt x="2604" y="3953"/>
                  </a:lnTo>
                  <a:lnTo>
                    <a:pt x="1619" y="4326"/>
                  </a:lnTo>
                  <a:cubicBezTo>
                    <a:pt x="1219" y="4483"/>
                    <a:pt x="1090" y="4683"/>
                    <a:pt x="1090" y="5125"/>
                  </a:cubicBezTo>
                  <a:lnTo>
                    <a:pt x="1090" y="6296"/>
                  </a:lnTo>
                  <a:cubicBezTo>
                    <a:pt x="1090" y="6667"/>
                    <a:pt x="1276" y="6852"/>
                    <a:pt x="1619" y="6852"/>
                  </a:cubicBezTo>
                  <a:cubicBezTo>
                    <a:pt x="1947" y="6852"/>
                    <a:pt x="2247" y="6738"/>
                    <a:pt x="2604" y="6496"/>
                  </a:cubicBezTo>
                  <a:close/>
                  <a:moveTo>
                    <a:pt x="6" y="5110"/>
                  </a:moveTo>
                  <a:cubicBezTo>
                    <a:pt x="6" y="4155"/>
                    <a:pt x="320" y="3769"/>
                    <a:pt x="1147" y="3484"/>
                  </a:cubicBezTo>
                  <a:lnTo>
                    <a:pt x="2604" y="2984"/>
                  </a:lnTo>
                  <a:lnTo>
                    <a:pt x="2604" y="1699"/>
                  </a:lnTo>
                  <a:cubicBezTo>
                    <a:pt x="2604" y="1242"/>
                    <a:pt x="2375" y="999"/>
                    <a:pt x="1918" y="999"/>
                  </a:cubicBezTo>
                  <a:lnTo>
                    <a:pt x="1742" y="999"/>
                  </a:lnTo>
                  <a:cubicBezTo>
                    <a:pt x="1285" y="999"/>
                    <a:pt x="1056" y="1242"/>
                    <a:pt x="1056" y="1699"/>
                  </a:cubicBezTo>
                  <a:lnTo>
                    <a:pt x="1056" y="2791"/>
                  </a:lnTo>
                  <a:lnTo>
                    <a:pt x="0" y="2791"/>
                  </a:lnTo>
                  <a:lnTo>
                    <a:pt x="0" y="1742"/>
                  </a:lnTo>
                  <a:cubicBezTo>
                    <a:pt x="0" y="585"/>
                    <a:pt x="586" y="0"/>
                    <a:pt x="1742" y="0"/>
                  </a:cubicBezTo>
                  <a:lnTo>
                    <a:pt x="1947" y="0"/>
                  </a:lnTo>
                  <a:cubicBezTo>
                    <a:pt x="3104" y="0"/>
                    <a:pt x="3689" y="585"/>
                    <a:pt x="3689" y="1742"/>
                  </a:cubicBezTo>
                  <a:lnTo>
                    <a:pt x="3689" y="7795"/>
                  </a:lnTo>
                  <a:lnTo>
                    <a:pt x="2604" y="7795"/>
                  </a:lnTo>
                  <a:lnTo>
                    <a:pt x="2604" y="7309"/>
                  </a:lnTo>
                  <a:cubicBezTo>
                    <a:pt x="2304" y="7595"/>
                    <a:pt x="1904" y="7881"/>
                    <a:pt x="1276" y="7881"/>
                  </a:cubicBezTo>
                  <a:cubicBezTo>
                    <a:pt x="406" y="7881"/>
                    <a:pt x="6" y="7381"/>
                    <a:pt x="6" y="6524"/>
                  </a:cubicBezTo>
                  <a:lnTo>
                    <a:pt x="6" y="5110"/>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endParaRPr lang="en-US" sz="1351"/>
            </a:p>
          </p:txBody>
        </p:sp>
        <p:sp>
          <p:nvSpPr>
            <p:cNvPr id="19" name="Freeform 4">
              <a:extLst>
                <a:ext uri="{FF2B5EF4-FFF2-40B4-BE49-F238E27FC236}">
                  <a16:creationId xmlns:a16="http://schemas.microsoft.com/office/drawing/2014/main" id="{99B8B88D-9BFC-B1D2-05A4-C8D432F98479}"/>
                </a:ext>
              </a:extLst>
            </p:cNvPr>
            <p:cNvSpPr>
              <a:spLocks noChangeArrowheads="1"/>
            </p:cNvSpPr>
            <p:nvPr/>
          </p:nvSpPr>
          <p:spPr bwMode="auto">
            <a:xfrm>
              <a:off x="6292850" y="2035175"/>
              <a:ext cx="2262188" cy="2806700"/>
            </a:xfrm>
            <a:custGeom>
              <a:avLst/>
              <a:gdLst>
                <a:gd name="T0" fmla="*/ 1326358 w 6285"/>
                <a:gd name="T1" fmla="*/ 2806340 h 7796"/>
                <a:gd name="T2" fmla="*/ 935470 w 6285"/>
                <a:gd name="T3" fmla="*/ 2806340 h 7796"/>
                <a:gd name="T4" fmla="*/ 935470 w 6285"/>
                <a:gd name="T5" fmla="*/ 570628 h 7796"/>
                <a:gd name="T6" fmla="*/ 750463 w 6285"/>
                <a:gd name="T7" fmla="*/ 370098 h 7796"/>
                <a:gd name="T8" fmla="*/ 390889 w 6285"/>
                <a:gd name="T9" fmla="*/ 508705 h 7796"/>
                <a:gd name="T10" fmla="*/ 390889 w 6285"/>
                <a:gd name="T11" fmla="*/ 2806340 h 7796"/>
                <a:gd name="T12" fmla="*/ 0 w 6285"/>
                <a:gd name="T13" fmla="*/ 2806340 h 7796"/>
                <a:gd name="T14" fmla="*/ 0 w 6285"/>
                <a:gd name="T15" fmla="*/ 30602 h 7796"/>
                <a:gd name="T16" fmla="*/ 390889 w 6285"/>
                <a:gd name="T17" fmla="*/ 30602 h 7796"/>
                <a:gd name="T18" fmla="*/ 390889 w 6285"/>
                <a:gd name="T19" fmla="*/ 210611 h 7796"/>
                <a:gd name="T20" fmla="*/ 868882 w 6285"/>
                <a:gd name="T21" fmla="*/ 0 h 7796"/>
                <a:gd name="T22" fmla="*/ 1274888 w 6285"/>
                <a:gd name="T23" fmla="*/ 226091 h 7796"/>
                <a:gd name="T24" fmla="*/ 1804351 w 6285"/>
                <a:gd name="T25" fmla="*/ 0 h 7796"/>
                <a:gd name="T26" fmla="*/ 2261828 w 6285"/>
                <a:gd name="T27" fmla="*/ 488184 h 7796"/>
                <a:gd name="T28" fmla="*/ 2261828 w 6285"/>
                <a:gd name="T29" fmla="*/ 2806340 h 7796"/>
                <a:gd name="T30" fmla="*/ 1870939 w 6285"/>
                <a:gd name="T31" fmla="*/ 2806340 h 7796"/>
                <a:gd name="T32" fmla="*/ 1870939 w 6285"/>
                <a:gd name="T33" fmla="*/ 570628 h 7796"/>
                <a:gd name="T34" fmla="*/ 1685933 w 6285"/>
                <a:gd name="T35" fmla="*/ 370098 h 7796"/>
                <a:gd name="T36" fmla="*/ 1326358 w 6285"/>
                <a:gd name="T37" fmla="*/ 508705 h 7796"/>
                <a:gd name="T38" fmla="*/ 1326358 w 6285"/>
                <a:gd name="T39" fmla="*/ 2806340 h 779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6285" h="7796">
                  <a:moveTo>
                    <a:pt x="3685" y="7795"/>
                  </a:moveTo>
                  <a:lnTo>
                    <a:pt x="2599" y="7795"/>
                  </a:lnTo>
                  <a:lnTo>
                    <a:pt x="2599" y="1585"/>
                  </a:lnTo>
                  <a:cubicBezTo>
                    <a:pt x="2599" y="1199"/>
                    <a:pt x="2414" y="1028"/>
                    <a:pt x="2085" y="1028"/>
                  </a:cubicBezTo>
                  <a:cubicBezTo>
                    <a:pt x="1785" y="1028"/>
                    <a:pt x="1471" y="1142"/>
                    <a:pt x="1086" y="1413"/>
                  </a:cubicBezTo>
                  <a:lnTo>
                    <a:pt x="1086" y="7795"/>
                  </a:lnTo>
                  <a:lnTo>
                    <a:pt x="0" y="7795"/>
                  </a:lnTo>
                  <a:lnTo>
                    <a:pt x="0" y="85"/>
                  </a:lnTo>
                  <a:lnTo>
                    <a:pt x="1086" y="85"/>
                  </a:lnTo>
                  <a:lnTo>
                    <a:pt x="1086" y="585"/>
                  </a:lnTo>
                  <a:cubicBezTo>
                    <a:pt x="1400" y="285"/>
                    <a:pt x="1814" y="0"/>
                    <a:pt x="2414" y="0"/>
                  </a:cubicBezTo>
                  <a:cubicBezTo>
                    <a:pt x="2971" y="0"/>
                    <a:pt x="3342" y="228"/>
                    <a:pt x="3542" y="628"/>
                  </a:cubicBezTo>
                  <a:cubicBezTo>
                    <a:pt x="3928" y="299"/>
                    <a:pt x="4385" y="0"/>
                    <a:pt x="5013" y="0"/>
                  </a:cubicBezTo>
                  <a:cubicBezTo>
                    <a:pt x="5855" y="0"/>
                    <a:pt x="6284" y="514"/>
                    <a:pt x="6284" y="1356"/>
                  </a:cubicBezTo>
                  <a:lnTo>
                    <a:pt x="6284" y="7795"/>
                  </a:lnTo>
                  <a:lnTo>
                    <a:pt x="5198" y="7795"/>
                  </a:lnTo>
                  <a:lnTo>
                    <a:pt x="5198" y="1585"/>
                  </a:lnTo>
                  <a:cubicBezTo>
                    <a:pt x="5198" y="1199"/>
                    <a:pt x="5013" y="1028"/>
                    <a:pt x="4684" y="1028"/>
                  </a:cubicBezTo>
                  <a:cubicBezTo>
                    <a:pt x="4385" y="1028"/>
                    <a:pt x="4070" y="1142"/>
                    <a:pt x="3685" y="1413"/>
                  </a:cubicBezTo>
                  <a:lnTo>
                    <a:pt x="3685" y="7795"/>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endParaRPr lang="en-US" sz="1351"/>
            </a:p>
          </p:txBody>
        </p:sp>
        <p:sp>
          <p:nvSpPr>
            <p:cNvPr id="20" name="Freeform 5">
              <a:extLst>
                <a:ext uri="{FF2B5EF4-FFF2-40B4-BE49-F238E27FC236}">
                  <a16:creationId xmlns:a16="http://schemas.microsoft.com/office/drawing/2014/main" id="{6BEC7886-F126-38DA-404C-3D2D0FFBD87B}"/>
                </a:ext>
              </a:extLst>
            </p:cNvPr>
            <p:cNvSpPr>
              <a:spLocks noChangeArrowheads="1"/>
            </p:cNvSpPr>
            <p:nvPr/>
          </p:nvSpPr>
          <p:spPr bwMode="auto">
            <a:xfrm>
              <a:off x="14288" y="2322513"/>
              <a:ext cx="1004887" cy="2274887"/>
            </a:xfrm>
            <a:custGeom>
              <a:avLst/>
              <a:gdLst>
                <a:gd name="T0" fmla="*/ 1004527 w 2790"/>
                <a:gd name="T1" fmla="*/ 0 h 6317"/>
                <a:gd name="T2" fmla="*/ 1004527 w 2790"/>
                <a:gd name="T3" fmla="*/ 510652 h 6317"/>
                <a:gd name="T4" fmla="*/ 346488 w 2790"/>
                <a:gd name="T5" fmla="*/ 1137624 h 6317"/>
                <a:gd name="T6" fmla="*/ 1004527 w 2790"/>
                <a:gd name="T7" fmla="*/ 1752711 h 6317"/>
                <a:gd name="T8" fmla="*/ 1004527 w 2790"/>
                <a:gd name="T9" fmla="*/ 2274527 h 6317"/>
                <a:gd name="T10" fmla="*/ 0 w 2790"/>
                <a:gd name="T11" fmla="*/ 1331009 h 6317"/>
                <a:gd name="T12" fmla="*/ 0 w 2790"/>
                <a:gd name="T13" fmla="*/ 955042 h 6317"/>
                <a:gd name="T14" fmla="*/ 1004527 w 2790"/>
                <a:gd name="T15" fmla="*/ 0 h 6317"/>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2790" h="6317">
                  <a:moveTo>
                    <a:pt x="2789" y="0"/>
                  </a:moveTo>
                  <a:lnTo>
                    <a:pt x="2789" y="1418"/>
                  </a:lnTo>
                  <a:lnTo>
                    <a:pt x="962" y="3159"/>
                  </a:lnTo>
                  <a:lnTo>
                    <a:pt x="2789" y="4867"/>
                  </a:lnTo>
                  <a:lnTo>
                    <a:pt x="2789" y="6316"/>
                  </a:lnTo>
                  <a:lnTo>
                    <a:pt x="0" y="3696"/>
                  </a:lnTo>
                  <a:lnTo>
                    <a:pt x="0" y="2652"/>
                  </a:lnTo>
                  <a:lnTo>
                    <a:pt x="2789"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endParaRPr lang="en-US" sz="1351"/>
            </a:p>
          </p:txBody>
        </p:sp>
        <p:sp>
          <p:nvSpPr>
            <p:cNvPr id="21" name="Freeform 6">
              <a:extLst>
                <a:ext uri="{FF2B5EF4-FFF2-40B4-BE49-F238E27FC236}">
                  <a16:creationId xmlns:a16="http://schemas.microsoft.com/office/drawing/2014/main" id="{DCAE504C-3EF2-74A7-AAAF-A71D53BF22CA}"/>
                </a:ext>
              </a:extLst>
            </p:cNvPr>
            <p:cNvSpPr>
              <a:spLocks noChangeArrowheads="1"/>
            </p:cNvSpPr>
            <p:nvPr/>
          </p:nvSpPr>
          <p:spPr bwMode="auto">
            <a:xfrm>
              <a:off x="9050338" y="2322513"/>
              <a:ext cx="1003300" cy="2274887"/>
            </a:xfrm>
            <a:custGeom>
              <a:avLst/>
              <a:gdLst>
                <a:gd name="T0" fmla="*/ 1002940 w 2789"/>
                <a:gd name="T1" fmla="*/ 955042 h 6317"/>
                <a:gd name="T2" fmla="*/ 1002940 w 2789"/>
                <a:gd name="T3" fmla="*/ 1331009 h 6317"/>
                <a:gd name="T4" fmla="*/ 0 w 2789"/>
                <a:gd name="T5" fmla="*/ 2274527 h 6317"/>
                <a:gd name="T6" fmla="*/ 0 w 2789"/>
                <a:gd name="T7" fmla="*/ 1752711 h 6317"/>
                <a:gd name="T8" fmla="*/ 656876 w 2789"/>
                <a:gd name="T9" fmla="*/ 1137624 h 6317"/>
                <a:gd name="T10" fmla="*/ 0 w 2789"/>
                <a:gd name="T11" fmla="*/ 510652 h 6317"/>
                <a:gd name="T12" fmla="*/ 0 w 2789"/>
                <a:gd name="T13" fmla="*/ 0 h 6317"/>
                <a:gd name="T14" fmla="*/ 1002940 w 2789"/>
                <a:gd name="T15" fmla="*/ 955042 h 6317"/>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2789" h="6317">
                  <a:moveTo>
                    <a:pt x="2788" y="2652"/>
                  </a:moveTo>
                  <a:lnTo>
                    <a:pt x="2788" y="3696"/>
                  </a:lnTo>
                  <a:lnTo>
                    <a:pt x="0" y="6316"/>
                  </a:lnTo>
                  <a:lnTo>
                    <a:pt x="0" y="4867"/>
                  </a:lnTo>
                  <a:lnTo>
                    <a:pt x="1826" y="3159"/>
                  </a:lnTo>
                  <a:lnTo>
                    <a:pt x="0" y="1418"/>
                  </a:lnTo>
                  <a:lnTo>
                    <a:pt x="0" y="0"/>
                  </a:lnTo>
                  <a:lnTo>
                    <a:pt x="2788" y="2652"/>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endParaRPr lang="en-US" sz="1351"/>
            </a:p>
          </p:txBody>
        </p:sp>
      </p:grpSp>
      <p:pic>
        <p:nvPicPr>
          <p:cNvPr id="8" name="Graphic 2">
            <a:extLst>
              <a:ext uri="{FF2B5EF4-FFF2-40B4-BE49-F238E27FC236}">
                <a16:creationId xmlns:a16="http://schemas.microsoft.com/office/drawing/2014/main" id="{F963D704-3898-6567-81F4-37066BBA3737}"/>
              </a:ext>
            </a:extLst>
          </p:cNvPr>
          <p:cNvPicPr>
            <a:picLocks noChangeAspect="1"/>
          </p:cNvPicPr>
          <p:nvPr userDrawn="1"/>
        </p:nvPicPr>
        <p:blipFill>
          <a:blip r:embed="rId2"/>
          <a:srcRect/>
          <a:stretch/>
        </p:blipFill>
        <p:spPr>
          <a:xfrm>
            <a:off x="1677513" y="692958"/>
            <a:ext cx="908029" cy="245472"/>
          </a:xfrm>
          <a:prstGeom prst="rect">
            <a:avLst/>
          </a:prstGeom>
        </p:spPr>
      </p:pic>
    </p:spTree>
    <p:extLst>
      <p:ext uri="{BB962C8B-B14F-4D97-AF65-F5344CB8AC3E}">
        <p14:creationId xmlns:p14="http://schemas.microsoft.com/office/powerpoint/2010/main" val="220823013"/>
      </p:ext>
    </p:extLst>
  </p:cSld>
  <p:clrMapOvr>
    <a:masterClrMapping/>
  </p:clrMapOvr>
  <p:extLst>
    <p:ext uri="{DCECCB84-F9BA-43D5-87BE-67443E8EF086}">
      <p15:sldGuideLst xmlns:p15="http://schemas.microsoft.com/office/powerpoint/2012/main"/>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 Text">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12F8321F-CBE4-3AE2-9F96-BFB8E966019A}"/>
              </a:ext>
            </a:extLst>
          </p:cNvPr>
          <p:cNvSpPr>
            <a:spLocks noGrp="1"/>
          </p:cNvSpPr>
          <p:nvPr>
            <p:ph type="body" sz="quarter" idx="26" hasCustomPrompt="1"/>
          </p:nvPr>
        </p:nvSpPr>
        <p:spPr>
          <a:xfrm>
            <a:off x="612075" y="1714501"/>
            <a:ext cx="10896600" cy="480060"/>
          </a:xfrm>
          <a:prstGeom prst="rect">
            <a:avLst/>
          </a:prstGeom>
        </p:spPr>
        <p:txBody>
          <a:bodyPr/>
          <a:lstStyle>
            <a:lvl1pPr>
              <a:defRPr sz="1800" b="1" i="0">
                <a:solidFill>
                  <a:schemeClr val="tx1"/>
                </a:solidFill>
                <a:latin typeface="Calibri" panose="020F0502020204030204" pitchFamily="34" charset="0"/>
                <a:cs typeface="Calibri" panose="020F0502020204030204" pitchFamily="34" charset="0"/>
              </a:defRPr>
            </a:lvl1pPr>
          </a:lstStyle>
          <a:p>
            <a:r>
              <a:rPr lang="en-US"/>
              <a:t>Lorem ipsum </a:t>
            </a:r>
            <a:r>
              <a:rPr lang="en-US" err="1"/>
              <a:t>nibh</a:t>
            </a:r>
            <a:r>
              <a:rPr lang="en-US"/>
              <a:t> </a:t>
            </a:r>
            <a:r>
              <a:rPr lang="en-US" err="1"/>
              <a:t>commodo</a:t>
            </a:r>
            <a:r>
              <a:rPr lang="en-US"/>
              <a:t> </a:t>
            </a:r>
            <a:r>
              <a:rPr lang="en-US" err="1"/>
              <a:t>aenean</a:t>
            </a:r>
            <a:r>
              <a:rPr lang="en-US"/>
              <a:t> </a:t>
            </a:r>
            <a:r>
              <a:rPr lang="en-US" err="1"/>
              <a:t>leo</a:t>
            </a:r>
            <a:r>
              <a:rPr lang="en-US"/>
              <a:t> porta </a:t>
            </a:r>
            <a:r>
              <a:rPr lang="en-US" err="1"/>
              <a:t>duis</a:t>
            </a:r>
            <a:r>
              <a:rPr lang="en-US"/>
              <a:t> magna </a:t>
            </a:r>
            <a:r>
              <a:rPr lang="en-US" err="1"/>
              <a:t>felis</a:t>
            </a:r>
            <a:r>
              <a:rPr lang="en-US"/>
              <a:t> </a:t>
            </a:r>
            <a:r>
              <a:rPr lang="en-US" err="1"/>
              <a:t>bibendum</a:t>
            </a:r>
            <a:r>
              <a:rPr lang="en-US"/>
              <a:t> </a:t>
            </a:r>
            <a:r>
              <a:rPr lang="en-US" err="1"/>
              <a:t>tempor</a:t>
            </a:r>
            <a:r>
              <a:rPr lang="en-US"/>
              <a:t>.</a:t>
            </a:r>
          </a:p>
        </p:txBody>
      </p:sp>
      <p:sp>
        <p:nvSpPr>
          <p:cNvPr id="5" name="Text Placeholder 3">
            <a:extLst>
              <a:ext uri="{FF2B5EF4-FFF2-40B4-BE49-F238E27FC236}">
                <a16:creationId xmlns:a16="http://schemas.microsoft.com/office/drawing/2014/main" id="{00EFE346-B473-7259-AA25-B8FA3887A9F3}"/>
              </a:ext>
            </a:extLst>
          </p:cNvPr>
          <p:cNvSpPr>
            <a:spLocks noGrp="1"/>
          </p:cNvSpPr>
          <p:nvPr>
            <p:ph type="body" sz="quarter" idx="27" hasCustomPrompt="1"/>
          </p:nvPr>
        </p:nvSpPr>
        <p:spPr>
          <a:xfrm>
            <a:off x="612075" y="2252472"/>
            <a:ext cx="10896600" cy="1136904"/>
          </a:xfrm>
          <a:prstGeom prst="rect">
            <a:avLst/>
          </a:prstGeom>
        </p:spPr>
        <p:txBody>
          <a:bodyPr/>
          <a:lstStyle>
            <a:lvl1pPr>
              <a:defRPr sz="1400" b="0" i="0">
                <a:solidFill>
                  <a:schemeClr val="tx1"/>
                </a:solidFill>
                <a:latin typeface="Calibri Light" panose="020F0302020204030204" pitchFamily="34" charset="0"/>
                <a:cs typeface="Calibri Light" panose="020F0302020204030204" pitchFamily="34" charset="0"/>
              </a:defRPr>
            </a:lvl1pPr>
          </a:lstStyle>
          <a:p>
            <a:r>
              <a:rPr lang="en-US"/>
              <a:t>When you just have a bunch of type and don’t want to try too hard. Lorem ipsum diam fames </a:t>
            </a:r>
            <a:r>
              <a:rPr lang="en-US" err="1"/>
              <a:t>augue</a:t>
            </a:r>
            <a:r>
              <a:rPr lang="en-US"/>
              <a:t> in </a:t>
            </a:r>
            <a:r>
              <a:rPr lang="en-US" err="1"/>
              <a:t>habitasse</a:t>
            </a:r>
            <a:r>
              <a:rPr lang="en-US"/>
              <a:t> </a:t>
            </a:r>
            <a:r>
              <a:rPr lang="en-US" err="1"/>
              <a:t>tempor</a:t>
            </a:r>
            <a:r>
              <a:rPr lang="en-US"/>
              <a:t> porta, </a:t>
            </a:r>
            <a:r>
              <a:rPr lang="en-US" err="1"/>
              <a:t>eleifend</a:t>
            </a:r>
            <a:r>
              <a:rPr lang="en-US"/>
              <a:t> </a:t>
            </a:r>
            <a:r>
              <a:rPr lang="en-US" err="1"/>
              <a:t>nulla</a:t>
            </a:r>
            <a:r>
              <a:rPr lang="en-US"/>
              <a:t> </a:t>
            </a:r>
            <a:r>
              <a:rPr lang="en-US" err="1"/>
              <a:t>primis</a:t>
            </a:r>
            <a:r>
              <a:rPr lang="en-US"/>
              <a:t> eros mi </a:t>
            </a:r>
            <a:r>
              <a:rPr lang="en-US" err="1"/>
              <a:t>maecenas</a:t>
            </a:r>
            <a:r>
              <a:rPr lang="en-US"/>
              <a:t> ligula magna, </a:t>
            </a:r>
            <a:r>
              <a:rPr lang="en-US" err="1"/>
              <a:t>nibh</a:t>
            </a:r>
            <a:r>
              <a:rPr lang="en-US"/>
              <a:t> </a:t>
            </a:r>
            <a:r>
              <a:rPr lang="en-US" err="1"/>
              <a:t>commodo</a:t>
            </a:r>
            <a:r>
              <a:rPr lang="en-US"/>
              <a:t> </a:t>
            </a:r>
            <a:r>
              <a:rPr lang="en-US" err="1"/>
              <a:t>aenean</a:t>
            </a:r>
            <a:r>
              <a:rPr lang="en-US"/>
              <a:t> </a:t>
            </a:r>
            <a:r>
              <a:rPr lang="en-US" err="1"/>
              <a:t>leo</a:t>
            </a:r>
            <a:r>
              <a:rPr lang="en-US"/>
              <a:t> porta </a:t>
            </a:r>
            <a:r>
              <a:rPr lang="en-US" err="1"/>
              <a:t>duis</a:t>
            </a:r>
            <a:r>
              <a:rPr lang="en-US"/>
              <a:t> magna </a:t>
            </a:r>
            <a:r>
              <a:rPr lang="en-US" err="1"/>
              <a:t>felis</a:t>
            </a:r>
            <a:r>
              <a:rPr lang="en-US"/>
              <a:t> </a:t>
            </a:r>
            <a:r>
              <a:rPr lang="en-US" err="1"/>
              <a:t>bibendum</a:t>
            </a:r>
            <a:r>
              <a:rPr lang="en-US"/>
              <a:t> </a:t>
            </a:r>
            <a:r>
              <a:rPr lang="en-US" err="1"/>
              <a:t>tempor</a:t>
            </a:r>
            <a:r>
              <a:rPr lang="en-US"/>
              <a:t> </a:t>
            </a:r>
            <a:r>
              <a:rPr lang="en-US" err="1"/>
              <a:t>cubilia</a:t>
            </a:r>
            <a:r>
              <a:rPr lang="en-US"/>
              <a:t> gravida </a:t>
            </a:r>
            <a:r>
              <a:rPr lang="en-US" err="1"/>
              <a:t>molestie</a:t>
            </a:r>
            <a:r>
              <a:rPr lang="en-US"/>
              <a:t> a </a:t>
            </a:r>
            <a:r>
              <a:rPr lang="en-US" err="1"/>
              <a:t>pretium</a:t>
            </a:r>
            <a:r>
              <a:rPr lang="en-US"/>
              <a:t> </a:t>
            </a:r>
            <a:r>
              <a:rPr lang="en-US" err="1"/>
              <a:t>egestas</a:t>
            </a:r>
            <a:r>
              <a:rPr lang="en-US"/>
              <a:t> </a:t>
            </a:r>
            <a:r>
              <a:rPr lang="en-US" err="1"/>
              <a:t>iaculis</a:t>
            </a:r>
            <a:r>
              <a:rPr lang="en-US"/>
              <a:t> per, eros sit </a:t>
            </a:r>
            <a:r>
              <a:rPr lang="en-US" err="1"/>
              <a:t>leo</a:t>
            </a:r>
            <a:r>
              <a:rPr lang="en-US"/>
              <a:t> </a:t>
            </a:r>
            <a:r>
              <a:rPr lang="en-US" err="1"/>
              <a:t>augue</a:t>
            </a:r>
            <a:r>
              <a:rPr lang="en-US"/>
              <a:t> tempus </a:t>
            </a:r>
            <a:r>
              <a:rPr lang="en-US" err="1"/>
              <a:t>consectetur</a:t>
            </a:r>
            <a:r>
              <a:rPr lang="en-US"/>
              <a:t> </a:t>
            </a:r>
            <a:r>
              <a:rPr lang="en-US" err="1"/>
              <a:t>primis</a:t>
            </a:r>
            <a:r>
              <a:rPr lang="en-US"/>
              <a:t> dolor ac </a:t>
            </a:r>
            <a:r>
              <a:rPr lang="en-US" err="1"/>
              <a:t>euismod</a:t>
            </a:r>
            <a:r>
              <a:rPr lang="en-US"/>
              <a:t> </a:t>
            </a:r>
            <a:r>
              <a:rPr lang="en-US" err="1"/>
              <a:t>accumsan</a:t>
            </a:r>
            <a:r>
              <a:rPr lang="en-US"/>
              <a:t>, </a:t>
            </a:r>
            <a:r>
              <a:rPr lang="en-US" err="1"/>
              <a:t>vivamus</a:t>
            </a:r>
            <a:r>
              <a:rPr lang="en-US"/>
              <a:t> </a:t>
            </a:r>
            <a:r>
              <a:rPr lang="en-US" err="1"/>
              <a:t>feugiat</a:t>
            </a:r>
            <a:r>
              <a:rPr lang="en-US"/>
              <a:t> </a:t>
            </a:r>
            <a:r>
              <a:rPr lang="en-US" err="1"/>
              <a:t>elit</a:t>
            </a:r>
            <a:r>
              <a:rPr lang="en-US"/>
              <a:t> </a:t>
            </a:r>
            <a:r>
              <a:rPr lang="en-US" err="1"/>
              <a:t>luctus</a:t>
            </a:r>
            <a:r>
              <a:rPr lang="en-US"/>
              <a:t> libero </a:t>
            </a:r>
            <a:r>
              <a:rPr lang="en-US" err="1"/>
              <a:t>duis</a:t>
            </a:r>
            <a:r>
              <a:rPr lang="en-US"/>
              <a:t> </a:t>
            </a:r>
            <a:r>
              <a:rPr lang="en-US" err="1"/>
              <a:t>elementum</a:t>
            </a:r>
            <a:r>
              <a:rPr lang="en-US"/>
              <a:t> </a:t>
            </a:r>
            <a:r>
              <a:rPr lang="en-US" err="1"/>
              <a:t>etiam</a:t>
            </a:r>
            <a:r>
              <a:rPr lang="en-US"/>
              <a:t> lorem cursus </a:t>
            </a:r>
            <a:r>
              <a:rPr lang="en-US" err="1"/>
              <a:t>hendrerit</a:t>
            </a:r>
            <a:r>
              <a:rPr lang="en-US"/>
              <a:t> </a:t>
            </a:r>
            <a:r>
              <a:rPr lang="en-US" err="1"/>
              <a:t>curae</a:t>
            </a:r>
            <a:r>
              <a:rPr lang="en-US"/>
              <a:t> </a:t>
            </a:r>
            <a:r>
              <a:rPr lang="en-US" err="1"/>
              <a:t>primis</a:t>
            </a:r>
            <a:r>
              <a:rPr lang="en-US"/>
              <a:t> </a:t>
            </a:r>
            <a:r>
              <a:rPr lang="en-US" err="1"/>
              <a:t>cubilia</a:t>
            </a:r>
            <a:r>
              <a:rPr lang="en-US"/>
              <a:t> vestibulum </a:t>
            </a:r>
            <a:r>
              <a:rPr lang="en-US" err="1"/>
              <a:t>eu</a:t>
            </a:r>
            <a:r>
              <a:rPr lang="en-US"/>
              <a:t> ac integer, </a:t>
            </a:r>
            <a:r>
              <a:rPr lang="en-US" err="1"/>
              <a:t>tellus</a:t>
            </a:r>
            <a:r>
              <a:rPr lang="en-US"/>
              <a:t> pharetra </a:t>
            </a:r>
            <a:r>
              <a:rPr lang="en-US" err="1"/>
              <a:t>dictumst</a:t>
            </a:r>
            <a:r>
              <a:rPr lang="en-US"/>
              <a:t> </a:t>
            </a:r>
            <a:r>
              <a:rPr lang="en-US" err="1"/>
              <a:t>fusce</a:t>
            </a:r>
            <a:r>
              <a:rPr lang="en-US"/>
              <a:t> </a:t>
            </a:r>
            <a:r>
              <a:rPr lang="en-US" err="1"/>
              <a:t>condimentum</a:t>
            </a:r>
            <a:r>
              <a:rPr lang="en-US"/>
              <a:t> ad </a:t>
            </a:r>
            <a:r>
              <a:rPr lang="en-US" err="1"/>
              <a:t>facilisis</a:t>
            </a:r>
            <a:r>
              <a:rPr lang="en-US"/>
              <a:t>.</a:t>
            </a:r>
          </a:p>
        </p:txBody>
      </p:sp>
      <p:sp>
        <p:nvSpPr>
          <p:cNvPr id="6" name="Title 1">
            <a:extLst>
              <a:ext uri="{FF2B5EF4-FFF2-40B4-BE49-F238E27FC236}">
                <a16:creationId xmlns:a16="http://schemas.microsoft.com/office/drawing/2014/main" id="{F41C2428-681A-71EE-84A9-79042E08AE19}"/>
              </a:ext>
            </a:extLst>
          </p:cNvPr>
          <p:cNvSpPr>
            <a:spLocks noGrp="1"/>
          </p:cNvSpPr>
          <p:nvPr>
            <p:ph type="title" hasCustomPrompt="1"/>
          </p:nvPr>
        </p:nvSpPr>
        <p:spPr>
          <a:xfrm>
            <a:off x="633632" y="722843"/>
            <a:ext cx="10963056" cy="338554"/>
          </a:xfrm>
          <a:prstGeom prst="rect">
            <a:avLst/>
          </a:prstGeom>
        </p:spPr>
        <p:txBody>
          <a:bodyPr/>
          <a:lstStyle>
            <a:lvl1pPr>
              <a:defRPr lang="en-US" sz="2200" b="1" i="0" kern="1200" spc="0" dirty="0">
                <a:solidFill>
                  <a:schemeClr val="tx1"/>
                </a:solidFill>
                <a:effectLst/>
                <a:latin typeface="+mj-lt"/>
                <a:ea typeface="Calibri" panose="020F0502020204030204" pitchFamily="34" charset="0"/>
                <a:cs typeface="Calibri" panose="020F0502020204030204" pitchFamily="34" charset="0"/>
              </a:defRPr>
            </a:lvl1pPr>
          </a:lstStyle>
          <a:p>
            <a:pPr marL="0" lvl="0" indent="0" algn="l" defTabSz="914400" rtl="0" eaLnBrk="1" latinLnBrk="0" hangingPunct="1">
              <a:lnSpc>
                <a:spcPct val="100000"/>
              </a:lnSpc>
              <a:spcBef>
                <a:spcPts val="0"/>
              </a:spcBef>
              <a:spcAft>
                <a:spcPts val="0"/>
              </a:spcAft>
              <a:buFont typeface="Arial" panose="020B0604020202020204" pitchFamily="34" charset="0"/>
              <a:buNone/>
            </a:pPr>
            <a:r>
              <a:rPr lang="en-US">
                <a:effectLst/>
              </a:rPr>
              <a:t>Title Goes Here</a:t>
            </a:r>
            <a:endParaRPr lang="en-US"/>
          </a:p>
        </p:txBody>
      </p:sp>
      <p:sp>
        <p:nvSpPr>
          <p:cNvPr id="7" name="Text Placeholder 10">
            <a:extLst>
              <a:ext uri="{FF2B5EF4-FFF2-40B4-BE49-F238E27FC236}">
                <a16:creationId xmlns:a16="http://schemas.microsoft.com/office/drawing/2014/main" id="{CAC26D2F-2CA3-414E-FD67-FA58417D692C}"/>
              </a:ext>
            </a:extLst>
          </p:cNvPr>
          <p:cNvSpPr>
            <a:spLocks noGrp="1"/>
          </p:cNvSpPr>
          <p:nvPr>
            <p:ph type="body" sz="quarter" idx="28" hasCustomPrompt="1"/>
          </p:nvPr>
        </p:nvSpPr>
        <p:spPr>
          <a:xfrm>
            <a:off x="633632" y="419100"/>
            <a:ext cx="3611880" cy="225706"/>
          </a:xfrm>
          <a:prstGeom prst="rect">
            <a:avLst/>
          </a:prstGeom>
        </p:spPr>
        <p:txBody>
          <a:bodyPr/>
          <a:lstStyle>
            <a:lvl1pPr>
              <a:spcBef>
                <a:spcPts val="0"/>
              </a:spcBef>
              <a:defRPr lang="en-US" sz="1000" b="0" i="0" kern="1200" cap="all" spc="300" baseline="0" dirty="0">
                <a:solidFill>
                  <a:schemeClr val="tx1"/>
                </a:solidFill>
                <a:latin typeface="Calibri" panose="020F0502020204030204" pitchFamily="34" charset="0"/>
                <a:ea typeface="Calibri" panose="020F0502020204030204" pitchFamily="34" charset="0"/>
                <a:cs typeface="Calibri" panose="020F0502020204030204" pitchFamily="34" charset="0"/>
              </a:defRPr>
            </a:lvl1pPr>
          </a:lstStyle>
          <a:p>
            <a:pPr marL="0" lvl="0" indent="0" algn="l" defTabSz="914400" rtl="0" eaLnBrk="1" latinLnBrk="0" hangingPunct="1">
              <a:lnSpc>
                <a:spcPct val="100000"/>
              </a:lnSpc>
              <a:spcBef>
                <a:spcPts val="600"/>
              </a:spcBef>
              <a:spcAft>
                <a:spcPts val="0"/>
              </a:spcAft>
              <a:buFont typeface="Arial" panose="020B0604020202020204" pitchFamily="34" charset="0"/>
              <a:buNone/>
            </a:pPr>
            <a:r>
              <a:rPr lang="en-US"/>
              <a:t>Click to add section title</a:t>
            </a:r>
          </a:p>
        </p:txBody>
      </p:sp>
    </p:spTree>
    <p:extLst>
      <p:ext uri="{BB962C8B-B14F-4D97-AF65-F5344CB8AC3E}">
        <p14:creationId xmlns:p14="http://schemas.microsoft.com/office/powerpoint/2010/main" val="2482839372"/>
      </p:ext>
    </p:extLst>
  </p:cSld>
  <p:clrMapOvr>
    <a:masterClrMapping/>
  </p:clrMapOvr>
  <p:extLst>
    <p:ext uri="{DCECCB84-F9BA-43D5-87BE-67443E8EF086}">
      <p15:sldGuideLst xmlns:p15="http://schemas.microsoft.com/office/powerpoint/2012/main"/>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Callout_Text_A">
    <p:bg>
      <p:bgPr>
        <a:solidFill>
          <a:schemeClr val="tx1"/>
        </a:solidFill>
        <a:effectLst/>
      </p:bgPr>
    </p:bg>
    <p:spTree>
      <p:nvGrpSpPr>
        <p:cNvPr id="1" name=""/>
        <p:cNvGrpSpPr/>
        <p:nvPr/>
      </p:nvGrpSpPr>
      <p:grpSpPr>
        <a:xfrm>
          <a:off x="0" y="0"/>
          <a:ext cx="0" cy="0"/>
          <a:chOff x="0" y="0"/>
          <a:chExt cx="0" cy="0"/>
        </a:xfrm>
      </p:grpSpPr>
      <p:sp>
        <p:nvSpPr>
          <p:cNvPr id="4" name="Text Placeholder 4">
            <a:extLst>
              <a:ext uri="{FF2B5EF4-FFF2-40B4-BE49-F238E27FC236}">
                <a16:creationId xmlns:a16="http://schemas.microsoft.com/office/drawing/2014/main" id="{7E6E663F-AF64-7B87-AE3D-F5A6C5893F85}"/>
              </a:ext>
            </a:extLst>
          </p:cNvPr>
          <p:cNvSpPr>
            <a:spLocks noGrp="1"/>
          </p:cNvSpPr>
          <p:nvPr>
            <p:ph type="body" sz="quarter" idx="25" hasCustomPrompt="1"/>
          </p:nvPr>
        </p:nvSpPr>
        <p:spPr>
          <a:xfrm>
            <a:off x="623950" y="722843"/>
            <a:ext cx="3732914" cy="338554"/>
          </a:xfrm>
          <a:prstGeom prst="rect">
            <a:avLst/>
          </a:prstGeom>
        </p:spPr>
        <p:txBody>
          <a:bodyPr wrap="square">
            <a:spAutoFit/>
          </a:bodyPr>
          <a:lstStyle>
            <a:lvl1pPr>
              <a:lnSpc>
                <a:spcPct val="100000"/>
              </a:lnSpc>
              <a:spcBef>
                <a:spcPts val="0"/>
              </a:spcBef>
              <a:defRPr sz="2200" b="1" i="0" spc="0">
                <a:solidFill>
                  <a:schemeClr val="bg1"/>
                </a:solidFill>
                <a:latin typeface="Calibri" panose="020F0502020204030204" pitchFamily="34" charset="0"/>
                <a:cs typeface="Calibri" panose="020F0502020204030204" pitchFamily="34" charset="0"/>
              </a:defRPr>
            </a:lvl1pPr>
            <a:lvl2pPr>
              <a:buNone/>
              <a:defRPr/>
            </a:lvl2pPr>
          </a:lstStyle>
          <a:p>
            <a:pPr lvl="0"/>
            <a:r>
              <a:rPr lang="en-US">
                <a:effectLst/>
              </a:rPr>
              <a:t>Title with Big and Little Type</a:t>
            </a:r>
            <a:endParaRPr lang="en-US"/>
          </a:p>
        </p:txBody>
      </p:sp>
      <p:sp>
        <p:nvSpPr>
          <p:cNvPr id="5" name="Text Placeholder 4">
            <a:extLst>
              <a:ext uri="{FF2B5EF4-FFF2-40B4-BE49-F238E27FC236}">
                <a16:creationId xmlns:a16="http://schemas.microsoft.com/office/drawing/2014/main" id="{FA77C3C3-85E4-081D-6724-C859C653A129}"/>
              </a:ext>
            </a:extLst>
          </p:cNvPr>
          <p:cNvSpPr>
            <a:spLocks noGrp="1"/>
          </p:cNvSpPr>
          <p:nvPr>
            <p:ph type="body" sz="quarter" idx="26" hasCustomPrompt="1"/>
          </p:nvPr>
        </p:nvSpPr>
        <p:spPr>
          <a:xfrm>
            <a:off x="623950" y="419100"/>
            <a:ext cx="3732914" cy="153888"/>
          </a:xfrm>
          <a:prstGeom prst="rect">
            <a:avLst/>
          </a:prstGeom>
        </p:spPr>
        <p:txBody>
          <a:bodyPr wrap="square">
            <a:spAutoFit/>
          </a:bodyPr>
          <a:lstStyle>
            <a:lvl1pPr>
              <a:lnSpc>
                <a:spcPct val="100000"/>
              </a:lnSpc>
              <a:spcBef>
                <a:spcPts val="0"/>
              </a:spcBef>
              <a:defRPr sz="1000" b="0" i="0" spc="300">
                <a:solidFill>
                  <a:schemeClr val="bg1"/>
                </a:solidFill>
                <a:latin typeface="Calibri" panose="020F0502020204030204" pitchFamily="34" charset="0"/>
                <a:cs typeface="Calibri" panose="020F0502020204030204" pitchFamily="34" charset="0"/>
              </a:defRPr>
            </a:lvl1pPr>
            <a:lvl2pPr>
              <a:buNone/>
              <a:defRPr/>
            </a:lvl2pPr>
          </a:lstStyle>
          <a:p>
            <a:pPr lvl="0"/>
            <a:r>
              <a:rPr lang="en-US">
                <a:effectLst/>
              </a:rPr>
              <a:t>SECTION TITLE</a:t>
            </a:r>
            <a:endParaRPr lang="en-US"/>
          </a:p>
        </p:txBody>
      </p:sp>
      <p:sp>
        <p:nvSpPr>
          <p:cNvPr id="13" name="Rectangle 12">
            <a:extLst>
              <a:ext uri="{FF2B5EF4-FFF2-40B4-BE49-F238E27FC236}">
                <a16:creationId xmlns:a16="http://schemas.microsoft.com/office/drawing/2014/main" id="{5AB310E8-6618-FE08-E6DC-00BA11F812CC}"/>
              </a:ext>
            </a:extLst>
          </p:cNvPr>
          <p:cNvSpPr/>
          <p:nvPr userDrawn="1"/>
        </p:nvSpPr>
        <p:spPr bwMode="auto">
          <a:xfrm>
            <a:off x="6454588" y="0"/>
            <a:ext cx="5737412" cy="6858000"/>
          </a:xfrm>
          <a:prstGeom prst="rect">
            <a:avLst/>
          </a:prstGeom>
          <a:solidFill>
            <a:srgbClr val="FBFAFA"/>
          </a:solidFill>
          <a:ln>
            <a:noFill/>
          </a:ln>
          <a:effectLst/>
        </p:spPr>
        <p:txBody>
          <a:bodyPr wrap="none" rtlCol="0" anchor="ctr"/>
          <a:lstStyle/>
          <a:p>
            <a:pPr algn="ctr"/>
            <a:endParaRPr lang="en-US" sz="2400" err="1">
              <a:solidFill>
                <a:srgbClr val="FBFAFA"/>
              </a:solidFill>
              <a:latin typeface="Calibri Light" panose="020F0302020204030204" pitchFamily="34" charset="0"/>
              <a:ea typeface="Human Sans ExtraLight" charset="0"/>
              <a:cs typeface="Human Sans ExtraLight" charset="0"/>
            </a:endParaRPr>
          </a:p>
        </p:txBody>
      </p:sp>
      <p:sp>
        <p:nvSpPr>
          <p:cNvPr id="8" name="Title 2">
            <a:extLst>
              <a:ext uri="{FF2B5EF4-FFF2-40B4-BE49-F238E27FC236}">
                <a16:creationId xmlns:a16="http://schemas.microsoft.com/office/drawing/2014/main" id="{0EFDF222-F5FF-C5FC-328A-D041866005E2}"/>
              </a:ext>
            </a:extLst>
          </p:cNvPr>
          <p:cNvSpPr>
            <a:spLocks noGrp="1"/>
          </p:cNvSpPr>
          <p:nvPr>
            <p:ph type="title" hasCustomPrompt="1"/>
          </p:nvPr>
        </p:nvSpPr>
        <p:spPr>
          <a:xfrm>
            <a:off x="613790" y="1739153"/>
            <a:ext cx="5333999" cy="2769989"/>
          </a:xfrm>
          <a:prstGeom prst="rect">
            <a:avLst/>
          </a:prstGeom>
        </p:spPr>
        <p:txBody>
          <a:bodyPr wrap="square">
            <a:spAutoFit/>
          </a:bodyPr>
          <a:lstStyle>
            <a:lvl1pPr>
              <a:defRPr sz="6000" b="0" i="0">
                <a:solidFill>
                  <a:schemeClr val="bg1"/>
                </a:solidFill>
                <a:latin typeface="Calibri Light" panose="020F0302020204030204" pitchFamily="34" charset="0"/>
                <a:cs typeface="Calibri Light" panose="020F0302020204030204" pitchFamily="34" charset="0"/>
              </a:defRPr>
            </a:lvl1pPr>
          </a:lstStyle>
          <a:p>
            <a:r>
              <a:rPr lang="en-US"/>
              <a:t>When You Have a Big Thought That is Paired…</a:t>
            </a:r>
          </a:p>
        </p:txBody>
      </p:sp>
      <p:sp>
        <p:nvSpPr>
          <p:cNvPr id="3" name="Text Placeholder 4">
            <a:extLst>
              <a:ext uri="{FF2B5EF4-FFF2-40B4-BE49-F238E27FC236}">
                <a16:creationId xmlns:a16="http://schemas.microsoft.com/office/drawing/2014/main" id="{B9BE9A04-ECA1-501C-8903-EB031E3BF54D}"/>
              </a:ext>
            </a:extLst>
          </p:cNvPr>
          <p:cNvSpPr>
            <a:spLocks noGrp="1"/>
          </p:cNvSpPr>
          <p:nvPr>
            <p:ph type="body" sz="quarter" idx="16" hasCustomPrompt="1"/>
          </p:nvPr>
        </p:nvSpPr>
        <p:spPr>
          <a:xfrm>
            <a:off x="6934201" y="1981200"/>
            <a:ext cx="4610100" cy="2439386"/>
          </a:xfrm>
          <a:prstGeom prst="rect">
            <a:avLst/>
          </a:prstGeom>
        </p:spPr>
        <p:txBody>
          <a:bodyPr wrap="square" anchor="t" anchorCtr="0">
            <a:spAutoFit/>
          </a:bodyPr>
          <a:lstStyle>
            <a:lvl1pPr>
              <a:lnSpc>
                <a:spcPts val="2400"/>
              </a:lnSpc>
              <a:defRPr sz="1600" b="0" i="0">
                <a:solidFill>
                  <a:srgbClr val="000000"/>
                </a:solidFill>
                <a:latin typeface="Calibri Light" panose="020F0302020204030204" pitchFamily="34" charset="0"/>
                <a:cs typeface="Calibri Light" panose="020F0302020204030204" pitchFamily="34" charset="0"/>
              </a:defRPr>
            </a:lvl1pPr>
          </a:lstStyle>
          <a:p>
            <a:pPr lvl="0"/>
            <a:r>
              <a:rPr lang="en-US"/>
              <a:t>With a lot of supporting details. Lorem ipsum dolor sit </a:t>
            </a:r>
            <a:r>
              <a:rPr lang="en-US" err="1"/>
              <a:t>amet</a:t>
            </a:r>
            <a:r>
              <a:rPr lang="en-US"/>
              <a:t>, </a:t>
            </a:r>
            <a:r>
              <a:rPr lang="en-US" err="1"/>
              <a:t>consectetuer</a:t>
            </a:r>
            <a:r>
              <a:rPr lang="en-US"/>
              <a:t> </a:t>
            </a:r>
            <a:r>
              <a:rPr lang="en-US" err="1"/>
              <a:t>adipiscing</a:t>
            </a:r>
            <a:r>
              <a:rPr lang="en-US"/>
              <a:t> </a:t>
            </a:r>
            <a:r>
              <a:rPr lang="en-US" err="1"/>
              <a:t>elit</a:t>
            </a:r>
            <a:r>
              <a:rPr lang="en-US"/>
              <a:t>, sed diam </a:t>
            </a:r>
            <a:r>
              <a:rPr lang="en-US" err="1"/>
              <a:t>nonummy</a:t>
            </a:r>
            <a:r>
              <a:rPr lang="en-US"/>
              <a:t> </a:t>
            </a:r>
            <a:r>
              <a:rPr lang="en-US" err="1"/>
              <a:t>nibh</a:t>
            </a:r>
            <a:r>
              <a:rPr lang="en-US"/>
              <a:t> </a:t>
            </a:r>
            <a:r>
              <a:rPr lang="en-US" err="1"/>
              <a:t>euismod</a:t>
            </a:r>
            <a:r>
              <a:rPr lang="en-US"/>
              <a:t> </a:t>
            </a:r>
            <a:r>
              <a:rPr lang="en-US" err="1"/>
              <a:t>tincidunt</a:t>
            </a:r>
            <a:r>
              <a:rPr lang="en-US"/>
              <a:t> </a:t>
            </a:r>
            <a:r>
              <a:rPr lang="en-US" err="1"/>
              <a:t>ut</a:t>
            </a:r>
            <a:r>
              <a:rPr lang="en-US"/>
              <a:t> </a:t>
            </a:r>
            <a:r>
              <a:rPr lang="en-US" err="1"/>
              <a:t>laoreet</a:t>
            </a:r>
            <a:r>
              <a:rPr lang="en-US"/>
              <a:t> dolore magna </a:t>
            </a:r>
            <a:r>
              <a:rPr lang="en-US" err="1"/>
              <a:t>aliquam</a:t>
            </a:r>
            <a:r>
              <a:rPr lang="en-US"/>
              <a:t> </a:t>
            </a:r>
            <a:r>
              <a:rPr lang="en-US" err="1"/>
              <a:t>erat</a:t>
            </a:r>
            <a:r>
              <a:rPr lang="en-US"/>
              <a:t> </a:t>
            </a:r>
            <a:r>
              <a:rPr lang="en-US" err="1"/>
              <a:t>volutpat</a:t>
            </a:r>
            <a:r>
              <a:rPr lang="en-US"/>
              <a:t>. Ut </a:t>
            </a:r>
            <a:r>
              <a:rPr lang="en-US" err="1"/>
              <a:t>wisi</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a:t>
            </a:r>
            <a:r>
              <a:rPr lang="en-US" err="1"/>
              <a:t>exerci</a:t>
            </a:r>
            <a:r>
              <a:rPr lang="en-US"/>
              <a:t> </a:t>
            </a:r>
            <a:r>
              <a:rPr lang="en-US" err="1"/>
              <a:t>tation</a:t>
            </a:r>
            <a:r>
              <a:rPr lang="en-US"/>
              <a:t> </a:t>
            </a:r>
            <a:r>
              <a:rPr lang="en-US" err="1"/>
              <a:t>ullamcorper</a:t>
            </a:r>
            <a:r>
              <a:rPr lang="en-US"/>
              <a:t> </a:t>
            </a:r>
            <a:r>
              <a:rPr lang="en-US" err="1"/>
              <a:t>suscipit</a:t>
            </a:r>
            <a:r>
              <a:rPr lang="en-US"/>
              <a:t> </a:t>
            </a:r>
            <a:r>
              <a:rPr lang="en-US" err="1"/>
              <a:t>lobortis</a:t>
            </a:r>
            <a:r>
              <a:rPr lang="en-US"/>
              <a:t> </a:t>
            </a:r>
            <a:r>
              <a:rPr lang="en-US" err="1"/>
              <a:t>nisl</a:t>
            </a:r>
            <a:r>
              <a:rPr lang="en-US"/>
              <a:t>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utem vel </a:t>
            </a:r>
            <a:r>
              <a:rPr lang="en-US" err="1"/>
              <a:t>eum</a:t>
            </a:r>
            <a:r>
              <a:rPr lang="en-US"/>
              <a:t> </a:t>
            </a:r>
            <a:r>
              <a:rPr lang="en-US" err="1"/>
              <a:t>iriure</a:t>
            </a:r>
            <a:r>
              <a:rPr lang="en-US"/>
              <a:t> dolor in </a:t>
            </a:r>
            <a:r>
              <a:rPr lang="en-US" err="1"/>
              <a:t>hendrerit</a:t>
            </a:r>
            <a:r>
              <a:rPr lang="en-US"/>
              <a:t> in </a:t>
            </a:r>
            <a:r>
              <a:rPr lang="en-US" err="1"/>
              <a:t>vulputate</a:t>
            </a:r>
            <a:r>
              <a:rPr lang="en-US"/>
              <a:t> </a:t>
            </a:r>
            <a:r>
              <a:rPr lang="en-US" err="1"/>
              <a:t>velit</a:t>
            </a:r>
            <a:r>
              <a:rPr lang="en-US"/>
              <a:t> </a:t>
            </a:r>
            <a:r>
              <a:rPr lang="en-US" err="1"/>
              <a:t>esse</a:t>
            </a:r>
            <a:r>
              <a:rPr lang="en-US"/>
              <a:t> </a:t>
            </a:r>
            <a:r>
              <a:rPr lang="en-US" err="1"/>
              <a:t>molestie</a:t>
            </a:r>
            <a:r>
              <a:rPr lang="en-US"/>
              <a:t> </a:t>
            </a:r>
            <a:r>
              <a:rPr lang="en-US" err="1"/>
              <a:t>consequat</a:t>
            </a:r>
            <a:r>
              <a:rPr lang="en-US"/>
              <a:t>.</a:t>
            </a:r>
          </a:p>
        </p:txBody>
      </p:sp>
      <p:grpSp>
        <p:nvGrpSpPr>
          <p:cNvPr id="18" name="Group 17">
            <a:extLst>
              <a:ext uri="{FF2B5EF4-FFF2-40B4-BE49-F238E27FC236}">
                <a16:creationId xmlns:a16="http://schemas.microsoft.com/office/drawing/2014/main" id="{2ACB5442-1762-E378-EAC6-E7C0E6669560}"/>
              </a:ext>
            </a:extLst>
          </p:cNvPr>
          <p:cNvGrpSpPr/>
          <p:nvPr userDrawn="1"/>
        </p:nvGrpSpPr>
        <p:grpSpPr>
          <a:xfrm>
            <a:off x="610888" y="6472556"/>
            <a:ext cx="372834" cy="131175"/>
            <a:chOff x="14288" y="2035175"/>
            <a:chExt cx="10039350" cy="3532188"/>
          </a:xfrm>
          <a:solidFill>
            <a:schemeClr val="bg1"/>
          </a:solidFill>
        </p:grpSpPr>
        <p:sp>
          <p:nvSpPr>
            <p:cNvPr id="19" name="Freeform 1">
              <a:extLst>
                <a:ext uri="{FF2B5EF4-FFF2-40B4-BE49-F238E27FC236}">
                  <a16:creationId xmlns:a16="http://schemas.microsoft.com/office/drawing/2014/main" id="{02DBB943-0066-F0B5-2D94-C0E12AD2C350}"/>
                </a:ext>
              </a:extLst>
            </p:cNvPr>
            <p:cNvSpPr>
              <a:spLocks noChangeArrowheads="1"/>
            </p:cNvSpPr>
            <p:nvPr/>
          </p:nvSpPr>
          <p:spPr bwMode="auto">
            <a:xfrm>
              <a:off x="1519238" y="2035175"/>
              <a:ext cx="1336675" cy="2836863"/>
            </a:xfrm>
            <a:custGeom>
              <a:avLst/>
              <a:gdLst>
                <a:gd name="T0" fmla="*/ 390493 w 3714"/>
                <a:gd name="T1" fmla="*/ 1200682 h 7882"/>
                <a:gd name="T2" fmla="*/ 945462 w 3714"/>
                <a:gd name="T3" fmla="*/ 1200682 h 7882"/>
                <a:gd name="T4" fmla="*/ 945462 w 3714"/>
                <a:gd name="T5" fmla="*/ 611498 h 7882"/>
                <a:gd name="T6" fmla="*/ 698929 w 3714"/>
                <a:gd name="T7" fmla="*/ 364596 h 7882"/>
                <a:gd name="T8" fmla="*/ 637386 w 3714"/>
                <a:gd name="T9" fmla="*/ 364596 h 7882"/>
                <a:gd name="T10" fmla="*/ 390493 w 3714"/>
                <a:gd name="T11" fmla="*/ 611498 h 7882"/>
                <a:gd name="T12" fmla="*/ 390493 w 3714"/>
                <a:gd name="T13" fmla="*/ 1200682 h 7882"/>
                <a:gd name="T14" fmla="*/ 389414 w 3714"/>
                <a:gd name="T15" fmla="*/ 1576795 h 7882"/>
                <a:gd name="T16" fmla="*/ 390493 w 3714"/>
                <a:gd name="T17" fmla="*/ 2224645 h 7882"/>
                <a:gd name="T18" fmla="*/ 637386 w 3714"/>
                <a:gd name="T19" fmla="*/ 2471548 h 7882"/>
                <a:gd name="T20" fmla="*/ 709366 w 3714"/>
                <a:gd name="T21" fmla="*/ 2471548 h 7882"/>
                <a:gd name="T22" fmla="*/ 955899 w 3714"/>
                <a:gd name="T23" fmla="*/ 2224645 h 7882"/>
                <a:gd name="T24" fmla="*/ 955899 w 3714"/>
                <a:gd name="T25" fmla="*/ 1906119 h 7882"/>
                <a:gd name="T26" fmla="*/ 1336315 w 3714"/>
                <a:gd name="T27" fmla="*/ 1906119 h 7882"/>
                <a:gd name="T28" fmla="*/ 1336315 w 3714"/>
                <a:gd name="T29" fmla="*/ 2209528 h 7882"/>
                <a:gd name="T30" fmla="*/ 709366 w 3714"/>
                <a:gd name="T31" fmla="*/ 2836503 h 7882"/>
                <a:gd name="T32" fmla="*/ 626949 w 3714"/>
                <a:gd name="T33" fmla="*/ 2836503 h 7882"/>
                <a:gd name="T34" fmla="*/ 0 w 3714"/>
                <a:gd name="T35" fmla="*/ 2258117 h 7882"/>
                <a:gd name="T36" fmla="*/ 0 w 3714"/>
                <a:gd name="T37" fmla="*/ 675564 h 7882"/>
                <a:gd name="T38" fmla="*/ 626949 w 3714"/>
                <a:gd name="T39" fmla="*/ 0 h 7882"/>
                <a:gd name="T40" fmla="*/ 709366 w 3714"/>
                <a:gd name="T41" fmla="*/ 0 h 7882"/>
                <a:gd name="T42" fmla="*/ 1336315 w 3714"/>
                <a:gd name="T43" fmla="*/ 626975 h 7882"/>
                <a:gd name="T44" fmla="*/ 1334875 w 3714"/>
                <a:gd name="T45" fmla="*/ 1576795 h 7882"/>
                <a:gd name="T46" fmla="*/ 389414 w 3714"/>
                <a:gd name="T47" fmla="*/ 1576795 h 7882"/>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3714" h="7882">
                  <a:moveTo>
                    <a:pt x="1085" y="3336"/>
                  </a:moveTo>
                  <a:lnTo>
                    <a:pt x="2627" y="3336"/>
                  </a:lnTo>
                  <a:lnTo>
                    <a:pt x="2627" y="1699"/>
                  </a:lnTo>
                  <a:cubicBezTo>
                    <a:pt x="2627" y="1242"/>
                    <a:pt x="2399" y="1013"/>
                    <a:pt x="1942" y="1013"/>
                  </a:cubicBezTo>
                  <a:lnTo>
                    <a:pt x="1771" y="1013"/>
                  </a:lnTo>
                  <a:cubicBezTo>
                    <a:pt x="1314" y="1013"/>
                    <a:pt x="1085" y="1242"/>
                    <a:pt x="1085" y="1699"/>
                  </a:cubicBezTo>
                  <a:lnTo>
                    <a:pt x="1085" y="3336"/>
                  </a:lnTo>
                  <a:close/>
                  <a:moveTo>
                    <a:pt x="1082" y="4381"/>
                  </a:moveTo>
                  <a:lnTo>
                    <a:pt x="1085" y="6181"/>
                  </a:lnTo>
                  <a:cubicBezTo>
                    <a:pt x="1085" y="6638"/>
                    <a:pt x="1314" y="6867"/>
                    <a:pt x="1771" y="6867"/>
                  </a:cubicBezTo>
                  <a:lnTo>
                    <a:pt x="1971" y="6867"/>
                  </a:lnTo>
                  <a:cubicBezTo>
                    <a:pt x="2428" y="6867"/>
                    <a:pt x="2656" y="6638"/>
                    <a:pt x="2656" y="6181"/>
                  </a:cubicBezTo>
                  <a:lnTo>
                    <a:pt x="2656" y="5296"/>
                  </a:lnTo>
                  <a:lnTo>
                    <a:pt x="3713" y="5296"/>
                  </a:lnTo>
                  <a:lnTo>
                    <a:pt x="3713" y="6139"/>
                  </a:lnTo>
                  <a:cubicBezTo>
                    <a:pt x="3713" y="7295"/>
                    <a:pt x="3127" y="7881"/>
                    <a:pt x="1971" y="7881"/>
                  </a:cubicBezTo>
                  <a:lnTo>
                    <a:pt x="1742" y="7881"/>
                  </a:lnTo>
                  <a:cubicBezTo>
                    <a:pt x="585" y="7881"/>
                    <a:pt x="0" y="7295"/>
                    <a:pt x="0" y="6274"/>
                  </a:cubicBezTo>
                  <a:lnTo>
                    <a:pt x="0" y="1877"/>
                  </a:lnTo>
                  <a:cubicBezTo>
                    <a:pt x="0" y="585"/>
                    <a:pt x="585" y="0"/>
                    <a:pt x="1742" y="0"/>
                  </a:cubicBezTo>
                  <a:lnTo>
                    <a:pt x="1971" y="0"/>
                  </a:lnTo>
                  <a:cubicBezTo>
                    <a:pt x="3127" y="0"/>
                    <a:pt x="3713" y="585"/>
                    <a:pt x="3713" y="1742"/>
                  </a:cubicBezTo>
                  <a:lnTo>
                    <a:pt x="3709" y="4381"/>
                  </a:lnTo>
                  <a:lnTo>
                    <a:pt x="1082" y="4381"/>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endParaRPr lang="en-US"/>
            </a:p>
          </p:txBody>
        </p:sp>
        <p:sp>
          <p:nvSpPr>
            <p:cNvPr id="20" name="Freeform 2">
              <a:extLst>
                <a:ext uri="{FF2B5EF4-FFF2-40B4-BE49-F238E27FC236}">
                  <a16:creationId xmlns:a16="http://schemas.microsoft.com/office/drawing/2014/main" id="{5057EB1A-8A6E-8B98-84E7-FB5D1487314D}"/>
                </a:ext>
              </a:extLst>
            </p:cNvPr>
            <p:cNvSpPr>
              <a:spLocks noChangeArrowheads="1"/>
            </p:cNvSpPr>
            <p:nvPr/>
          </p:nvSpPr>
          <p:spPr bwMode="auto">
            <a:xfrm>
              <a:off x="3109913" y="2035175"/>
              <a:ext cx="1368425" cy="3532188"/>
            </a:xfrm>
            <a:custGeom>
              <a:avLst/>
              <a:gdLst>
                <a:gd name="T0" fmla="*/ 390721 w 3800"/>
                <a:gd name="T1" fmla="*/ 2322993 h 9812"/>
                <a:gd name="T2" fmla="*/ 750833 w 3800"/>
                <a:gd name="T3" fmla="*/ 2466628 h 9812"/>
                <a:gd name="T4" fmla="*/ 976983 w 3800"/>
                <a:gd name="T5" fmla="*/ 2240556 h 9812"/>
                <a:gd name="T6" fmla="*/ 976983 w 3800"/>
                <a:gd name="T7" fmla="*/ 596138 h 9812"/>
                <a:gd name="T8" fmla="*/ 750833 w 3800"/>
                <a:gd name="T9" fmla="*/ 370066 h 9812"/>
                <a:gd name="T10" fmla="*/ 390721 w 3800"/>
                <a:gd name="T11" fmla="*/ 514061 h 9812"/>
                <a:gd name="T12" fmla="*/ 390721 w 3800"/>
                <a:gd name="T13" fmla="*/ 2322993 h 9812"/>
                <a:gd name="T14" fmla="*/ 0 w 3800"/>
                <a:gd name="T15" fmla="*/ 30599 h 9812"/>
                <a:gd name="T16" fmla="*/ 390721 w 3800"/>
                <a:gd name="T17" fmla="*/ 30599 h 9812"/>
                <a:gd name="T18" fmla="*/ 390721 w 3800"/>
                <a:gd name="T19" fmla="*/ 210592 h 9812"/>
                <a:gd name="T20" fmla="*/ 868950 w 3800"/>
                <a:gd name="T21" fmla="*/ 0 h 9812"/>
                <a:gd name="T22" fmla="*/ 1368065 w 3800"/>
                <a:gd name="T23" fmla="*/ 549699 h 9812"/>
                <a:gd name="T24" fmla="*/ 1368065 w 3800"/>
                <a:gd name="T25" fmla="*/ 2286995 h 9812"/>
                <a:gd name="T26" fmla="*/ 868950 w 3800"/>
                <a:gd name="T27" fmla="*/ 2837054 h 9812"/>
                <a:gd name="T28" fmla="*/ 390721 w 3800"/>
                <a:gd name="T29" fmla="*/ 2636541 h 9812"/>
                <a:gd name="T30" fmla="*/ 390721 w 3800"/>
                <a:gd name="T31" fmla="*/ 3531828 h 9812"/>
                <a:gd name="T32" fmla="*/ 0 w 3800"/>
                <a:gd name="T33" fmla="*/ 3531828 h 9812"/>
                <a:gd name="T34" fmla="*/ 0 w 3800"/>
                <a:gd name="T35" fmla="*/ 30599 h 9812"/>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3800" h="9812">
                  <a:moveTo>
                    <a:pt x="1085" y="6453"/>
                  </a:moveTo>
                  <a:cubicBezTo>
                    <a:pt x="1385" y="6710"/>
                    <a:pt x="1728" y="6852"/>
                    <a:pt x="2085" y="6852"/>
                  </a:cubicBezTo>
                  <a:cubicBezTo>
                    <a:pt x="2485" y="6852"/>
                    <a:pt x="2713" y="6667"/>
                    <a:pt x="2713" y="6224"/>
                  </a:cubicBezTo>
                  <a:lnTo>
                    <a:pt x="2713" y="1656"/>
                  </a:lnTo>
                  <a:cubicBezTo>
                    <a:pt x="2713" y="1213"/>
                    <a:pt x="2485" y="1028"/>
                    <a:pt x="2085" y="1028"/>
                  </a:cubicBezTo>
                  <a:cubicBezTo>
                    <a:pt x="1728" y="1028"/>
                    <a:pt x="1385" y="1170"/>
                    <a:pt x="1085" y="1428"/>
                  </a:cubicBezTo>
                  <a:lnTo>
                    <a:pt x="1085" y="6453"/>
                  </a:lnTo>
                  <a:close/>
                  <a:moveTo>
                    <a:pt x="0" y="85"/>
                  </a:moveTo>
                  <a:lnTo>
                    <a:pt x="1085" y="85"/>
                  </a:lnTo>
                  <a:lnTo>
                    <a:pt x="1085" y="585"/>
                  </a:lnTo>
                  <a:cubicBezTo>
                    <a:pt x="1342" y="314"/>
                    <a:pt x="1785" y="0"/>
                    <a:pt x="2413" y="0"/>
                  </a:cubicBezTo>
                  <a:cubicBezTo>
                    <a:pt x="3342" y="0"/>
                    <a:pt x="3799" y="614"/>
                    <a:pt x="3799" y="1527"/>
                  </a:cubicBezTo>
                  <a:lnTo>
                    <a:pt x="3799" y="6353"/>
                  </a:lnTo>
                  <a:cubicBezTo>
                    <a:pt x="3799" y="7267"/>
                    <a:pt x="3342" y="7881"/>
                    <a:pt x="2413" y="7881"/>
                  </a:cubicBezTo>
                  <a:cubicBezTo>
                    <a:pt x="1785" y="7881"/>
                    <a:pt x="1342" y="7581"/>
                    <a:pt x="1085" y="7324"/>
                  </a:cubicBezTo>
                  <a:lnTo>
                    <a:pt x="1085" y="9811"/>
                  </a:lnTo>
                  <a:lnTo>
                    <a:pt x="0" y="9811"/>
                  </a:lnTo>
                  <a:lnTo>
                    <a:pt x="0" y="85"/>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endParaRPr lang="en-US"/>
            </a:p>
          </p:txBody>
        </p:sp>
        <p:sp>
          <p:nvSpPr>
            <p:cNvPr id="21" name="Freeform 3">
              <a:extLst>
                <a:ext uri="{FF2B5EF4-FFF2-40B4-BE49-F238E27FC236}">
                  <a16:creationId xmlns:a16="http://schemas.microsoft.com/office/drawing/2014/main" id="{1E18BAD2-05D2-FF1A-2380-29DCF9AF8756}"/>
                </a:ext>
              </a:extLst>
            </p:cNvPr>
            <p:cNvSpPr>
              <a:spLocks noChangeArrowheads="1"/>
            </p:cNvSpPr>
            <p:nvPr/>
          </p:nvSpPr>
          <p:spPr bwMode="auto">
            <a:xfrm>
              <a:off x="4711700" y="2035175"/>
              <a:ext cx="1328738" cy="2836863"/>
            </a:xfrm>
            <a:custGeom>
              <a:avLst/>
              <a:gdLst>
                <a:gd name="T0" fmla="*/ 937679 w 3690"/>
                <a:gd name="T1" fmla="*/ 2338019 h 7882"/>
                <a:gd name="T2" fmla="*/ 937679 w 3690"/>
                <a:gd name="T3" fmla="*/ 1422750 h 7882"/>
                <a:gd name="T4" fmla="*/ 582988 w 3690"/>
                <a:gd name="T5" fmla="*/ 1556999 h 7882"/>
                <a:gd name="T6" fmla="*/ 392500 w 3690"/>
                <a:gd name="T7" fmla="*/ 1844573 h 7882"/>
                <a:gd name="T8" fmla="*/ 392500 w 3690"/>
                <a:gd name="T9" fmla="*/ 2266035 h 7882"/>
                <a:gd name="T10" fmla="*/ 582988 w 3690"/>
                <a:gd name="T11" fmla="*/ 2466149 h 7882"/>
                <a:gd name="T12" fmla="*/ 937679 w 3690"/>
                <a:gd name="T13" fmla="*/ 2338019 h 7882"/>
                <a:gd name="T14" fmla="*/ 2161 w 3690"/>
                <a:gd name="T15" fmla="*/ 1839174 h 7882"/>
                <a:gd name="T16" fmla="*/ 413025 w 3690"/>
                <a:gd name="T17" fmla="*/ 1253950 h 7882"/>
                <a:gd name="T18" fmla="*/ 937679 w 3690"/>
                <a:gd name="T19" fmla="*/ 1073991 h 7882"/>
                <a:gd name="T20" fmla="*/ 937679 w 3690"/>
                <a:gd name="T21" fmla="*/ 611498 h 7882"/>
                <a:gd name="T22" fmla="*/ 690656 w 3690"/>
                <a:gd name="T23" fmla="*/ 359557 h 7882"/>
                <a:gd name="T24" fmla="*/ 627280 w 3690"/>
                <a:gd name="T25" fmla="*/ 359557 h 7882"/>
                <a:gd name="T26" fmla="*/ 380257 w 3690"/>
                <a:gd name="T27" fmla="*/ 611498 h 7882"/>
                <a:gd name="T28" fmla="*/ 380257 w 3690"/>
                <a:gd name="T29" fmla="*/ 1004527 h 7882"/>
                <a:gd name="T30" fmla="*/ 0 w 3690"/>
                <a:gd name="T31" fmla="*/ 1004527 h 7882"/>
                <a:gd name="T32" fmla="*/ 0 w 3690"/>
                <a:gd name="T33" fmla="*/ 626975 h 7882"/>
                <a:gd name="T34" fmla="*/ 627280 w 3690"/>
                <a:gd name="T35" fmla="*/ 0 h 7882"/>
                <a:gd name="T36" fmla="*/ 701098 w 3690"/>
                <a:gd name="T37" fmla="*/ 0 h 7882"/>
                <a:gd name="T38" fmla="*/ 1328378 w 3690"/>
                <a:gd name="T39" fmla="*/ 626975 h 7882"/>
                <a:gd name="T40" fmla="*/ 1328378 w 3690"/>
                <a:gd name="T41" fmla="*/ 2805550 h 7882"/>
                <a:gd name="T42" fmla="*/ 937679 w 3690"/>
                <a:gd name="T43" fmla="*/ 2805550 h 7882"/>
                <a:gd name="T44" fmla="*/ 937679 w 3690"/>
                <a:gd name="T45" fmla="*/ 2630631 h 7882"/>
                <a:gd name="T46" fmla="*/ 459477 w 3690"/>
                <a:gd name="T47" fmla="*/ 2836503 h 7882"/>
                <a:gd name="T48" fmla="*/ 2161 w 3690"/>
                <a:gd name="T49" fmla="*/ 2348096 h 7882"/>
                <a:gd name="T50" fmla="*/ 2161 w 3690"/>
                <a:gd name="T51" fmla="*/ 1839174 h 7882"/>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3690" h="7882">
                  <a:moveTo>
                    <a:pt x="2604" y="6496"/>
                  </a:moveTo>
                  <a:lnTo>
                    <a:pt x="2604" y="3953"/>
                  </a:lnTo>
                  <a:lnTo>
                    <a:pt x="1619" y="4326"/>
                  </a:lnTo>
                  <a:cubicBezTo>
                    <a:pt x="1219" y="4483"/>
                    <a:pt x="1090" y="4683"/>
                    <a:pt x="1090" y="5125"/>
                  </a:cubicBezTo>
                  <a:lnTo>
                    <a:pt x="1090" y="6296"/>
                  </a:lnTo>
                  <a:cubicBezTo>
                    <a:pt x="1090" y="6667"/>
                    <a:pt x="1276" y="6852"/>
                    <a:pt x="1619" y="6852"/>
                  </a:cubicBezTo>
                  <a:cubicBezTo>
                    <a:pt x="1947" y="6852"/>
                    <a:pt x="2247" y="6738"/>
                    <a:pt x="2604" y="6496"/>
                  </a:cubicBezTo>
                  <a:close/>
                  <a:moveTo>
                    <a:pt x="6" y="5110"/>
                  </a:moveTo>
                  <a:cubicBezTo>
                    <a:pt x="6" y="4155"/>
                    <a:pt x="320" y="3769"/>
                    <a:pt x="1147" y="3484"/>
                  </a:cubicBezTo>
                  <a:lnTo>
                    <a:pt x="2604" y="2984"/>
                  </a:lnTo>
                  <a:lnTo>
                    <a:pt x="2604" y="1699"/>
                  </a:lnTo>
                  <a:cubicBezTo>
                    <a:pt x="2604" y="1242"/>
                    <a:pt x="2375" y="999"/>
                    <a:pt x="1918" y="999"/>
                  </a:cubicBezTo>
                  <a:lnTo>
                    <a:pt x="1742" y="999"/>
                  </a:lnTo>
                  <a:cubicBezTo>
                    <a:pt x="1285" y="999"/>
                    <a:pt x="1056" y="1242"/>
                    <a:pt x="1056" y="1699"/>
                  </a:cubicBezTo>
                  <a:lnTo>
                    <a:pt x="1056" y="2791"/>
                  </a:lnTo>
                  <a:lnTo>
                    <a:pt x="0" y="2791"/>
                  </a:lnTo>
                  <a:lnTo>
                    <a:pt x="0" y="1742"/>
                  </a:lnTo>
                  <a:cubicBezTo>
                    <a:pt x="0" y="585"/>
                    <a:pt x="586" y="0"/>
                    <a:pt x="1742" y="0"/>
                  </a:cubicBezTo>
                  <a:lnTo>
                    <a:pt x="1947" y="0"/>
                  </a:lnTo>
                  <a:cubicBezTo>
                    <a:pt x="3104" y="0"/>
                    <a:pt x="3689" y="585"/>
                    <a:pt x="3689" y="1742"/>
                  </a:cubicBezTo>
                  <a:lnTo>
                    <a:pt x="3689" y="7795"/>
                  </a:lnTo>
                  <a:lnTo>
                    <a:pt x="2604" y="7795"/>
                  </a:lnTo>
                  <a:lnTo>
                    <a:pt x="2604" y="7309"/>
                  </a:lnTo>
                  <a:cubicBezTo>
                    <a:pt x="2304" y="7595"/>
                    <a:pt x="1904" y="7881"/>
                    <a:pt x="1276" y="7881"/>
                  </a:cubicBezTo>
                  <a:cubicBezTo>
                    <a:pt x="406" y="7881"/>
                    <a:pt x="6" y="7381"/>
                    <a:pt x="6" y="6524"/>
                  </a:cubicBezTo>
                  <a:lnTo>
                    <a:pt x="6" y="5110"/>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endParaRPr lang="en-US"/>
            </a:p>
          </p:txBody>
        </p:sp>
        <p:sp>
          <p:nvSpPr>
            <p:cNvPr id="22" name="Freeform 4">
              <a:extLst>
                <a:ext uri="{FF2B5EF4-FFF2-40B4-BE49-F238E27FC236}">
                  <a16:creationId xmlns:a16="http://schemas.microsoft.com/office/drawing/2014/main" id="{4CE9350F-86C6-6F48-16AD-1BA454804DFC}"/>
                </a:ext>
              </a:extLst>
            </p:cNvPr>
            <p:cNvSpPr>
              <a:spLocks noChangeArrowheads="1"/>
            </p:cNvSpPr>
            <p:nvPr/>
          </p:nvSpPr>
          <p:spPr bwMode="auto">
            <a:xfrm>
              <a:off x="6292850" y="2035175"/>
              <a:ext cx="2262188" cy="2806700"/>
            </a:xfrm>
            <a:custGeom>
              <a:avLst/>
              <a:gdLst>
                <a:gd name="T0" fmla="*/ 1326358 w 6285"/>
                <a:gd name="T1" fmla="*/ 2806340 h 7796"/>
                <a:gd name="T2" fmla="*/ 935470 w 6285"/>
                <a:gd name="T3" fmla="*/ 2806340 h 7796"/>
                <a:gd name="T4" fmla="*/ 935470 w 6285"/>
                <a:gd name="T5" fmla="*/ 570628 h 7796"/>
                <a:gd name="T6" fmla="*/ 750463 w 6285"/>
                <a:gd name="T7" fmla="*/ 370098 h 7796"/>
                <a:gd name="T8" fmla="*/ 390889 w 6285"/>
                <a:gd name="T9" fmla="*/ 508705 h 7796"/>
                <a:gd name="T10" fmla="*/ 390889 w 6285"/>
                <a:gd name="T11" fmla="*/ 2806340 h 7796"/>
                <a:gd name="T12" fmla="*/ 0 w 6285"/>
                <a:gd name="T13" fmla="*/ 2806340 h 7796"/>
                <a:gd name="T14" fmla="*/ 0 w 6285"/>
                <a:gd name="T15" fmla="*/ 30602 h 7796"/>
                <a:gd name="T16" fmla="*/ 390889 w 6285"/>
                <a:gd name="T17" fmla="*/ 30602 h 7796"/>
                <a:gd name="T18" fmla="*/ 390889 w 6285"/>
                <a:gd name="T19" fmla="*/ 210611 h 7796"/>
                <a:gd name="T20" fmla="*/ 868882 w 6285"/>
                <a:gd name="T21" fmla="*/ 0 h 7796"/>
                <a:gd name="T22" fmla="*/ 1274888 w 6285"/>
                <a:gd name="T23" fmla="*/ 226091 h 7796"/>
                <a:gd name="T24" fmla="*/ 1804351 w 6285"/>
                <a:gd name="T25" fmla="*/ 0 h 7796"/>
                <a:gd name="T26" fmla="*/ 2261828 w 6285"/>
                <a:gd name="T27" fmla="*/ 488184 h 7796"/>
                <a:gd name="T28" fmla="*/ 2261828 w 6285"/>
                <a:gd name="T29" fmla="*/ 2806340 h 7796"/>
                <a:gd name="T30" fmla="*/ 1870939 w 6285"/>
                <a:gd name="T31" fmla="*/ 2806340 h 7796"/>
                <a:gd name="T32" fmla="*/ 1870939 w 6285"/>
                <a:gd name="T33" fmla="*/ 570628 h 7796"/>
                <a:gd name="T34" fmla="*/ 1685933 w 6285"/>
                <a:gd name="T35" fmla="*/ 370098 h 7796"/>
                <a:gd name="T36" fmla="*/ 1326358 w 6285"/>
                <a:gd name="T37" fmla="*/ 508705 h 7796"/>
                <a:gd name="T38" fmla="*/ 1326358 w 6285"/>
                <a:gd name="T39" fmla="*/ 2806340 h 779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6285" h="7796">
                  <a:moveTo>
                    <a:pt x="3685" y="7795"/>
                  </a:moveTo>
                  <a:lnTo>
                    <a:pt x="2599" y="7795"/>
                  </a:lnTo>
                  <a:lnTo>
                    <a:pt x="2599" y="1585"/>
                  </a:lnTo>
                  <a:cubicBezTo>
                    <a:pt x="2599" y="1199"/>
                    <a:pt x="2414" y="1028"/>
                    <a:pt x="2085" y="1028"/>
                  </a:cubicBezTo>
                  <a:cubicBezTo>
                    <a:pt x="1785" y="1028"/>
                    <a:pt x="1471" y="1142"/>
                    <a:pt x="1086" y="1413"/>
                  </a:cubicBezTo>
                  <a:lnTo>
                    <a:pt x="1086" y="7795"/>
                  </a:lnTo>
                  <a:lnTo>
                    <a:pt x="0" y="7795"/>
                  </a:lnTo>
                  <a:lnTo>
                    <a:pt x="0" y="85"/>
                  </a:lnTo>
                  <a:lnTo>
                    <a:pt x="1086" y="85"/>
                  </a:lnTo>
                  <a:lnTo>
                    <a:pt x="1086" y="585"/>
                  </a:lnTo>
                  <a:cubicBezTo>
                    <a:pt x="1400" y="285"/>
                    <a:pt x="1814" y="0"/>
                    <a:pt x="2414" y="0"/>
                  </a:cubicBezTo>
                  <a:cubicBezTo>
                    <a:pt x="2971" y="0"/>
                    <a:pt x="3342" y="228"/>
                    <a:pt x="3542" y="628"/>
                  </a:cubicBezTo>
                  <a:cubicBezTo>
                    <a:pt x="3928" y="299"/>
                    <a:pt x="4385" y="0"/>
                    <a:pt x="5013" y="0"/>
                  </a:cubicBezTo>
                  <a:cubicBezTo>
                    <a:pt x="5855" y="0"/>
                    <a:pt x="6284" y="514"/>
                    <a:pt x="6284" y="1356"/>
                  </a:cubicBezTo>
                  <a:lnTo>
                    <a:pt x="6284" y="7795"/>
                  </a:lnTo>
                  <a:lnTo>
                    <a:pt x="5198" y="7795"/>
                  </a:lnTo>
                  <a:lnTo>
                    <a:pt x="5198" y="1585"/>
                  </a:lnTo>
                  <a:cubicBezTo>
                    <a:pt x="5198" y="1199"/>
                    <a:pt x="5013" y="1028"/>
                    <a:pt x="4684" y="1028"/>
                  </a:cubicBezTo>
                  <a:cubicBezTo>
                    <a:pt x="4385" y="1028"/>
                    <a:pt x="4070" y="1142"/>
                    <a:pt x="3685" y="1413"/>
                  </a:cubicBezTo>
                  <a:lnTo>
                    <a:pt x="3685" y="7795"/>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endParaRPr lang="en-US"/>
            </a:p>
          </p:txBody>
        </p:sp>
        <p:sp>
          <p:nvSpPr>
            <p:cNvPr id="23" name="Freeform 5">
              <a:extLst>
                <a:ext uri="{FF2B5EF4-FFF2-40B4-BE49-F238E27FC236}">
                  <a16:creationId xmlns:a16="http://schemas.microsoft.com/office/drawing/2014/main" id="{444160FC-C6F7-7489-8708-408B2622CF09}"/>
                </a:ext>
              </a:extLst>
            </p:cNvPr>
            <p:cNvSpPr>
              <a:spLocks noChangeArrowheads="1"/>
            </p:cNvSpPr>
            <p:nvPr/>
          </p:nvSpPr>
          <p:spPr bwMode="auto">
            <a:xfrm>
              <a:off x="14288" y="2322513"/>
              <a:ext cx="1004887" cy="2274887"/>
            </a:xfrm>
            <a:custGeom>
              <a:avLst/>
              <a:gdLst>
                <a:gd name="T0" fmla="*/ 1004527 w 2790"/>
                <a:gd name="T1" fmla="*/ 0 h 6317"/>
                <a:gd name="T2" fmla="*/ 1004527 w 2790"/>
                <a:gd name="T3" fmla="*/ 510652 h 6317"/>
                <a:gd name="T4" fmla="*/ 346488 w 2790"/>
                <a:gd name="T5" fmla="*/ 1137624 h 6317"/>
                <a:gd name="T6" fmla="*/ 1004527 w 2790"/>
                <a:gd name="T7" fmla="*/ 1752711 h 6317"/>
                <a:gd name="T8" fmla="*/ 1004527 w 2790"/>
                <a:gd name="T9" fmla="*/ 2274527 h 6317"/>
                <a:gd name="T10" fmla="*/ 0 w 2790"/>
                <a:gd name="T11" fmla="*/ 1331009 h 6317"/>
                <a:gd name="T12" fmla="*/ 0 w 2790"/>
                <a:gd name="T13" fmla="*/ 955042 h 6317"/>
                <a:gd name="T14" fmla="*/ 1004527 w 2790"/>
                <a:gd name="T15" fmla="*/ 0 h 6317"/>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2790" h="6317">
                  <a:moveTo>
                    <a:pt x="2789" y="0"/>
                  </a:moveTo>
                  <a:lnTo>
                    <a:pt x="2789" y="1418"/>
                  </a:lnTo>
                  <a:lnTo>
                    <a:pt x="962" y="3159"/>
                  </a:lnTo>
                  <a:lnTo>
                    <a:pt x="2789" y="4867"/>
                  </a:lnTo>
                  <a:lnTo>
                    <a:pt x="2789" y="6316"/>
                  </a:lnTo>
                  <a:lnTo>
                    <a:pt x="0" y="3696"/>
                  </a:lnTo>
                  <a:lnTo>
                    <a:pt x="0" y="2652"/>
                  </a:lnTo>
                  <a:lnTo>
                    <a:pt x="2789"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endParaRPr lang="en-US"/>
            </a:p>
          </p:txBody>
        </p:sp>
        <p:sp>
          <p:nvSpPr>
            <p:cNvPr id="24" name="Freeform 6">
              <a:extLst>
                <a:ext uri="{FF2B5EF4-FFF2-40B4-BE49-F238E27FC236}">
                  <a16:creationId xmlns:a16="http://schemas.microsoft.com/office/drawing/2014/main" id="{0C189D75-19F1-855F-22D8-33AE39E36A90}"/>
                </a:ext>
              </a:extLst>
            </p:cNvPr>
            <p:cNvSpPr>
              <a:spLocks noChangeArrowheads="1"/>
            </p:cNvSpPr>
            <p:nvPr/>
          </p:nvSpPr>
          <p:spPr bwMode="auto">
            <a:xfrm>
              <a:off x="9050338" y="2322513"/>
              <a:ext cx="1003300" cy="2274887"/>
            </a:xfrm>
            <a:custGeom>
              <a:avLst/>
              <a:gdLst>
                <a:gd name="T0" fmla="*/ 1002940 w 2789"/>
                <a:gd name="T1" fmla="*/ 955042 h 6317"/>
                <a:gd name="T2" fmla="*/ 1002940 w 2789"/>
                <a:gd name="T3" fmla="*/ 1331009 h 6317"/>
                <a:gd name="T4" fmla="*/ 0 w 2789"/>
                <a:gd name="T5" fmla="*/ 2274527 h 6317"/>
                <a:gd name="T6" fmla="*/ 0 w 2789"/>
                <a:gd name="T7" fmla="*/ 1752711 h 6317"/>
                <a:gd name="T8" fmla="*/ 656876 w 2789"/>
                <a:gd name="T9" fmla="*/ 1137624 h 6317"/>
                <a:gd name="T10" fmla="*/ 0 w 2789"/>
                <a:gd name="T11" fmla="*/ 510652 h 6317"/>
                <a:gd name="T12" fmla="*/ 0 w 2789"/>
                <a:gd name="T13" fmla="*/ 0 h 6317"/>
                <a:gd name="T14" fmla="*/ 1002940 w 2789"/>
                <a:gd name="T15" fmla="*/ 955042 h 6317"/>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2789" h="6317">
                  <a:moveTo>
                    <a:pt x="2788" y="2652"/>
                  </a:moveTo>
                  <a:lnTo>
                    <a:pt x="2788" y="3696"/>
                  </a:lnTo>
                  <a:lnTo>
                    <a:pt x="0" y="6316"/>
                  </a:lnTo>
                  <a:lnTo>
                    <a:pt x="0" y="4867"/>
                  </a:lnTo>
                  <a:lnTo>
                    <a:pt x="1826" y="3159"/>
                  </a:lnTo>
                  <a:lnTo>
                    <a:pt x="0" y="1418"/>
                  </a:lnTo>
                  <a:lnTo>
                    <a:pt x="0" y="0"/>
                  </a:lnTo>
                  <a:lnTo>
                    <a:pt x="2788" y="2652"/>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endParaRPr lang="en-US"/>
            </a:p>
          </p:txBody>
        </p:sp>
      </p:grpSp>
      <p:sp>
        <p:nvSpPr>
          <p:cNvPr id="25" name="Footer Placeholder 14">
            <a:extLst>
              <a:ext uri="{FF2B5EF4-FFF2-40B4-BE49-F238E27FC236}">
                <a16:creationId xmlns:a16="http://schemas.microsoft.com/office/drawing/2014/main" id="{56C1A158-D79C-9E57-545C-DFE11CD6220B}"/>
              </a:ext>
            </a:extLst>
          </p:cNvPr>
          <p:cNvSpPr txBox="1">
            <a:spLocks/>
          </p:cNvSpPr>
          <p:nvPr userDrawn="1"/>
        </p:nvSpPr>
        <p:spPr>
          <a:xfrm>
            <a:off x="1206203" y="6411603"/>
            <a:ext cx="2157779" cy="228599"/>
          </a:xfrm>
          <a:prstGeom prst="rect">
            <a:avLst/>
          </a:prstGeom>
        </p:spPr>
        <p:txBody>
          <a:bodyPr vert="horz" lIns="0" tIns="0" rIns="0" bIns="0" rtlCol="0" anchor="ctr"/>
          <a:lstStyle>
            <a:defPPr>
              <a:defRPr lang="en-US"/>
            </a:defPPr>
            <a:lvl1pPr marL="0" algn="r" defTabSz="914400" rtl="0" eaLnBrk="1" latinLnBrk="0" hangingPunct="1">
              <a:defRPr sz="600" b="0" i="0" kern="1200">
                <a:solidFill>
                  <a:schemeClr val="tx1"/>
                </a:solidFill>
                <a:latin typeface="+mn-lt"/>
                <a:ea typeface="Calibri" panose="020F0502020204030204" pitchFamily="34" charset="0"/>
                <a:cs typeface="Calibri" panose="020F050202020403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b="0" i="0">
                <a:solidFill>
                  <a:schemeClr val="bg1"/>
                </a:solidFill>
                <a:latin typeface="+mn-lt"/>
              </a:rPr>
              <a:t>EPAM Proprietary &amp; Confidential</a:t>
            </a:r>
            <a:r>
              <a:rPr lang="ru-RU" b="0" i="0">
                <a:solidFill>
                  <a:schemeClr val="bg1"/>
                </a:solidFill>
                <a:latin typeface="+mn-lt"/>
              </a:rPr>
              <a:t> </a:t>
            </a:r>
            <a:endParaRPr lang="en-US" b="0" i="0">
              <a:solidFill>
                <a:schemeClr val="bg1"/>
              </a:solidFill>
              <a:latin typeface="+mn-lt"/>
            </a:endParaRPr>
          </a:p>
        </p:txBody>
      </p:sp>
      <p:pic>
        <p:nvPicPr>
          <p:cNvPr id="6" name="Graphic 5">
            <a:extLst>
              <a:ext uri="{FF2B5EF4-FFF2-40B4-BE49-F238E27FC236}">
                <a16:creationId xmlns:a16="http://schemas.microsoft.com/office/drawing/2014/main" id="{1369EA49-5940-32DA-1639-38CC1F065E5C}"/>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820265" y="6419060"/>
            <a:ext cx="762923" cy="205636"/>
          </a:xfrm>
          <a:prstGeom prst="rect">
            <a:avLst/>
          </a:prstGeom>
        </p:spPr>
      </p:pic>
    </p:spTree>
    <p:extLst>
      <p:ext uri="{BB962C8B-B14F-4D97-AF65-F5344CB8AC3E}">
        <p14:creationId xmlns:p14="http://schemas.microsoft.com/office/powerpoint/2010/main" val="2441406708"/>
      </p:ext>
    </p:extLst>
  </p:cSld>
  <p:clrMapOvr>
    <a:masterClrMapping/>
  </p:clrMapOvr>
  <p:extLst>
    <p:ext uri="{DCECCB84-F9BA-43D5-87BE-67443E8EF086}">
      <p15:sldGuideLst xmlns:p15="http://schemas.microsoft.com/office/powerpoint/2012/main"/>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Callout_Text_B">
    <p:bg>
      <p:bgPr>
        <a:solidFill>
          <a:schemeClr val="tx1"/>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7AF0026D-6EE6-E217-E9AB-A357E57B4461}"/>
              </a:ext>
            </a:extLst>
          </p:cNvPr>
          <p:cNvSpPr/>
          <p:nvPr userDrawn="1"/>
        </p:nvSpPr>
        <p:spPr bwMode="auto">
          <a:xfrm>
            <a:off x="0" y="0"/>
            <a:ext cx="6438900" cy="6858000"/>
          </a:xfrm>
          <a:prstGeom prst="rect">
            <a:avLst/>
          </a:prstGeom>
          <a:solidFill>
            <a:srgbClr val="FBFAFA"/>
          </a:solidFill>
          <a:ln>
            <a:noFill/>
          </a:ln>
          <a:effectLst/>
        </p:spPr>
        <p:txBody>
          <a:bodyPr wrap="none" rtlCol="0" anchor="ctr"/>
          <a:lstStyle/>
          <a:p>
            <a:pPr algn="ctr"/>
            <a:endParaRPr lang="en-US" sz="2400" err="1">
              <a:solidFill>
                <a:srgbClr val="FBFAFA"/>
              </a:solidFill>
              <a:latin typeface="Calibri Light" panose="020F0302020204030204" pitchFamily="34" charset="0"/>
              <a:ea typeface="Human Sans ExtraLight" charset="0"/>
              <a:cs typeface="Human Sans ExtraLight" charset="0"/>
            </a:endParaRPr>
          </a:p>
        </p:txBody>
      </p:sp>
      <p:sp>
        <p:nvSpPr>
          <p:cNvPr id="8" name="Title 2">
            <a:extLst>
              <a:ext uri="{FF2B5EF4-FFF2-40B4-BE49-F238E27FC236}">
                <a16:creationId xmlns:a16="http://schemas.microsoft.com/office/drawing/2014/main" id="{0EFDF222-F5FF-C5FC-328A-D041866005E2}"/>
              </a:ext>
            </a:extLst>
          </p:cNvPr>
          <p:cNvSpPr>
            <a:spLocks noGrp="1"/>
          </p:cNvSpPr>
          <p:nvPr>
            <p:ph type="title" hasCustomPrompt="1"/>
          </p:nvPr>
        </p:nvSpPr>
        <p:spPr>
          <a:xfrm>
            <a:off x="612075" y="1739153"/>
            <a:ext cx="5333999" cy="2769989"/>
          </a:xfrm>
          <a:prstGeom prst="rect">
            <a:avLst/>
          </a:prstGeom>
        </p:spPr>
        <p:txBody>
          <a:bodyPr wrap="square">
            <a:spAutoFit/>
          </a:bodyPr>
          <a:lstStyle>
            <a:lvl1pPr>
              <a:defRPr sz="6000" b="0" i="0">
                <a:solidFill>
                  <a:srgbClr val="000000"/>
                </a:solidFill>
                <a:latin typeface="Calibri" panose="020F0502020204030204" pitchFamily="34" charset="0"/>
                <a:cs typeface="Calibri" panose="020F0502020204030204" pitchFamily="34" charset="0"/>
              </a:defRPr>
            </a:lvl1pPr>
          </a:lstStyle>
          <a:p>
            <a:r>
              <a:rPr lang="en-US"/>
              <a:t>When You Have a Big Thought That is Paired…</a:t>
            </a:r>
          </a:p>
        </p:txBody>
      </p:sp>
      <p:sp>
        <p:nvSpPr>
          <p:cNvPr id="3" name="Text Placeholder 4">
            <a:extLst>
              <a:ext uri="{FF2B5EF4-FFF2-40B4-BE49-F238E27FC236}">
                <a16:creationId xmlns:a16="http://schemas.microsoft.com/office/drawing/2014/main" id="{B9BE9A04-ECA1-501C-8903-EB031E3BF54D}"/>
              </a:ext>
            </a:extLst>
          </p:cNvPr>
          <p:cNvSpPr>
            <a:spLocks noGrp="1"/>
          </p:cNvSpPr>
          <p:nvPr>
            <p:ph type="body" sz="quarter" idx="16" hasCustomPrompt="1"/>
          </p:nvPr>
        </p:nvSpPr>
        <p:spPr>
          <a:xfrm>
            <a:off x="6934201" y="1981200"/>
            <a:ext cx="4610100" cy="2439386"/>
          </a:xfrm>
          <a:prstGeom prst="rect">
            <a:avLst/>
          </a:prstGeom>
        </p:spPr>
        <p:txBody>
          <a:bodyPr wrap="square" anchor="t" anchorCtr="0">
            <a:spAutoFit/>
          </a:bodyPr>
          <a:lstStyle>
            <a:lvl1pPr>
              <a:lnSpc>
                <a:spcPts val="2400"/>
              </a:lnSpc>
              <a:defRPr sz="1600" b="0" i="0">
                <a:solidFill>
                  <a:schemeClr val="bg1"/>
                </a:solidFill>
                <a:latin typeface="Calibri Light" panose="020F0302020204030204" pitchFamily="34" charset="0"/>
                <a:cs typeface="Calibri Light" panose="020F0302020204030204" pitchFamily="34" charset="0"/>
              </a:defRPr>
            </a:lvl1pPr>
          </a:lstStyle>
          <a:p>
            <a:pPr lvl="0"/>
            <a:r>
              <a:rPr lang="en-US"/>
              <a:t>With a lot of supporting details. Lorem ipsum dolor sit </a:t>
            </a:r>
            <a:r>
              <a:rPr lang="en-US" err="1"/>
              <a:t>amet</a:t>
            </a:r>
            <a:r>
              <a:rPr lang="en-US"/>
              <a:t>, </a:t>
            </a:r>
            <a:r>
              <a:rPr lang="en-US" err="1"/>
              <a:t>consectetuer</a:t>
            </a:r>
            <a:r>
              <a:rPr lang="en-US"/>
              <a:t> </a:t>
            </a:r>
            <a:r>
              <a:rPr lang="en-US" err="1"/>
              <a:t>adipiscing</a:t>
            </a:r>
            <a:r>
              <a:rPr lang="en-US"/>
              <a:t> </a:t>
            </a:r>
            <a:r>
              <a:rPr lang="en-US" err="1"/>
              <a:t>elit</a:t>
            </a:r>
            <a:r>
              <a:rPr lang="en-US"/>
              <a:t>, sed diam </a:t>
            </a:r>
            <a:r>
              <a:rPr lang="en-US" err="1"/>
              <a:t>nonummy</a:t>
            </a:r>
            <a:r>
              <a:rPr lang="en-US"/>
              <a:t> </a:t>
            </a:r>
            <a:r>
              <a:rPr lang="en-US" err="1"/>
              <a:t>nibh</a:t>
            </a:r>
            <a:r>
              <a:rPr lang="en-US"/>
              <a:t> </a:t>
            </a:r>
            <a:r>
              <a:rPr lang="en-US" err="1"/>
              <a:t>euismod</a:t>
            </a:r>
            <a:r>
              <a:rPr lang="en-US"/>
              <a:t> </a:t>
            </a:r>
            <a:r>
              <a:rPr lang="en-US" err="1"/>
              <a:t>tincidunt</a:t>
            </a:r>
            <a:r>
              <a:rPr lang="en-US"/>
              <a:t> </a:t>
            </a:r>
            <a:r>
              <a:rPr lang="en-US" err="1"/>
              <a:t>ut</a:t>
            </a:r>
            <a:r>
              <a:rPr lang="en-US"/>
              <a:t> </a:t>
            </a:r>
            <a:r>
              <a:rPr lang="en-US" err="1"/>
              <a:t>laoreet</a:t>
            </a:r>
            <a:r>
              <a:rPr lang="en-US"/>
              <a:t> dolore magna </a:t>
            </a:r>
            <a:r>
              <a:rPr lang="en-US" err="1"/>
              <a:t>aliquam</a:t>
            </a:r>
            <a:r>
              <a:rPr lang="en-US"/>
              <a:t> </a:t>
            </a:r>
            <a:r>
              <a:rPr lang="en-US" err="1"/>
              <a:t>erat</a:t>
            </a:r>
            <a:r>
              <a:rPr lang="en-US"/>
              <a:t> </a:t>
            </a:r>
            <a:r>
              <a:rPr lang="en-US" err="1"/>
              <a:t>volutpat</a:t>
            </a:r>
            <a:r>
              <a:rPr lang="en-US"/>
              <a:t>. Ut </a:t>
            </a:r>
            <a:r>
              <a:rPr lang="en-US" err="1"/>
              <a:t>wisi</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a:t>
            </a:r>
            <a:r>
              <a:rPr lang="en-US" err="1"/>
              <a:t>exerci</a:t>
            </a:r>
            <a:r>
              <a:rPr lang="en-US"/>
              <a:t> </a:t>
            </a:r>
            <a:r>
              <a:rPr lang="en-US" err="1"/>
              <a:t>tation</a:t>
            </a:r>
            <a:r>
              <a:rPr lang="en-US"/>
              <a:t> </a:t>
            </a:r>
            <a:r>
              <a:rPr lang="en-US" err="1"/>
              <a:t>ullamcorper</a:t>
            </a:r>
            <a:r>
              <a:rPr lang="en-US"/>
              <a:t> </a:t>
            </a:r>
            <a:r>
              <a:rPr lang="en-US" err="1"/>
              <a:t>suscipit</a:t>
            </a:r>
            <a:r>
              <a:rPr lang="en-US"/>
              <a:t> </a:t>
            </a:r>
            <a:r>
              <a:rPr lang="en-US" err="1"/>
              <a:t>lobortis</a:t>
            </a:r>
            <a:r>
              <a:rPr lang="en-US"/>
              <a:t> </a:t>
            </a:r>
            <a:r>
              <a:rPr lang="en-US" err="1"/>
              <a:t>nisl</a:t>
            </a:r>
            <a:r>
              <a:rPr lang="en-US"/>
              <a:t>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utem vel </a:t>
            </a:r>
            <a:r>
              <a:rPr lang="en-US" err="1"/>
              <a:t>eum</a:t>
            </a:r>
            <a:r>
              <a:rPr lang="en-US"/>
              <a:t> </a:t>
            </a:r>
            <a:r>
              <a:rPr lang="en-US" err="1"/>
              <a:t>iriure</a:t>
            </a:r>
            <a:r>
              <a:rPr lang="en-US"/>
              <a:t> dolor in </a:t>
            </a:r>
            <a:r>
              <a:rPr lang="en-US" err="1"/>
              <a:t>hendrerit</a:t>
            </a:r>
            <a:r>
              <a:rPr lang="en-US"/>
              <a:t> in </a:t>
            </a:r>
            <a:r>
              <a:rPr lang="en-US" err="1"/>
              <a:t>vulputate</a:t>
            </a:r>
            <a:r>
              <a:rPr lang="en-US"/>
              <a:t> </a:t>
            </a:r>
            <a:r>
              <a:rPr lang="en-US" err="1"/>
              <a:t>velit</a:t>
            </a:r>
            <a:r>
              <a:rPr lang="en-US"/>
              <a:t> </a:t>
            </a:r>
            <a:r>
              <a:rPr lang="en-US" err="1"/>
              <a:t>esse</a:t>
            </a:r>
            <a:r>
              <a:rPr lang="en-US"/>
              <a:t> </a:t>
            </a:r>
            <a:r>
              <a:rPr lang="en-US" err="1"/>
              <a:t>molestie</a:t>
            </a:r>
            <a:r>
              <a:rPr lang="en-US"/>
              <a:t> </a:t>
            </a:r>
            <a:r>
              <a:rPr lang="en-US" err="1"/>
              <a:t>consequat</a:t>
            </a:r>
            <a:r>
              <a:rPr lang="en-US"/>
              <a:t>.</a:t>
            </a:r>
          </a:p>
        </p:txBody>
      </p:sp>
      <p:sp>
        <p:nvSpPr>
          <p:cNvPr id="9" name="Text Placeholder 4">
            <a:extLst>
              <a:ext uri="{FF2B5EF4-FFF2-40B4-BE49-F238E27FC236}">
                <a16:creationId xmlns:a16="http://schemas.microsoft.com/office/drawing/2014/main" id="{F98434BA-C643-9226-9074-622A044FDF97}"/>
              </a:ext>
            </a:extLst>
          </p:cNvPr>
          <p:cNvSpPr>
            <a:spLocks noGrp="1"/>
          </p:cNvSpPr>
          <p:nvPr>
            <p:ph type="body" sz="quarter" idx="11" hasCustomPrompt="1"/>
          </p:nvPr>
        </p:nvSpPr>
        <p:spPr>
          <a:xfrm>
            <a:off x="612075" y="419100"/>
            <a:ext cx="3732914" cy="153888"/>
          </a:xfrm>
          <a:prstGeom prst="rect">
            <a:avLst/>
          </a:prstGeom>
        </p:spPr>
        <p:txBody>
          <a:bodyPr wrap="square">
            <a:spAutoFit/>
          </a:bodyPr>
          <a:lstStyle>
            <a:lvl1pPr>
              <a:lnSpc>
                <a:spcPct val="100000"/>
              </a:lnSpc>
              <a:spcBef>
                <a:spcPts val="0"/>
              </a:spcBef>
              <a:defRPr sz="1000" b="0" i="0" spc="300">
                <a:solidFill>
                  <a:srgbClr val="000000"/>
                </a:solidFill>
                <a:latin typeface="Calibri" panose="020F0502020204030204" pitchFamily="34" charset="0"/>
                <a:cs typeface="Calibri" panose="020F0502020204030204" pitchFamily="34" charset="0"/>
              </a:defRPr>
            </a:lvl1pPr>
            <a:lvl2pPr>
              <a:buNone/>
              <a:defRPr/>
            </a:lvl2pPr>
          </a:lstStyle>
          <a:p>
            <a:pPr lvl="0"/>
            <a:r>
              <a:rPr lang="en-US">
                <a:effectLst/>
              </a:rPr>
              <a:t>SECTION TITLE</a:t>
            </a:r>
            <a:endParaRPr lang="en-US"/>
          </a:p>
        </p:txBody>
      </p:sp>
      <p:sp>
        <p:nvSpPr>
          <p:cNvPr id="10" name="Text Placeholder 4">
            <a:extLst>
              <a:ext uri="{FF2B5EF4-FFF2-40B4-BE49-F238E27FC236}">
                <a16:creationId xmlns:a16="http://schemas.microsoft.com/office/drawing/2014/main" id="{B89EA330-0A46-587B-303A-AB92923709B7}"/>
              </a:ext>
            </a:extLst>
          </p:cNvPr>
          <p:cNvSpPr>
            <a:spLocks noGrp="1"/>
          </p:cNvSpPr>
          <p:nvPr>
            <p:ph type="body" sz="quarter" idx="25" hasCustomPrompt="1"/>
          </p:nvPr>
        </p:nvSpPr>
        <p:spPr>
          <a:xfrm>
            <a:off x="612075" y="722843"/>
            <a:ext cx="3732914" cy="338554"/>
          </a:xfrm>
          <a:prstGeom prst="rect">
            <a:avLst/>
          </a:prstGeom>
        </p:spPr>
        <p:txBody>
          <a:bodyPr wrap="square">
            <a:spAutoFit/>
          </a:bodyPr>
          <a:lstStyle>
            <a:lvl1pPr>
              <a:lnSpc>
                <a:spcPct val="100000"/>
              </a:lnSpc>
              <a:spcBef>
                <a:spcPts val="0"/>
              </a:spcBef>
              <a:defRPr sz="2200" b="1" i="0" spc="0">
                <a:solidFill>
                  <a:srgbClr val="000000"/>
                </a:solidFill>
                <a:latin typeface="Calibri" panose="020F0502020204030204" pitchFamily="34" charset="0"/>
                <a:cs typeface="Calibri" panose="020F0502020204030204" pitchFamily="34" charset="0"/>
              </a:defRPr>
            </a:lvl1pPr>
            <a:lvl2pPr>
              <a:buNone/>
              <a:defRPr/>
            </a:lvl2pPr>
          </a:lstStyle>
          <a:p>
            <a:pPr lvl="0"/>
            <a:r>
              <a:rPr lang="en-US">
                <a:effectLst/>
              </a:rPr>
              <a:t>Title with Big and Little Type</a:t>
            </a:r>
            <a:endParaRPr lang="en-US"/>
          </a:p>
        </p:txBody>
      </p:sp>
      <p:grpSp>
        <p:nvGrpSpPr>
          <p:cNvPr id="18" name="Group 17">
            <a:extLst>
              <a:ext uri="{FF2B5EF4-FFF2-40B4-BE49-F238E27FC236}">
                <a16:creationId xmlns:a16="http://schemas.microsoft.com/office/drawing/2014/main" id="{5328606A-EA4A-86C8-4B44-8B3B3A22622A}"/>
              </a:ext>
            </a:extLst>
          </p:cNvPr>
          <p:cNvGrpSpPr/>
          <p:nvPr userDrawn="1"/>
        </p:nvGrpSpPr>
        <p:grpSpPr>
          <a:xfrm>
            <a:off x="611054" y="6471298"/>
            <a:ext cx="372834" cy="131175"/>
            <a:chOff x="14288" y="2035175"/>
            <a:chExt cx="10039350" cy="3532188"/>
          </a:xfrm>
          <a:solidFill>
            <a:schemeClr val="tx1"/>
          </a:solidFill>
        </p:grpSpPr>
        <p:sp>
          <p:nvSpPr>
            <p:cNvPr id="19" name="Freeform 1">
              <a:extLst>
                <a:ext uri="{FF2B5EF4-FFF2-40B4-BE49-F238E27FC236}">
                  <a16:creationId xmlns:a16="http://schemas.microsoft.com/office/drawing/2014/main" id="{9778DA86-B17B-9BE6-2C21-BFCC79A56A73}"/>
                </a:ext>
              </a:extLst>
            </p:cNvPr>
            <p:cNvSpPr>
              <a:spLocks noChangeArrowheads="1"/>
            </p:cNvSpPr>
            <p:nvPr/>
          </p:nvSpPr>
          <p:spPr bwMode="auto">
            <a:xfrm>
              <a:off x="1519238" y="2035175"/>
              <a:ext cx="1336675" cy="2836863"/>
            </a:xfrm>
            <a:custGeom>
              <a:avLst/>
              <a:gdLst>
                <a:gd name="T0" fmla="*/ 390493 w 3714"/>
                <a:gd name="T1" fmla="*/ 1200682 h 7882"/>
                <a:gd name="T2" fmla="*/ 945462 w 3714"/>
                <a:gd name="T3" fmla="*/ 1200682 h 7882"/>
                <a:gd name="T4" fmla="*/ 945462 w 3714"/>
                <a:gd name="T5" fmla="*/ 611498 h 7882"/>
                <a:gd name="T6" fmla="*/ 698929 w 3714"/>
                <a:gd name="T7" fmla="*/ 364596 h 7882"/>
                <a:gd name="T8" fmla="*/ 637386 w 3714"/>
                <a:gd name="T9" fmla="*/ 364596 h 7882"/>
                <a:gd name="T10" fmla="*/ 390493 w 3714"/>
                <a:gd name="T11" fmla="*/ 611498 h 7882"/>
                <a:gd name="T12" fmla="*/ 390493 w 3714"/>
                <a:gd name="T13" fmla="*/ 1200682 h 7882"/>
                <a:gd name="T14" fmla="*/ 389414 w 3714"/>
                <a:gd name="T15" fmla="*/ 1576795 h 7882"/>
                <a:gd name="T16" fmla="*/ 390493 w 3714"/>
                <a:gd name="T17" fmla="*/ 2224645 h 7882"/>
                <a:gd name="T18" fmla="*/ 637386 w 3714"/>
                <a:gd name="T19" fmla="*/ 2471548 h 7882"/>
                <a:gd name="T20" fmla="*/ 709366 w 3714"/>
                <a:gd name="T21" fmla="*/ 2471548 h 7882"/>
                <a:gd name="T22" fmla="*/ 955899 w 3714"/>
                <a:gd name="T23" fmla="*/ 2224645 h 7882"/>
                <a:gd name="T24" fmla="*/ 955899 w 3714"/>
                <a:gd name="T25" fmla="*/ 1906119 h 7882"/>
                <a:gd name="T26" fmla="*/ 1336315 w 3714"/>
                <a:gd name="T27" fmla="*/ 1906119 h 7882"/>
                <a:gd name="T28" fmla="*/ 1336315 w 3714"/>
                <a:gd name="T29" fmla="*/ 2209528 h 7882"/>
                <a:gd name="T30" fmla="*/ 709366 w 3714"/>
                <a:gd name="T31" fmla="*/ 2836503 h 7882"/>
                <a:gd name="T32" fmla="*/ 626949 w 3714"/>
                <a:gd name="T33" fmla="*/ 2836503 h 7882"/>
                <a:gd name="T34" fmla="*/ 0 w 3714"/>
                <a:gd name="T35" fmla="*/ 2258117 h 7882"/>
                <a:gd name="T36" fmla="*/ 0 w 3714"/>
                <a:gd name="T37" fmla="*/ 675564 h 7882"/>
                <a:gd name="T38" fmla="*/ 626949 w 3714"/>
                <a:gd name="T39" fmla="*/ 0 h 7882"/>
                <a:gd name="T40" fmla="*/ 709366 w 3714"/>
                <a:gd name="T41" fmla="*/ 0 h 7882"/>
                <a:gd name="T42" fmla="*/ 1336315 w 3714"/>
                <a:gd name="T43" fmla="*/ 626975 h 7882"/>
                <a:gd name="T44" fmla="*/ 1334875 w 3714"/>
                <a:gd name="T45" fmla="*/ 1576795 h 7882"/>
                <a:gd name="T46" fmla="*/ 389414 w 3714"/>
                <a:gd name="T47" fmla="*/ 1576795 h 7882"/>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3714" h="7882">
                  <a:moveTo>
                    <a:pt x="1085" y="3336"/>
                  </a:moveTo>
                  <a:lnTo>
                    <a:pt x="2627" y="3336"/>
                  </a:lnTo>
                  <a:lnTo>
                    <a:pt x="2627" y="1699"/>
                  </a:lnTo>
                  <a:cubicBezTo>
                    <a:pt x="2627" y="1242"/>
                    <a:pt x="2399" y="1013"/>
                    <a:pt x="1942" y="1013"/>
                  </a:cubicBezTo>
                  <a:lnTo>
                    <a:pt x="1771" y="1013"/>
                  </a:lnTo>
                  <a:cubicBezTo>
                    <a:pt x="1314" y="1013"/>
                    <a:pt x="1085" y="1242"/>
                    <a:pt x="1085" y="1699"/>
                  </a:cubicBezTo>
                  <a:lnTo>
                    <a:pt x="1085" y="3336"/>
                  </a:lnTo>
                  <a:close/>
                  <a:moveTo>
                    <a:pt x="1082" y="4381"/>
                  </a:moveTo>
                  <a:lnTo>
                    <a:pt x="1085" y="6181"/>
                  </a:lnTo>
                  <a:cubicBezTo>
                    <a:pt x="1085" y="6638"/>
                    <a:pt x="1314" y="6867"/>
                    <a:pt x="1771" y="6867"/>
                  </a:cubicBezTo>
                  <a:lnTo>
                    <a:pt x="1971" y="6867"/>
                  </a:lnTo>
                  <a:cubicBezTo>
                    <a:pt x="2428" y="6867"/>
                    <a:pt x="2656" y="6638"/>
                    <a:pt x="2656" y="6181"/>
                  </a:cubicBezTo>
                  <a:lnTo>
                    <a:pt x="2656" y="5296"/>
                  </a:lnTo>
                  <a:lnTo>
                    <a:pt x="3713" y="5296"/>
                  </a:lnTo>
                  <a:lnTo>
                    <a:pt x="3713" y="6139"/>
                  </a:lnTo>
                  <a:cubicBezTo>
                    <a:pt x="3713" y="7295"/>
                    <a:pt x="3127" y="7881"/>
                    <a:pt x="1971" y="7881"/>
                  </a:cubicBezTo>
                  <a:lnTo>
                    <a:pt x="1742" y="7881"/>
                  </a:lnTo>
                  <a:cubicBezTo>
                    <a:pt x="585" y="7881"/>
                    <a:pt x="0" y="7295"/>
                    <a:pt x="0" y="6274"/>
                  </a:cubicBezTo>
                  <a:lnTo>
                    <a:pt x="0" y="1877"/>
                  </a:lnTo>
                  <a:cubicBezTo>
                    <a:pt x="0" y="585"/>
                    <a:pt x="585" y="0"/>
                    <a:pt x="1742" y="0"/>
                  </a:cubicBezTo>
                  <a:lnTo>
                    <a:pt x="1971" y="0"/>
                  </a:lnTo>
                  <a:cubicBezTo>
                    <a:pt x="3127" y="0"/>
                    <a:pt x="3713" y="585"/>
                    <a:pt x="3713" y="1742"/>
                  </a:cubicBezTo>
                  <a:lnTo>
                    <a:pt x="3709" y="4381"/>
                  </a:lnTo>
                  <a:lnTo>
                    <a:pt x="1082" y="4381"/>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endParaRPr lang="en-US"/>
            </a:p>
          </p:txBody>
        </p:sp>
        <p:sp>
          <p:nvSpPr>
            <p:cNvPr id="20" name="Freeform 2">
              <a:extLst>
                <a:ext uri="{FF2B5EF4-FFF2-40B4-BE49-F238E27FC236}">
                  <a16:creationId xmlns:a16="http://schemas.microsoft.com/office/drawing/2014/main" id="{2904893A-6F2A-030F-CFB4-5D5BF5867C73}"/>
                </a:ext>
              </a:extLst>
            </p:cNvPr>
            <p:cNvSpPr>
              <a:spLocks noChangeArrowheads="1"/>
            </p:cNvSpPr>
            <p:nvPr/>
          </p:nvSpPr>
          <p:spPr bwMode="auto">
            <a:xfrm>
              <a:off x="3109913" y="2035175"/>
              <a:ext cx="1368425" cy="3532188"/>
            </a:xfrm>
            <a:custGeom>
              <a:avLst/>
              <a:gdLst>
                <a:gd name="T0" fmla="*/ 390721 w 3800"/>
                <a:gd name="T1" fmla="*/ 2322993 h 9812"/>
                <a:gd name="T2" fmla="*/ 750833 w 3800"/>
                <a:gd name="T3" fmla="*/ 2466628 h 9812"/>
                <a:gd name="T4" fmla="*/ 976983 w 3800"/>
                <a:gd name="T5" fmla="*/ 2240556 h 9812"/>
                <a:gd name="T6" fmla="*/ 976983 w 3800"/>
                <a:gd name="T7" fmla="*/ 596138 h 9812"/>
                <a:gd name="T8" fmla="*/ 750833 w 3800"/>
                <a:gd name="T9" fmla="*/ 370066 h 9812"/>
                <a:gd name="T10" fmla="*/ 390721 w 3800"/>
                <a:gd name="T11" fmla="*/ 514061 h 9812"/>
                <a:gd name="T12" fmla="*/ 390721 w 3800"/>
                <a:gd name="T13" fmla="*/ 2322993 h 9812"/>
                <a:gd name="T14" fmla="*/ 0 w 3800"/>
                <a:gd name="T15" fmla="*/ 30599 h 9812"/>
                <a:gd name="T16" fmla="*/ 390721 w 3800"/>
                <a:gd name="T17" fmla="*/ 30599 h 9812"/>
                <a:gd name="T18" fmla="*/ 390721 w 3800"/>
                <a:gd name="T19" fmla="*/ 210592 h 9812"/>
                <a:gd name="T20" fmla="*/ 868950 w 3800"/>
                <a:gd name="T21" fmla="*/ 0 h 9812"/>
                <a:gd name="T22" fmla="*/ 1368065 w 3800"/>
                <a:gd name="T23" fmla="*/ 549699 h 9812"/>
                <a:gd name="T24" fmla="*/ 1368065 w 3800"/>
                <a:gd name="T25" fmla="*/ 2286995 h 9812"/>
                <a:gd name="T26" fmla="*/ 868950 w 3800"/>
                <a:gd name="T27" fmla="*/ 2837054 h 9812"/>
                <a:gd name="T28" fmla="*/ 390721 w 3800"/>
                <a:gd name="T29" fmla="*/ 2636541 h 9812"/>
                <a:gd name="T30" fmla="*/ 390721 w 3800"/>
                <a:gd name="T31" fmla="*/ 3531828 h 9812"/>
                <a:gd name="T32" fmla="*/ 0 w 3800"/>
                <a:gd name="T33" fmla="*/ 3531828 h 9812"/>
                <a:gd name="T34" fmla="*/ 0 w 3800"/>
                <a:gd name="T35" fmla="*/ 30599 h 9812"/>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3800" h="9812">
                  <a:moveTo>
                    <a:pt x="1085" y="6453"/>
                  </a:moveTo>
                  <a:cubicBezTo>
                    <a:pt x="1385" y="6710"/>
                    <a:pt x="1728" y="6852"/>
                    <a:pt x="2085" y="6852"/>
                  </a:cubicBezTo>
                  <a:cubicBezTo>
                    <a:pt x="2485" y="6852"/>
                    <a:pt x="2713" y="6667"/>
                    <a:pt x="2713" y="6224"/>
                  </a:cubicBezTo>
                  <a:lnTo>
                    <a:pt x="2713" y="1656"/>
                  </a:lnTo>
                  <a:cubicBezTo>
                    <a:pt x="2713" y="1213"/>
                    <a:pt x="2485" y="1028"/>
                    <a:pt x="2085" y="1028"/>
                  </a:cubicBezTo>
                  <a:cubicBezTo>
                    <a:pt x="1728" y="1028"/>
                    <a:pt x="1385" y="1170"/>
                    <a:pt x="1085" y="1428"/>
                  </a:cubicBezTo>
                  <a:lnTo>
                    <a:pt x="1085" y="6453"/>
                  </a:lnTo>
                  <a:close/>
                  <a:moveTo>
                    <a:pt x="0" y="85"/>
                  </a:moveTo>
                  <a:lnTo>
                    <a:pt x="1085" y="85"/>
                  </a:lnTo>
                  <a:lnTo>
                    <a:pt x="1085" y="585"/>
                  </a:lnTo>
                  <a:cubicBezTo>
                    <a:pt x="1342" y="314"/>
                    <a:pt x="1785" y="0"/>
                    <a:pt x="2413" y="0"/>
                  </a:cubicBezTo>
                  <a:cubicBezTo>
                    <a:pt x="3342" y="0"/>
                    <a:pt x="3799" y="614"/>
                    <a:pt x="3799" y="1527"/>
                  </a:cubicBezTo>
                  <a:lnTo>
                    <a:pt x="3799" y="6353"/>
                  </a:lnTo>
                  <a:cubicBezTo>
                    <a:pt x="3799" y="7267"/>
                    <a:pt x="3342" y="7881"/>
                    <a:pt x="2413" y="7881"/>
                  </a:cubicBezTo>
                  <a:cubicBezTo>
                    <a:pt x="1785" y="7881"/>
                    <a:pt x="1342" y="7581"/>
                    <a:pt x="1085" y="7324"/>
                  </a:cubicBezTo>
                  <a:lnTo>
                    <a:pt x="1085" y="9811"/>
                  </a:lnTo>
                  <a:lnTo>
                    <a:pt x="0" y="9811"/>
                  </a:lnTo>
                  <a:lnTo>
                    <a:pt x="0" y="85"/>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endParaRPr lang="en-US"/>
            </a:p>
          </p:txBody>
        </p:sp>
        <p:sp>
          <p:nvSpPr>
            <p:cNvPr id="21" name="Freeform 3">
              <a:extLst>
                <a:ext uri="{FF2B5EF4-FFF2-40B4-BE49-F238E27FC236}">
                  <a16:creationId xmlns:a16="http://schemas.microsoft.com/office/drawing/2014/main" id="{3484C3A5-FD77-07AA-37FE-28F6E29A3692}"/>
                </a:ext>
              </a:extLst>
            </p:cNvPr>
            <p:cNvSpPr>
              <a:spLocks noChangeArrowheads="1"/>
            </p:cNvSpPr>
            <p:nvPr/>
          </p:nvSpPr>
          <p:spPr bwMode="auto">
            <a:xfrm>
              <a:off x="4711700" y="2035175"/>
              <a:ext cx="1328738" cy="2836863"/>
            </a:xfrm>
            <a:custGeom>
              <a:avLst/>
              <a:gdLst>
                <a:gd name="T0" fmla="*/ 937679 w 3690"/>
                <a:gd name="T1" fmla="*/ 2338019 h 7882"/>
                <a:gd name="T2" fmla="*/ 937679 w 3690"/>
                <a:gd name="T3" fmla="*/ 1422750 h 7882"/>
                <a:gd name="T4" fmla="*/ 582988 w 3690"/>
                <a:gd name="T5" fmla="*/ 1556999 h 7882"/>
                <a:gd name="T6" fmla="*/ 392500 w 3690"/>
                <a:gd name="T7" fmla="*/ 1844573 h 7882"/>
                <a:gd name="T8" fmla="*/ 392500 w 3690"/>
                <a:gd name="T9" fmla="*/ 2266035 h 7882"/>
                <a:gd name="T10" fmla="*/ 582988 w 3690"/>
                <a:gd name="T11" fmla="*/ 2466149 h 7882"/>
                <a:gd name="T12" fmla="*/ 937679 w 3690"/>
                <a:gd name="T13" fmla="*/ 2338019 h 7882"/>
                <a:gd name="T14" fmla="*/ 2161 w 3690"/>
                <a:gd name="T15" fmla="*/ 1839174 h 7882"/>
                <a:gd name="T16" fmla="*/ 413025 w 3690"/>
                <a:gd name="T17" fmla="*/ 1253950 h 7882"/>
                <a:gd name="T18" fmla="*/ 937679 w 3690"/>
                <a:gd name="T19" fmla="*/ 1073991 h 7882"/>
                <a:gd name="T20" fmla="*/ 937679 w 3690"/>
                <a:gd name="T21" fmla="*/ 611498 h 7882"/>
                <a:gd name="T22" fmla="*/ 690656 w 3690"/>
                <a:gd name="T23" fmla="*/ 359557 h 7882"/>
                <a:gd name="T24" fmla="*/ 627280 w 3690"/>
                <a:gd name="T25" fmla="*/ 359557 h 7882"/>
                <a:gd name="T26" fmla="*/ 380257 w 3690"/>
                <a:gd name="T27" fmla="*/ 611498 h 7882"/>
                <a:gd name="T28" fmla="*/ 380257 w 3690"/>
                <a:gd name="T29" fmla="*/ 1004527 h 7882"/>
                <a:gd name="T30" fmla="*/ 0 w 3690"/>
                <a:gd name="T31" fmla="*/ 1004527 h 7882"/>
                <a:gd name="T32" fmla="*/ 0 w 3690"/>
                <a:gd name="T33" fmla="*/ 626975 h 7882"/>
                <a:gd name="T34" fmla="*/ 627280 w 3690"/>
                <a:gd name="T35" fmla="*/ 0 h 7882"/>
                <a:gd name="T36" fmla="*/ 701098 w 3690"/>
                <a:gd name="T37" fmla="*/ 0 h 7882"/>
                <a:gd name="T38" fmla="*/ 1328378 w 3690"/>
                <a:gd name="T39" fmla="*/ 626975 h 7882"/>
                <a:gd name="T40" fmla="*/ 1328378 w 3690"/>
                <a:gd name="T41" fmla="*/ 2805550 h 7882"/>
                <a:gd name="T42" fmla="*/ 937679 w 3690"/>
                <a:gd name="T43" fmla="*/ 2805550 h 7882"/>
                <a:gd name="T44" fmla="*/ 937679 w 3690"/>
                <a:gd name="T45" fmla="*/ 2630631 h 7882"/>
                <a:gd name="T46" fmla="*/ 459477 w 3690"/>
                <a:gd name="T47" fmla="*/ 2836503 h 7882"/>
                <a:gd name="T48" fmla="*/ 2161 w 3690"/>
                <a:gd name="T49" fmla="*/ 2348096 h 7882"/>
                <a:gd name="T50" fmla="*/ 2161 w 3690"/>
                <a:gd name="T51" fmla="*/ 1839174 h 7882"/>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3690" h="7882">
                  <a:moveTo>
                    <a:pt x="2604" y="6496"/>
                  </a:moveTo>
                  <a:lnTo>
                    <a:pt x="2604" y="3953"/>
                  </a:lnTo>
                  <a:lnTo>
                    <a:pt x="1619" y="4326"/>
                  </a:lnTo>
                  <a:cubicBezTo>
                    <a:pt x="1219" y="4483"/>
                    <a:pt x="1090" y="4683"/>
                    <a:pt x="1090" y="5125"/>
                  </a:cubicBezTo>
                  <a:lnTo>
                    <a:pt x="1090" y="6296"/>
                  </a:lnTo>
                  <a:cubicBezTo>
                    <a:pt x="1090" y="6667"/>
                    <a:pt x="1276" y="6852"/>
                    <a:pt x="1619" y="6852"/>
                  </a:cubicBezTo>
                  <a:cubicBezTo>
                    <a:pt x="1947" y="6852"/>
                    <a:pt x="2247" y="6738"/>
                    <a:pt x="2604" y="6496"/>
                  </a:cubicBezTo>
                  <a:close/>
                  <a:moveTo>
                    <a:pt x="6" y="5110"/>
                  </a:moveTo>
                  <a:cubicBezTo>
                    <a:pt x="6" y="4155"/>
                    <a:pt x="320" y="3769"/>
                    <a:pt x="1147" y="3484"/>
                  </a:cubicBezTo>
                  <a:lnTo>
                    <a:pt x="2604" y="2984"/>
                  </a:lnTo>
                  <a:lnTo>
                    <a:pt x="2604" y="1699"/>
                  </a:lnTo>
                  <a:cubicBezTo>
                    <a:pt x="2604" y="1242"/>
                    <a:pt x="2375" y="999"/>
                    <a:pt x="1918" y="999"/>
                  </a:cubicBezTo>
                  <a:lnTo>
                    <a:pt x="1742" y="999"/>
                  </a:lnTo>
                  <a:cubicBezTo>
                    <a:pt x="1285" y="999"/>
                    <a:pt x="1056" y="1242"/>
                    <a:pt x="1056" y="1699"/>
                  </a:cubicBezTo>
                  <a:lnTo>
                    <a:pt x="1056" y="2791"/>
                  </a:lnTo>
                  <a:lnTo>
                    <a:pt x="0" y="2791"/>
                  </a:lnTo>
                  <a:lnTo>
                    <a:pt x="0" y="1742"/>
                  </a:lnTo>
                  <a:cubicBezTo>
                    <a:pt x="0" y="585"/>
                    <a:pt x="586" y="0"/>
                    <a:pt x="1742" y="0"/>
                  </a:cubicBezTo>
                  <a:lnTo>
                    <a:pt x="1947" y="0"/>
                  </a:lnTo>
                  <a:cubicBezTo>
                    <a:pt x="3104" y="0"/>
                    <a:pt x="3689" y="585"/>
                    <a:pt x="3689" y="1742"/>
                  </a:cubicBezTo>
                  <a:lnTo>
                    <a:pt x="3689" y="7795"/>
                  </a:lnTo>
                  <a:lnTo>
                    <a:pt x="2604" y="7795"/>
                  </a:lnTo>
                  <a:lnTo>
                    <a:pt x="2604" y="7309"/>
                  </a:lnTo>
                  <a:cubicBezTo>
                    <a:pt x="2304" y="7595"/>
                    <a:pt x="1904" y="7881"/>
                    <a:pt x="1276" y="7881"/>
                  </a:cubicBezTo>
                  <a:cubicBezTo>
                    <a:pt x="406" y="7881"/>
                    <a:pt x="6" y="7381"/>
                    <a:pt x="6" y="6524"/>
                  </a:cubicBezTo>
                  <a:lnTo>
                    <a:pt x="6" y="5110"/>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endParaRPr lang="en-US"/>
            </a:p>
          </p:txBody>
        </p:sp>
        <p:sp>
          <p:nvSpPr>
            <p:cNvPr id="22" name="Freeform 4">
              <a:extLst>
                <a:ext uri="{FF2B5EF4-FFF2-40B4-BE49-F238E27FC236}">
                  <a16:creationId xmlns:a16="http://schemas.microsoft.com/office/drawing/2014/main" id="{334B54CE-0ADC-FE70-D6F2-708D01EA5223}"/>
                </a:ext>
              </a:extLst>
            </p:cNvPr>
            <p:cNvSpPr>
              <a:spLocks noChangeArrowheads="1"/>
            </p:cNvSpPr>
            <p:nvPr/>
          </p:nvSpPr>
          <p:spPr bwMode="auto">
            <a:xfrm>
              <a:off x="6292850" y="2035175"/>
              <a:ext cx="2262188" cy="2806700"/>
            </a:xfrm>
            <a:custGeom>
              <a:avLst/>
              <a:gdLst>
                <a:gd name="T0" fmla="*/ 1326358 w 6285"/>
                <a:gd name="T1" fmla="*/ 2806340 h 7796"/>
                <a:gd name="T2" fmla="*/ 935470 w 6285"/>
                <a:gd name="T3" fmla="*/ 2806340 h 7796"/>
                <a:gd name="T4" fmla="*/ 935470 w 6285"/>
                <a:gd name="T5" fmla="*/ 570628 h 7796"/>
                <a:gd name="T6" fmla="*/ 750463 w 6285"/>
                <a:gd name="T7" fmla="*/ 370098 h 7796"/>
                <a:gd name="T8" fmla="*/ 390889 w 6285"/>
                <a:gd name="T9" fmla="*/ 508705 h 7796"/>
                <a:gd name="T10" fmla="*/ 390889 w 6285"/>
                <a:gd name="T11" fmla="*/ 2806340 h 7796"/>
                <a:gd name="T12" fmla="*/ 0 w 6285"/>
                <a:gd name="T13" fmla="*/ 2806340 h 7796"/>
                <a:gd name="T14" fmla="*/ 0 w 6285"/>
                <a:gd name="T15" fmla="*/ 30602 h 7796"/>
                <a:gd name="T16" fmla="*/ 390889 w 6285"/>
                <a:gd name="T17" fmla="*/ 30602 h 7796"/>
                <a:gd name="T18" fmla="*/ 390889 w 6285"/>
                <a:gd name="T19" fmla="*/ 210611 h 7796"/>
                <a:gd name="T20" fmla="*/ 868882 w 6285"/>
                <a:gd name="T21" fmla="*/ 0 h 7796"/>
                <a:gd name="T22" fmla="*/ 1274888 w 6285"/>
                <a:gd name="T23" fmla="*/ 226091 h 7796"/>
                <a:gd name="T24" fmla="*/ 1804351 w 6285"/>
                <a:gd name="T25" fmla="*/ 0 h 7796"/>
                <a:gd name="T26" fmla="*/ 2261828 w 6285"/>
                <a:gd name="T27" fmla="*/ 488184 h 7796"/>
                <a:gd name="T28" fmla="*/ 2261828 w 6285"/>
                <a:gd name="T29" fmla="*/ 2806340 h 7796"/>
                <a:gd name="T30" fmla="*/ 1870939 w 6285"/>
                <a:gd name="T31" fmla="*/ 2806340 h 7796"/>
                <a:gd name="T32" fmla="*/ 1870939 w 6285"/>
                <a:gd name="T33" fmla="*/ 570628 h 7796"/>
                <a:gd name="T34" fmla="*/ 1685933 w 6285"/>
                <a:gd name="T35" fmla="*/ 370098 h 7796"/>
                <a:gd name="T36" fmla="*/ 1326358 w 6285"/>
                <a:gd name="T37" fmla="*/ 508705 h 7796"/>
                <a:gd name="T38" fmla="*/ 1326358 w 6285"/>
                <a:gd name="T39" fmla="*/ 2806340 h 779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6285" h="7796">
                  <a:moveTo>
                    <a:pt x="3685" y="7795"/>
                  </a:moveTo>
                  <a:lnTo>
                    <a:pt x="2599" y="7795"/>
                  </a:lnTo>
                  <a:lnTo>
                    <a:pt x="2599" y="1585"/>
                  </a:lnTo>
                  <a:cubicBezTo>
                    <a:pt x="2599" y="1199"/>
                    <a:pt x="2414" y="1028"/>
                    <a:pt x="2085" y="1028"/>
                  </a:cubicBezTo>
                  <a:cubicBezTo>
                    <a:pt x="1785" y="1028"/>
                    <a:pt x="1471" y="1142"/>
                    <a:pt x="1086" y="1413"/>
                  </a:cubicBezTo>
                  <a:lnTo>
                    <a:pt x="1086" y="7795"/>
                  </a:lnTo>
                  <a:lnTo>
                    <a:pt x="0" y="7795"/>
                  </a:lnTo>
                  <a:lnTo>
                    <a:pt x="0" y="85"/>
                  </a:lnTo>
                  <a:lnTo>
                    <a:pt x="1086" y="85"/>
                  </a:lnTo>
                  <a:lnTo>
                    <a:pt x="1086" y="585"/>
                  </a:lnTo>
                  <a:cubicBezTo>
                    <a:pt x="1400" y="285"/>
                    <a:pt x="1814" y="0"/>
                    <a:pt x="2414" y="0"/>
                  </a:cubicBezTo>
                  <a:cubicBezTo>
                    <a:pt x="2971" y="0"/>
                    <a:pt x="3342" y="228"/>
                    <a:pt x="3542" y="628"/>
                  </a:cubicBezTo>
                  <a:cubicBezTo>
                    <a:pt x="3928" y="299"/>
                    <a:pt x="4385" y="0"/>
                    <a:pt x="5013" y="0"/>
                  </a:cubicBezTo>
                  <a:cubicBezTo>
                    <a:pt x="5855" y="0"/>
                    <a:pt x="6284" y="514"/>
                    <a:pt x="6284" y="1356"/>
                  </a:cubicBezTo>
                  <a:lnTo>
                    <a:pt x="6284" y="7795"/>
                  </a:lnTo>
                  <a:lnTo>
                    <a:pt x="5198" y="7795"/>
                  </a:lnTo>
                  <a:lnTo>
                    <a:pt x="5198" y="1585"/>
                  </a:lnTo>
                  <a:cubicBezTo>
                    <a:pt x="5198" y="1199"/>
                    <a:pt x="5013" y="1028"/>
                    <a:pt x="4684" y="1028"/>
                  </a:cubicBezTo>
                  <a:cubicBezTo>
                    <a:pt x="4385" y="1028"/>
                    <a:pt x="4070" y="1142"/>
                    <a:pt x="3685" y="1413"/>
                  </a:cubicBezTo>
                  <a:lnTo>
                    <a:pt x="3685" y="7795"/>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endParaRPr lang="en-US"/>
            </a:p>
          </p:txBody>
        </p:sp>
        <p:sp>
          <p:nvSpPr>
            <p:cNvPr id="23" name="Freeform 5">
              <a:extLst>
                <a:ext uri="{FF2B5EF4-FFF2-40B4-BE49-F238E27FC236}">
                  <a16:creationId xmlns:a16="http://schemas.microsoft.com/office/drawing/2014/main" id="{CDDABD3F-DAAF-6384-6DF9-BE4796DFDD3C}"/>
                </a:ext>
              </a:extLst>
            </p:cNvPr>
            <p:cNvSpPr>
              <a:spLocks noChangeArrowheads="1"/>
            </p:cNvSpPr>
            <p:nvPr/>
          </p:nvSpPr>
          <p:spPr bwMode="auto">
            <a:xfrm>
              <a:off x="14288" y="2322513"/>
              <a:ext cx="1004887" cy="2274887"/>
            </a:xfrm>
            <a:custGeom>
              <a:avLst/>
              <a:gdLst>
                <a:gd name="T0" fmla="*/ 1004527 w 2790"/>
                <a:gd name="T1" fmla="*/ 0 h 6317"/>
                <a:gd name="T2" fmla="*/ 1004527 w 2790"/>
                <a:gd name="T3" fmla="*/ 510652 h 6317"/>
                <a:gd name="T4" fmla="*/ 346488 w 2790"/>
                <a:gd name="T5" fmla="*/ 1137624 h 6317"/>
                <a:gd name="T6" fmla="*/ 1004527 w 2790"/>
                <a:gd name="T7" fmla="*/ 1752711 h 6317"/>
                <a:gd name="T8" fmla="*/ 1004527 w 2790"/>
                <a:gd name="T9" fmla="*/ 2274527 h 6317"/>
                <a:gd name="T10" fmla="*/ 0 w 2790"/>
                <a:gd name="T11" fmla="*/ 1331009 h 6317"/>
                <a:gd name="T12" fmla="*/ 0 w 2790"/>
                <a:gd name="T13" fmla="*/ 955042 h 6317"/>
                <a:gd name="T14" fmla="*/ 1004527 w 2790"/>
                <a:gd name="T15" fmla="*/ 0 h 6317"/>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2790" h="6317">
                  <a:moveTo>
                    <a:pt x="2789" y="0"/>
                  </a:moveTo>
                  <a:lnTo>
                    <a:pt x="2789" y="1418"/>
                  </a:lnTo>
                  <a:lnTo>
                    <a:pt x="962" y="3159"/>
                  </a:lnTo>
                  <a:lnTo>
                    <a:pt x="2789" y="4867"/>
                  </a:lnTo>
                  <a:lnTo>
                    <a:pt x="2789" y="6316"/>
                  </a:lnTo>
                  <a:lnTo>
                    <a:pt x="0" y="3696"/>
                  </a:lnTo>
                  <a:lnTo>
                    <a:pt x="0" y="2652"/>
                  </a:lnTo>
                  <a:lnTo>
                    <a:pt x="2789"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endParaRPr lang="en-US"/>
            </a:p>
          </p:txBody>
        </p:sp>
        <p:sp>
          <p:nvSpPr>
            <p:cNvPr id="24" name="Freeform 6">
              <a:extLst>
                <a:ext uri="{FF2B5EF4-FFF2-40B4-BE49-F238E27FC236}">
                  <a16:creationId xmlns:a16="http://schemas.microsoft.com/office/drawing/2014/main" id="{78F5B489-9941-A0E8-F867-511036BD5EF1}"/>
                </a:ext>
              </a:extLst>
            </p:cNvPr>
            <p:cNvSpPr>
              <a:spLocks noChangeArrowheads="1"/>
            </p:cNvSpPr>
            <p:nvPr/>
          </p:nvSpPr>
          <p:spPr bwMode="auto">
            <a:xfrm>
              <a:off x="9050338" y="2322513"/>
              <a:ext cx="1003300" cy="2274887"/>
            </a:xfrm>
            <a:custGeom>
              <a:avLst/>
              <a:gdLst>
                <a:gd name="T0" fmla="*/ 1002940 w 2789"/>
                <a:gd name="T1" fmla="*/ 955042 h 6317"/>
                <a:gd name="T2" fmla="*/ 1002940 w 2789"/>
                <a:gd name="T3" fmla="*/ 1331009 h 6317"/>
                <a:gd name="T4" fmla="*/ 0 w 2789"/>
                <a:gd name="T5" fmla="*/ 2274527 h 6317"/>
                <a:gd name="T6" fmla="*/ 0 w 2789"/>
                <a:gd name="T7" fmla="*/ 1752711 h 6317"/>
                <a:gd name="T8" fmla="*/ 656876 w 2789"/>
                <a:gd name="T9" fmla="*/ 1137624 h 6317"/>
                <a:gd name="T10" fmla="*/ 0 w 2789"/>
                <a:gd name="T11" fmla="*/ 510652 h 6317"/>
                <a:gd name="T12" fmla="*/ 0 w 2789"/>
                <a:gd name="T13" fmla="*/ 0 h 6317"/>
                <a:gd name="T14" fmla="*/ 1002940 w 2789"/>
                <a:gd name="T15" fmla="*/ 955042 h 6317"/>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2789" h="6317">
                  <a:moveTo>
                    <a:pt x="2788" y="2652"/>
                  </a:moveTo>
                  <a:lnTo>
                    <a:pt x="2788" y="3696"/>
                  </a:lnTo>
                  <a:lnTo>
                    <a:pt x="0" y="6316"/>
                  </a:lnTo>
                  <a:lnTo>
                    <a:pt x="0" y="4867"/>
                  </a:lnTo>
                  <a:lnTo>
                    <a:pt x="1826" y="3159"/>
                  </a:lnTo>
                  <a:lnTo>
                    <a:pt x="0" y="1418"/>
                  </a:lnTo>
                  <a:lnTo>
                    <a:pt x="0" y="0"/>
                  </a:lnTo>
                  <a:lnTo>
                    <a:pt x="2788" y="2652"/>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endParaRPr lang="en-US"/>
            </a:p>
          </p:txBody>
        </p:sp>
      </p:grpSp>
      <p:sp>
        <p:nvSpPr>
          <p:cNvPr id="25" name="Footer Placeholder 14">
            <a:extLst>
              <a:ext uri="{FF2B5EF4-FFF2-40B4-BE49-F238E27FC236}">
                <a16:creationId xmlns:a16="http://schemas.microsoft.com/office/drawing/2014/main" id="{E8F2A8AE-A80D-EC77-A52B-9680F848D4C6}"/>
              </a:ext>
            </a:extLst>
          </p:cNvPr>
          <p:cNvSpPr txBox="1">
            <a:spLocks/>
          </p:cNvSpPr>
          <p:nvPr userDrawn="1"/>
        </p:nvSpPr>
        <p:spPr>
          <a:xfrm>
            <a:off x="1205299" y="6410231"/>
            <a:ext cx="2157779" cy="228599"/>
          </a:xfrm>
          <a:prstGeom prst="rect">
            <a:avLst/>
          </a:prstGeom>
        </p:spPr>
        <p:txBody>
          <a:bodyPr vert="horz" lIns="0" tIns="0" rIns="0" bIns="0" rtlCol="0" anchor="ctr"/>
          <a:lstStyle>
            <a:defPPr>
              <a:defRPr lang="en-US"/>
            </a:defPPr>
            <a:lvl1pPr marL="0" algn="r" defTabSz="914400" rtl="0" eaLnBrk="1" latinLnBrk="0" hangingPunct="1">
              <a:defRPr sz="600" b="0" i="0" kern="1200">
                <a:solidFill>
                  <a:schemeClr val="tx1"/>
                </a:solidFill>
                <a:latin typeface="+mn-lt"/>
                <a:ea typeface="Calibri" panose="020F0502020204030204" pitchFamily="34" charset="0"/>
                <a:cs typeface="Calibri" panose="020F050202020403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b="0" i="0">
                <a:solidFill>
                  <a:schemeClr val="tx1"/>
                </a:solidFill>
                <a:latin typeface="+mn-lt"/>
              </a:rPr>
              <a:t>EPAM Proprietary &amp; Confidential</a:t>
            </a:r>
            <a:r>
              <a:rPr lang="ru-RU" b="0" i="0">
                <a:solidFill>
                  <a:schemeClr val="tx1"/>
                </a:solidFill>
                <a:latin typeface="+mn-lt"/>
              </a:rPr>
              <a:t> </a:t>
            </a:r>
            <a:endParaRPr lang="en-US" b="0" i="0">
              <a:solidFill>
                <a:schemeClr val="tx1"/>
              </a:solidFill>
              <a:latin typeface="+mn-lt"/>
            </a:endParaRPr>
          </a:p>
        </p:txBody>
      </p:sp>
      <p:pic>
        <p:nvPicPr>
          <p:cNvPr id="7" name="Graphic 6">
            <a:extLst>
              <a:ext uri="{FF2B5EF4-FFF2-40B4-BE49-F238E27FC236}">
                <a16:creationId xmlns:a16="http://schemas.microsoft.com/office/drawing/2014/main" id="{0F2A01AF-4766-7A6B-2F58-FA693D3A69B4}"/>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820266" y="6419060"/>
            <a:ext cx="762921" cy="205636"/>
          </a:xfrm>
          <a:prstGeom prst="rect">
            <a:avLst/>
          </a:prstGeom>
        </p:spPr>
      </p:pic>
    </p:spTree>
    <p:extLst>
      <p:ext uri="{BB962C8B-B14F-4D97-AF65-F5344CB8AC3E}">
        <p14:creationId xmlns:p14="http://schemas.microsoft.com/office/powerpoint/2010/main" val="3344758188"/>
      </p:ext>
    </p:extLst>
  </p:cSld>
  <p:clrMapOvr>
    <a:masterClrMapping/>
  </p:clrMapOvr>
  <p:extLst>
    <p:ext uri="{DCECCB84-F9BA-43D5-87BE-67443E8EF086}">
      <p15:sldGuideLst xmlns:p15="http://schemas.microsoft.com/office/powerpoint/2012/main"/>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User-Persona">
    <p:spTree>
      <p:nvGrpSpPr>
        <p:cNvPr id="1" name=""/>
        <p:cNvGrpSpPr/>
        <p:nvPr/>
      </p:nvGrpSpPr>
      <p:grpSpPr>
        <a:xfrm>
          <a:off x="0" y="0"/>
          <a:ext cx="0" cy="0"/>
          <a:chOff x="0" y="0"/>
          <a:chExt cx="0" cy="0"/>
        </a:xfrm>
      </p:grpSpPr>
      <p:sp>
        <p:nvSpPr>
          <p:cNvPr id="31" name="Rectangle 30">
            <a:extLst>
              <a:ext uri="{FF2B5EF4-FFF2-40B4-BE49-F238E27FC236}">
                <a16:creationId xmlns:a16="http://schemas.microsoft.com/office/drawing/2014/main" id="{E065F37D-D2A3-CE4F-B068-A258F10B85FF}"/>
              </a:ext>
            </a:extLst>
          </p:cNvPr>
          <p:cNvSpPr/>
          <p:nvPr userDrawn="1"/>
        </p:nvSpPr>
        <p:spPr bwMode="auto">
          <a:xfrm>
            <a:off x="0" y="0"/>
            <a:ext cx="3236965" cy="6858000"/>
          </a:xfrm>
          <a:prstGeom prst="rect">
            <a:avLst/>
          </a:prstGeom>
          <a:solidFill>
            <a:schemeClr val="tx1"/>
          </a:solidFill>
          <a:ln>
            <a:noFill/>
          </a:ln>
          <a:effectLst/>
        </p:spPr>
        <p:txBody>
          <a:bodyPr wrap="none" rtlCol="0" anchor="ctr"/>
          <a:lstStyle/>
          <a:p>
            <a:pPr algn="ctr"/>
            <a:endParaRPr lang="en-UA" sz="2400" err="1">
              <a:solidFill>
                <a:schemeClr val="bg1"/>
              </a:solidFill>
              <a:latin typeface="Calibri Light" panose="020F0302020204030204" pitchFamily="34" charset="0"/>
              <a:ea typeface="Human Sans ExtraLight" charset="0"/>
              <a:cs typeface="Human Sans ExtraLight" charset="0"/>
            </a:endParaRPr>
          </a:p>
        </p:txBody>
      </p:sp>
      <p:sp>
        <p:nvSpPr>
          <p:cNvPr id="29" name="Rectangle 28">
            <a:extLst>
              <a:ext uri="{FF2B5EF4-FFF2-40B4-BE49-F238E27FC236}">
                <a16:creationId xmlns:a16="http://schemas.microsoft.com/office/drawing/2014/main" id="{C39F636B-FA9F-CB4E-B6F8-B160AB761C73}"/>
              </a:ext>
            </a:extLst>
          </p:cNvPr>
          <p:cNvSpPr/>
          <p:nvPr userDrawn="1"/>
        </p:nvSpPr>
        <p:spPr bwMode="auto">
          <a:xfrm>
            <a:off x="3222416" y="7093"/>
            <a:ext cx="4491963" cy="6858000"/>
          </a:xfrm>
          <a:prstGeom prst="rect">
            <a:avLst/>
          </a:prstGeom>
          <a:solidFill>
            <a:schemeClr val="bg2"/>
          </a:solidFill>
          <a:ln>
            <a:noFill/>
          </a:ln>
          <a:effectLst/>
        </p:spPr>
        <p:txBody>
          <a:bodyPr wrap="none" rtlCol="0" anchor="ctr"/>
          <a:lstStyle/>
          <a:p>
            <a:pPr algn="ctr"/>
            <a:endParaRPr lang="en-UA" sz="2400" err="1">
              <a:solidFill>
                <a:schemeClr val="bg1"/>
              </a:solidFill>
              <a:latin typeface="Calibri Light" panose="020F0302020204030204" pitchFamily="34" charset="0"/>
              <a:ea typeface="Human Sans ExtraLight" charset="0"/>
              <a:cs typeface="Human Sans ExtraLight" charset="0"/>
            </a:endParaRPr>
          </a:p>
        </p:txBody>
      </p:sp>
      <p:sp>
        <p:nvSpPr>
          <p:cNvPr id="15" name="Title 1">
            <a:extLst>
              <a:ext uri="{FF2B5EF4-FFF2-40B4-BE49-F238E27FC236}">
                <a16:creationId xmlns:a16="http://schemas.microsoft.com/office/drawing/2014/main" id="{37FF0414-DAEC-144D-A66B-C479CECFED13}"/>
              </a:ext>
            </a:extLst>
          </p:cNvPr>
          <p:cNvSpPr>
            <a:spLocks noGrp="1"/>
          </p:cNvSpPr>
          <p:nvPr>
            <p:ph type="title"/>
          </p:nvPr>
        </p:nvSpPr>
        <p:spPr>
          <a:xfrm>
            <a:off x="455841" y="3231158"/>
            <a:ext cx="2441262" cy="319749"/>
          </a:xfrm>
          <a:prstGeom prst="rect">
            <a:avLst/>
          </a:prstGeom>
          <a:ln>
            <a:solidFill>
              <a:schemeClr val="bg1"/>
            </a:solidFill>
          </a:ln>
        </p:spPr>
        <p:txBody>
          <a:bodyPr/>
          <a:lstStyle>
            <a:lvl1pPr>
              <a:defRPr b="1">
                <a:solidFill>
                  <a:schemeClr val="bg1"/>
                </a:solidFill>
                <a:latin typeface="+mn-lt"/>
              </a:defRPr>
            </a:lvl1pPr>
          </a:lstStyle>
          <a:p>
            <a:r>
              <a:rPr lang="en-GB"/>
              <a:t>Click to edit Master</a:t>
            </a:r>
            <a:endParaRPr lang="en-US"/>
          </a:p>
        </p:txBody>
      </p:sp>
      <p:sp>
        <p:nvSpPr>
          <p:cNvPr id="16" name="Text Placeholder 10">
            <a:extLst>
              <a:ext uri="{FF2B5EF4-FFF2-40B4-BE49-F238E27FC236}">
                <a16:creationId xmlns:a16="http://schemas.microsoft.com/office/drawing/2014/main" id="{809764F3-19B7-E14C-ABFE-172CDDFBA7D4}"/>
              </a:ext>
            </a:extLst>
          </p:cNvPr>
          <p:cNvSpPr>
            <a:spLocks noGrp="1"/>
          </p:cNvSpPr>
          <p:nvPr>
            <p:ph type="body" sz="quarter" idx="15" hasCustomPrompt="1"/>
          </p:nvPr>
        </p:nvSpPr>
        <p:spPr>
          <a:xfrm>
            <a:off x="455841" y="3005453"/>
            <a:ext cx="2441262" cy="225706"/>
          </a:xfrm>
          <a:prstGeom prst="rect">
            <a:avLst/>
          </a:prstGeom>
          <a:ln>
            <a:solidFill>
              <a:schemeClr val="bg1"/>
            </a:solidFill>
          </a:ln>
        </p:spPr>
        <p:txBody>
          <a:bodyPr/>
          <a:lstStyle>
            <a:lvl1pPr>
              <a:defRPr sz="900" b="0" i="0" cap="all" baseline="0">
                <a:solidFill>
                  <a:schemeClr val="bg1"/>
                </a:solidFill>
                <a:latin typeface="+mn-lt"/>
              </a:defRPr>
            </a:lvl1pPr>
          </a:lstStyle>
          <a:p>
            <a:pPr lvl="0"/>
            <a:r>
              <a:rPr lang="en-US"/>
              <a:t>Click to add section title</a:t>
            </a:r>
          </a:p>
        </p:txBody>
      </p:sp>
      <p:sp>
        <p:nvSpPr>
          <p:cNvPr id="11" name="Text Placeholder 4">
            <a:extLst>
              <a:ext uri="{FF2B5EF4-FFF2-40B4-BE49-F238E27FC236}">
                <a16:creationId xmlns:a16="http://schemas.microsoft.com/office/drawing/2014/main" id="{5A8D0894-5AC7-B249-AC04-C60361B4396F}"/>
              </a:ext>
            </a:extLst>
          </p:cNvPr>
          <p:cNvSpPr>
            <a:spLocks noGrp="1"/>
          </p:cNvSpPr>
          <p:nvPr>
            <p:ph type="body" sz="quarter" idx="13" hasCustomPrompt="1"/>
          </p:nvPr>
        </p:nvSpPr>
        <p:spPr>
          <a:xfrm>
            <a:off x="455841" y="3631594"/>
            <a:ext cx="2441262" cy="509856"/>
          </a:xfrm>
          <a:prstGeom prst="rect">
            <a:avLst/>
          </a:prstGeom>
          <a:ln>
            <a:solidFill>
              <a:schemeClr val="bg1"/>
            </a:solidFill>
          </a:ln>
        </p:spPr>
        <p:txBody>
          <a:bodyPr anchor="t"/>
          <a:lstStyle>
            <a:lvl1pPr>
              <a:lnSpc>
                <a:spcPct val="110000"/>
              </a:lnSpc>
              <a:spcBef>
                <a:spcPts val="600"/>
              </a:spcBef>
              <a:spcAft>
                <a:spcPts val="0"/>
              </a:spcAft>
              <a:tabLst>
                <a:tab pos="457200" algn="l"/>
                <a:tab pos="914400" algn="l"/>
                <a:tab pos="1371600" algn="l"/>
                <a:tab pos="1828800" algn="l"/>
                <a:tab pos="2286000" algn="l"/>
                <a:tab pos="2743200" algn="l"/>
                <a:tab pos="3200400" algn="l"/>
                <a:tab pos="3657600" algn="l"/>
              </a:tabLst>
              <a:defRPr sz="1400" b="1" i="0" baseline="0">
                <a:solidFill>
                  <a:schemeClr val="bg1"/>
                </a:solidFill>
                <a:latin typeface="Calibri" panose="020F0502020204030204" pitchFamily="34" charset="0"/>
                <a:cs typeface="Calibri" panose="020F0502020204030204" pitchFamily="34" charset="0"/>
              </a:defRPr>
            </a:lvl1pPr>
          </a:lstStyle>
          <a:p>
            <a:pPr lvl="0"/>
            <a:r>
              <a:rPr lang="en-US"/>
              <a:t>Age, Profession</a:t>
            </a:r>
          </a:p>
        </p:txBody>
      </p:sp>
      <p:sp>
        <p:nvSpPr>
          <p:cNvPr id="24" name="Picture Placeholder 13">
            <a:extLst>
              <a:ext uri="{FF2B5EF4-FFF2-40B4-BE49-F238E27FC236}">
                <a16:creationId xmlns:a16="http://schemas.microsoft.com/office/drawing/2014/main" id="{7F23C99B-D005-8D48-8D48-9C17BAC16D2E}"/>
              </a:ext>
            </a:extLst>
          </p:cNvPr>
          <p:cNvSpPr>
            <a:spLocks noGrp="1"/>
          </p:cNvSpPr>
          <p:nvPr>
            <p:ph type="pic" sz="quarter" idx="16"/>
          </p:nvPr>
        </p:nvSpPr>
        <p:spPr>
          <a:xfrm>
            <a:off x="7939" y="-1"/>
            <a:ext cx="3214477" cy="2839671"/>
          </a:xfrm>
          <a:prstGeom prst="rect">
            <a:avLst/>
          </a:prstGeom>
        </p:spPr>
        <p:txBody>
          <a:bodyPr/>
          <a:lstStyle>
            <a:lvl1pPr>
              <a:defRPr b="0" i="0"/>
            </a:lvl1pPr>
          </a:lstStyle>
          <a:p>
            <a:r>
              <a:rPr lang="en-GB"/>
              <a:t>Click icon to add picture</a:t>
            </a:r>
            <a:endParaRPr lang="en-US"/>
          </a:p>
        </p:txBody>
      </p:sp>
      <p:sp>
        <p:nvSpPr>
          <p:cNvPr id="30" name="Text Placeholder 4">
            <a:extLst>
              <a:ext uri="{FF2B5EF4-FFF2-40B4-BE49-F238E27FC236}">
                <a16:creationId xmlns:a16="http://schemas.microsoft.com/office/drawing/2014/main" id="{29D8C45B-AC0C-D447-8545-6A1DFF015EF1}"/>
              </a:ext>
            </a:extLst>
          </p:cNvPr>
          <p:cNvSpPr>
            <a:spLocks noGrp="1"/>
          </p:cNvSpPr>
          <p:nvPr>
            <p:ph type="body" sz="quarter" idx="18" hasCustomPrompt="1"/>
          </p:nvPr>
        </p:nvSpPr>
        <p:spPr>
          <a:xfrm>
            <a:off x="455841" y="4457700"/>
            <a:ext cx="2441262" cy="1617171"/>
          </a:xfrm>
          <a:prstGeom prst="rect">
            <a:avLst/>
          </a:prstGeom>
          <a:ln>
            <a:solidFill>
              <a:schemeClr val="bg1"/>
            </a:solidFill>
          </a:ln>
        </p:spPr>
        <p:txBody>
          <a:bodyPr anchor="t"/>
          <a:lstStyle>
            <a:lvl1pPr>
              <a:lnSpc>
                <a:spcPct val="110000"/>
              </a:lnSpc>
              <a:spcBef>
                <a:spcPts val="600"/>
              </a:spcBef>
              <a:spcAft>
                <a:spcPts val="0"/>
              </a:spcAft>
              <a:tabLst>
                <a:tab pos="457200" algn="l"/>
                <a:tab pos="914400" algn="l"/>
                <a:tab pos="1371600" algn="l"/>
                <a:tab pos="1828800" algn="l"/>
                <a:tab pos="2286000" algn="l"/>
                <a:tab pos="2743200" algn="l"/>
                <a:tab pos="3200400" algn="l"/>
                <a:tab pos="3657600" algn="l"/>
              </a:tabLst>
              <a:defRPr sz="1400" b="0" i="0" baseline="0">
                <a:solidFill>
                  <a:schemeClr val="bg1"/>
                </a:solidFill>
                <a:latin typeface="Calibri Light" panose="020F0302020204030204" pitchFamily="34" charset="0"/>
                <a:cs typeface="Calibri Light" panose="020F0302020204030204" pitchFamily="34" charset="0"/>
              </a:defRPr>
            </a:lvl1pPr>
          </a:lstStyle>
          <a:p>
            <a:pPr lvl="0"/>
            <a:r>
              <a:rPr lang="en-US"/>
              <a:t>About</a:t>
            </a:r>
          </a:p>
        </p:txBody>
      </p:sp>
      <p:sp>
        <p:nvSpPr>
          <p:cNvPr id="40" name="Text Placeholder 9">
            <a:extLst>
              <a:ext uri="{FF2B5EF4-FFF2-40B4-BE49-F238E27FC236}">
                <a16:creationId xmlns:a16="http://schemas.microsoft.com/office/drawing/2014/main" id="{28093BBE-0F81-5643-9FB7-6FE2CE11F0D2}"/>
              </a:ext>
            </a:extLst>
          </p:cNvPr>
          <p:cNvSpPr>
            <a:spLocks noGrp="1"/>
          </p:cNvSpPr>
          <p:nvPr>
            <p:ph type="body" sz="quarter" idx="10"/>
          </p:nvPr>
        </p:nvSpPr>
        <p:spPr>
          <a:xfrm>
            <a:off x="3562278" y="321521"/>
            <a:ext cx="3826074" cy="5753349"/>
          </a:xfrm>
          <a:prstGeom prst="rect">
            <a:avLst/>
          </a:prstGeom>
        </p:spPr>
        <p:txBody>
          <a:bodyPr vert="horz" lIns="0" tIns="0" rIns="0" bIns="0" rtlCol="0" anchor="t">
            <a:noAutofit/>
          </a:bodyPr>
          <a:lstStyle>
            <a:lvl1pPr>
              <a:defRPr lang="en-GB" b="0" i="0" smtClean="0">
                <a:latin typeface="Calibri Light" panose="020F0302020204030204" pitchFamily="34" charset="0"/>
                <a:cs typeface="Calibri Light" panose="020F0302020204030204" pitchFamily="34" charset="0"/>
              </a:defRPr>
            </a:lvl1pPr>
          </a:lstStyle>
          <a:p>
            <a:pPr lvl="0">
              <a:tabLst>
                <a:tab pos="457200" algn="l"/>
                <a:tab pos="914400" algn="l"/>
                <a:tab pos="1371600" algn="l"/>
                <a:tab pos="1828800" algn="l"/>
                <a:tab pos="2286000" algn="l"/>
                <a:tab pos="2743200" algn="l"/>
                <a:tab pos="3200400" algn="l"/>
                <a:tab pos="3657600" algn="l"/>
              </a:tabLst>
            </a:pPr>
            <a:r>
              <a:rPr lang="en-GB"/>
              <a:t>Click to edit Master text styles</a:t>
            </a:r>
          </a:p>
        </p:txBody>
      </p:sp>
      <p:sp>
        <p:nvSpPr>
          <p:cNvPr id="41" name="Text Placeholder 9">
            <a:extLst>
              <a:ext uri="{FF2B5EF4-FFF2-40B4-BE49-F238E27FC236}">
                <a16:creationId xmlns:a16="http://schemas.microsoft.com/office/drawing/2014/main" id="{13B70270-B1D9-4340-B018-EE07346DA935}"/>
              </a:ext>
            </a:extLst>
          </p:cNvPr>
          <p:cNvSpPr>
            <a:spLocks noGrp="1"/>
          </p:cNvSpPr>
          <p:nvPr>
            <p:ph type="body" sz="quarter" idx="19"/>
          </p:nvPr>
        </p:nvSpPr>
        <p:spPr>
          <a:xfrm>
            <a:off x="8039692" y="321521"/>
            <a:ext cx="3826074" cy="5753349"/>
          </a:xfrm>
          <a:prstGeom prst="rect">
            <a:avLst/>
          </a:prstGeom>
        </p:spPr>
        <p:txBody>
          <a:bodyPr vert="horz" lIns="0" tIns="0" rIns="0" bIns="0" rtlCol="0" anchor="t">
            <a:noAutofit/>
          </a:bodyPr>
          <a:lstStyle>
            <a:lvl1pPr>
              <a:defRPr lang="en-GB" b="0" i="0" smtClean="0">
                <a:latin typeface="Calibri Light" panose="020F0302020204030204" pitchFamily="34" charset="0"/>
                <a:cs typeface="Calibri Light" panose="020F0302020204030204" pitchFamily="34" charset="0"/>
              </a:defRPr>
            </a:lvl1pPr>
          </a:lstStyle>
          <a:p>
            <a:pPr lvl="0">
              <a:tabLst>
                <a:tab pos="457200" algn="l"/>
                <a:tab pos="914400" algn="l"/>
                <a:tab pos="1371600" algn="l"/>
                <a:tab pos="1828800" algn="l"/>
                <a:tab pos="2286000" algn="l"/>
                <a:tab pos="2743200" algn="l"/>
                <a:tab pos="3200400" algn="l"/>
                <a:tab pos="3657600" algn="l"/>
              </a:tabLst>
            </a:pPr>
            <a:r>
              <a:rPr lang="en-GB"/>
              <a:t>Click to edit Master text styles</a:t>
            </a:r>
          </a:p>
        </p:txBody>
      </p:sp>
      <p:grpSp>
        <p:nvGrpSpPr>
          <p:cNvPr id="3" name="Group 2">
            <a:extLst>
              <a:ext uri="{FF2B5EF4-FFF2-40B4-BE49-F238E27FC236}">
                <a16:creationId xmlns:a16="http://schemas.microsoft.com/office/drawing/2014/main" id="{61194BFB-D27B-920D-74B8-57C808E4FA93}"/>
              </a:ext>
            </a:extLst>
          </p:cNvPr>
          <p:cNvGrpSpPr/>
          <p:nvPr userDrawn="1"/>
        </p:nvGrpSpPr>
        <p:grpSpPr>
          <a:xfrm>
            <a:off x="611054" y="6471298"/>
            <a:ext cx="372834" cy="131175"/>
            <a:chOff x="14288" y="2035175"/>
            <a:chExt cx="10039350" cy="3532188"/>
          </a:xfrm>
          <a:solidFill>
            <a:schemeClr val="bg1"/>
          </a:solidFill>
        </p:grpSpPr>
        <p:sp>
          <p:nvSpPr>
            <p:cNvPr id="4" name="Freeform 1">
              <a:extLst>
                <a:ext uri="{FF2B5EF4-FFF2-40B4-BE49-F238E27FC236}">
                  <a16:creationId xmlns:a16="http://schemas.microsoft.com/office/drawing/2014/main" id="{AC5C86C1-C392-36A2-6546-4A09981EA1D9}"/>
                </a:ext>
              </a:extLst>
            </p:cNvPr>
            <p:cNvSpPr>
              <a:spLocks noChangeArrowheads="1"/>
            </p:cNvSpPr>
            <p:nvPr/>
          </p:nvSpPr>
          <p:spPr bwMode="auto">
            <a:xfrm>
              <a:off x="1519238" y="2035175"/>
              <a:ext cx="1336675" cy="2836863"/>
            </a:xfrm>
            <a:custGeom>
              <a:avLst/>
              <a:gdLst>
                <a:gd name="T0" fmla="*/ 390493 w 3714"/>
                <a:gd name="T1" fmla="*/ 1200682 h 7882"/>
                <a:gd name="T2" fmla="*/ 945462 w 3714"/>
                <a:gd name="T3" fmla="*/ 1200682 h 7882"/>
                <a:gd name="T4" fmla="*/ 945462 w 3714"/>
                <a:gd name="T5" fmla="*/ 611498 h 7882"/>
                <a:gd name="T6" fmla="*/ 698929 w 3714"/>
                <a:gd name="T7" fmla="*/ 364596 h 7882"/>
                <a:gd name="T8" fmla="*/ 637386 w 3714"/>
                <a:gd name="T9" fmla="*/ 364596 h 7882"/>
                <a:gd name="T10" fmla="*/ 390493 w 3714"/>
                <a:gd name="T11" fmla="*/ 611498 h 7882"/>
                <a:gd name="T12" fmla="*/ 390493 w 3714"/>
                <a:gd name="T13" fmla="*/ 1200682 h 7882"/>
                <a:gd name="T14" fmla="*/ 389414 w 3714"/>
                <a:gd name="T15" fmla="*/ 1576795 h 7882"/>
                <a:gd name="T16" fmla="*/ 390493 w 3714"/>
                <a:gd name="T17" fmla="*/ 2224645 h 7882"/>
                <a:gd name="T18" fmla="*/ 637386 w 3714"/>
                <a:gd name="T19" fmla="*/ 2471548 h 7882"/>
                <a:gd name="T20" fmla="*/ 709366 w 3714"/>
                <a:gd name="T21" fmla="*/ 2471548 h 7882"/>
                <a:gd name="T22" fmla="*/ 955899 w 3714"/>
                <a:gd name="T23" fmla="*/ 2224645 h 7882"/>
                <a:gd name="T24" fmla="*/ 955899 w 3714"/>
                <a:gd name="T25" fmla="*/ 1906119 h 7882"/>
                <a:gd name="T26" fmla="*/ 1336315 w 3714"/>
                <a:gd name="T27" fmla="*/ 1906119 h 7882"/>
                <a:gd name="T28" fmla="*/ 1336315 w 3714"/>
                <a:gd name="T29" fmla="*/ 2209528 h 7882"/>
                <a:gd name="T30" fmla="*/ 709366 w 3714"/>
                <a:gd name="T31" fmla="*/ 2836503 h 7882"/>
                <a:gd name="T32" fmla="*/ 626949 w 3714"/>
                <a:gd name="T33" fmla="*/ 2836503 h 7882"/>
                <a:gd name="T34" fmla="*/ 0 w 3714"/>
                <a:gd name="T35" fmla="*/ 2258117 h 7882"/>
                <a:gd name="T36" fmla="*/ 0 w 3714"/>
                <a:gd name="T37" fmla="*/ 675564 h 7882"/>
                <a:gd name="T38" fmla="*/ 626949 w 3714"/>
                <a:gd name="T39" fmla="*/ 0 h 7882"/>
                <a:gd name="T40" fmla="*/ 709366 w 3714"/>
                <a:gd name="T41" fmla="*/ 0 h 7882"/>
                <a:gd name="T42" fmla="*/ 1336315 w 3714"/>
                <a:gd name="T43" fmla="*/ 626975 h 7882"/>
                <a:gd name="T44" fmla="*/ 1334875 w 3714"/>
                <a:gd name="T45" fmla="*/ 1576795 h 7882"/>
                <a:gd name="T46" fmla="*/ 389414 w 3714"/>
                <a:gd name="T47" fmla="*/ 1576795 h 7882"/>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3714" h="7882">
                  <a:moveTo>
                    <a:pt x="1085" y="3336"/>
                  </a:moveTo>
                  <a:lnTo>
                    <a:pt x="2627" y="3336"/>
                  </a:lnTo>
                  <a:lnTo>
                    <a:pt x="2627" y="1699"/>
                  </a:lnTo>
                  <a:cubicBezTo>
                    <a:pt x="2627" y="1242"/>
                    <a:pt x="2399" y="1013"/>
                    <a:pt x="1942" y="1013"/>
                  </a:cubicBezTo>
                  <a:lnTo>
                    <a:pt x="1771" y="1013"/>
                  </a:lnTo>
                  <a:cubicBezTo>
                    <a:pt x="1314" y="1013"/>
                    <a:pt x="1085" y="1242"/>
                    <a:pt x="1085" y="1699"/>
                  </a:cubicBezTo>
                  <a:lnTo>
                    <a:pt x="1085" y="3336"/>
                  </a:lnTo>
                  <a:close/>
                  <a:moveTo>
                    <a:pt x="1082" y="4381"/>
                  </a:moveTo>
                  <a:lnTo>
                    <a:pt x="1085" y="6181"/>
                  </a:lnTo>
                  <a:cubicBezTo>
                    <a:pt x="1085" y="6638"/>
                    <a:pt x="1314" y="6867"/>
                    <a:pt x="1771" y="6867"/>
                  </a:cubicBezTo>
                  <a:lnTo>
                    <a:pt x="1971" y="6867"/>
                  </a:lnTo>
                  <a:cubicBezTo>
                    <a:pt x="2428" y="6867"/>
                    <a:pt x="2656" y="6638"/>
                    <a:pt x="2656" y="6181"/>
                  </a:cubicBezTo>
                  <a:lnTo>
                    <a:pt x="2656" y="5296"/>
                  </a:lnTo>
                  <a:lnTo>
                    <a:pt x="3713" y="5296"/>
                  </a:lnTo>
                  <a:lnTo>
                    <a:pt x="3713" y="6139"/>
                  </a:lnTo>
                  <a:cubicBezTo>
                    <a:pt x="3713" y="7295"/>
                    <a:pt x="3127" y="7881"/>
                    <a:pt x="1971" y="7881"/>
                  </a:cubicBezTo>
                  <a:lnTo>
                    <a:pt x="1742" y="7881"/>
                  </a:lnTo>
                  <a:cubicBezTo>
                    <a:pt x="585" y="7881"/>
                    <a:pt x="0" y="7295"/>
                    <a:pt x="0" y="6274"/>
                  </a:cubicBezTo>
                  <a:lnTo>
                    <a:pt x="0" y="1877"/>
                  </a:lnTo>
                  <a:cubicBezTo>
                    <a:pt x="0" y="585"/>
                    <a:pt x="585" y="0"/>
                    <a:pt x="1742" y="0"/>
                  </a:cubicBezTo>
                  <a:lnTo>
                    <a:pt x="1971" y="0"/>
                  </a:lnTo>
                  <a:cubicBezTo>
                    <a:pt x="3127" y="0"/>
                    <a:pt x="3713" y="585"/>
                    <a:pt x="3713" y="1742"/>
                  </a:cubicBezTo>
                  <a:lnTo>
                    <a:pt x="3709" y="4381"/>
                  </a:lnTo>
                  <a:lnTo>
                    <a:pt x="1082" y="4381"/>
                  </a:lnTo>
                  <a:close/>
                </a:path>
              </a:pathLst>
            </a:custGeom>
            <a:grpFill/>
            <a:ln w="9525" cap="flat">
              <a:noFill/>
              <a:bevel/>
              <a:headEnd/>
              <a:tailEnd/>
            </a:ln>
            <a:effectLst/>
            <a:extLs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endParaRPr lang="en-US"/>
            </a:p>
          </p:txBody>
        </p:sp>
        <p:sp>
          <p:nvSpPr>
            <p:cNvPr id="5" name="Freeform 2">
              <a:extLst>
                <a:ext uri="{FF2B5EF4-FFF2-40B4-BE49-F238E27FC236}">
                  <a16:creationId xmlns:a16="http://schemas.microsoft.com/office/drawing/2014/main" id="{343CBC0E-2DBE-62B0-9B1C-4D8BBADC2D66}"/>
                </a:ext>
              </a:extLst>
            </p:cNvPr>
            <p:cNvSpPr>
              <a:spLocks noChangeArrowheads="1"/>
            </p:cNvSpPr>
            <p:nvPr/>
          </p:nvSpPr>
          <p:spPr bwMode="auto">
            <a:xfrm>
              <a:off x="3109913" y="2035175"/>
              <a:ext cx="1368425" cy="3532188"/>
            </a:xfrm>
            <a:custGeom>
              <a:avLst/>
              <a:gdLst>
                <a:gd name="T0" fmla="*/ 390721 w 3800"/>
                <a:gd name="T1" fmla="*/ 2322993 h 9812"/>
                <a:gd name="T2" fmla="*/ 750833 w 3800"/>
                <a:gd name="T3" fmla="*/ 2466628 h 9812"/>
                <a:gd name="T4" fmla="*/ 976983 w 3800"/>
                <a:gd name="T5" fmla="*/ 2240556 h 9812"/>
                <a:gd name="T6" fmla="*/ 976983 w 3800"/>
                <a:gd name="T7" fmla="*/ 596138 h 9812"/>
                <a:gd name="T8" fmla="*/ 750833 w 3800"/>
                <a:gd name="T9" fmla="*/ 370066 h 9812"/>
                <a:gd name="T10" fmla="*/ 390721 w 3800"/>
                <a:gd name="T11" fmla="*/ 514061 h 9812"/>
                <a:gd name="T12" fmla="*/ 390721 w 3800"/>
                <a:gd name="T13" fmla="*/ 2322993 h 9812"/>
                <a:gd name="T14" fmla="*/ 0 w 3800"/>
                <a:gd name="T15" fmla="*/ 30599 h 9812"/>
                <a:gd name="T16" fmla="*/ 390721 w 3800"/>
                <a:gd name="T17" fmla="*/ 30599 h 9812"/>
                <a:gd name="T18" fmla="*/ 390721 w 3800"/>
                <a:gd name="T19" fmla="*/ 210592 h 9812"/>
                <a:gd name="T20" fmla="*/ 868950 w 3800"/>
                <a:gd name="T21" fmla="*/ 0 h 9812"/>
                <a:gd name="T22" fmla="*/ 1368065 w 3800"/>
                <a:gd name="T23" fmla="*/ 549699 h 9812"/>
                <a:gd name="T24" fmla="*/ 1368065 w 3800"/>
                <a:gd name="T25" fmla="*/ 2286995 h 9812"/>
                <a:gd name="T26" fmla="*/ 868950 w 3800"/>
                <a:gd name="T27" fmla="*/ 2837054 h 9812"/>
                <a:gd name="T28" fmla="*/ 390721 w 3800"/>
                <a:gd name="T29" fmla="*/ 2636541 h 9812"/>
                <a:gd name="T30" fmla="*/ 390721 w 3800"/>
                <a:gd name="T31" fmla="*/ 3531828 h 9812"/>
                <a:gd name="T32" fmla="*/ 0 w 3800"/>
                <a:gd name="T33" fmla="*/ 3531828 h 9812"/>
                <a:gd name="T34" fmla="*/ 0 w 3800"/>
                <a:gd name="T35" fmla="*/ 30599 h 9812"/>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3800" h="9812">
                  <a:moveTo>
                    <a:pt x="1085" y="6453"/>
                  </a:moveTo>
                  <a:cubicBezTo>
                    <a:pt x="1385" y="6710"/>
                    <a:pt x="1728" y="6852"/>
                    <a:pt x="2085" y="6852"/>
                  </a:cubicBezTo>
                  <a:cubicBezTo>
                    <a:pt x="2485" y="6852"/>
                    <a:pt x="2713" y="6667"/>
                    <a:pt x="2713" y="6224"/>
                  </a:cubicBezTo>
                  <a:lnTo>
                    <a:pt x="2713" y="1656"/>
                  </a:lnTo>
                  <a:cubicBezTo>
                    <a:pt x="2713" y="1213"/>
                    <a:pt x="2485" y="1028"/>
                    <a:pt x="2085" y="1028"/>
                  </a:cubicBezTo>
                  <a:cubicBezTo>
                    <a:pt x="1728" y="1028"/>
                    <a:pt x="1385" y="1170"/>
                    <a:pt x="1085" y="1428"/>
                  </a:cubicBezTo>
                  <a:lnTo>
                    <a:pt x="1085" y="6453"/>
                  </a:lnTo>
                  <a:close/>
                  <a:moveTo>
                    <a:pt x="0" y="85"/>
                  </a:moveTo>
                  <a:lnTo>
                    <a:pt x="1085" y="85"/>
                  </a:lnTo>
                  <a:lnTo>
                    <a:pt x="1085" y="585"/>
                  </a:lnTo>
                  <a:cubicBezTo>
                    <a:pt x="1342" y="314"/>
                    <a:pt x="1785" y="0"/>
                    <a:pt x="2413" y="0"/>
                  </a:cubicBezTo>
                  <a:cubicBezTo>
                    <a:pt x="3342" y="0"/>
                    <a:pt x="3799" y="614"/>
                    <a:pt x="3799" y="1527"/>
                  </a:cubicBezTo>
                  <a:lnTo>
                    <a:pt x="3799" y="6353"/>
                  </a:lnTo>
                  <a:cubicBezTo>
                    <a:pt x="3799" y="7267"/>
                    <a:pt x="3342" y="7881"/>
                    <a:pt x="2413" y="7881"/>
                  </a:cubicBezTo>
                  <a:cubicBezTo>
                    <a:pt x="1785" y="7881"/>
                    <a:pt x="1342" y="7581"/>
                    <a:pt x="1085" y="7324"/>
                  </a:cubicBezTo>
                  <a:lnTo>
                    <a:pt x="1085" y="9811"/>
                  </a:lnTo>
                  <a:lnTo>
                    <a:pt x="0" y="9811"/>
                  </a:lnTo>
                  <a:lnTo>
                    <a:pt x="0" y="85"/>
                  </a:lnTo>
                  <a:close/>
                </a:path>
              </a:pathLst>
            </a:custGeom>
            <a:grpFill/>
            <a:ln w="9525" cap="flat">
              <a:noFill/>
              <a:bevel/>
              <a:headEnd/>
              <a:tailEnd/>
            </a:ln>
            <a:effectLst/>
            <a:extLs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endParaRPr lang="en-US"/>
            </a:p>
          </p:txBody>
        </p:sp>
        <p:sp>
          <p:nvSpPr>
            <p:cNvPr id="6" name="Freeform 3">
              <a:extLst>
                <a:ext uri="{FF2B5EF4-FFF2-40B4-BE49-F238E27FC236}">
                  <a16:creationId xmlns:a16="http://schemas.microsoft.com/office/drawing/2014/main" id="{FB80F17E-95EC-7B10-BC00-6178F4F6A332}"/>
                </a:ext>
              </a:extLst>
            </p:cNvPr>
            <p:cNvSpPr>
              <a:spLocks noChangeArrowheads="1"/>
            </p:cNvSpPr>
            <p:nvPr/>
          </p:nvSpPr>
          <p:spPr bwMode="auto">
            <a:xfrm>
              <a:off x="4711700" y="2035175"/>
              <a:ext cx="1328738" cy="2836863"/>
            </a:xfrm>
            <a:custGeom>
              <a:avLst/>
              <a:gdLst>
                <a:gd name="T0" fmla="*/ 937679 w 3690"/>
                <a:gd name="T1" fmla="*/ 2338019 h 7882"/>
                <a:gd name="T2" fmla="*/ 937679 w 3690"/>
                <a:gd name="T3" fmla="*/ 1422750 h 7882"/>
                <a:gd name="T4" fmla="*/ 582988 w 3690"/>
                <a:gd name="T5" fmla="*/ 1556999 h 7882"/>
                <a:gd name="T6" fmla="*/ 392500 w 3690"/>
                <a:gd name="T7" fmla="*/ 1844573 h 7882"/>
                <a:gd name="T8" fmla="*/ 392500 w 3690"/>
                <a:gd name="T9" fmla="*/ 2266035 h 7882"/>
                <a:gd name="T10" fmla="*/ 582988 w 3690"/>
                <a:gd name="T11" fmla="*/ 2466149 h 7882"/>
                <a:gd name="T12" fmla="*/ 937679 w 3690"/>
                <a:gd name="T13" fmla="*/ 2338019 h 7882"/>
                <a:gd name="T14" fmla="*/ 2161 w 3690"/>
                <a:gd name="T15" fmla="*/ 1839174 h 7882"/>
                <a:gd name="T16" fmla="*/ 413025 w 3690"/>
                <a:gd name="T17" fmla="*/ 1253950 h 7882"/>
                <a:gd name="T18" fmla="*/ 937679 w 3690"/>
                <a:gd name="T19" fmla="*/ 1073991 h 7882"/>
                <a:gd name="T20" fmla="*/ 937679 w 3690"/>
                <a:gd name="T21" fmla="*/ 611498 h 7882"/>
                <a:gd name="T22" fmla="*/ 690656 w 3690"/>
                <a:gd name="T23" fmla="*/ 359557 h 7882"/>
                <a:gd name="T24" fmla="*/ 627280 w 3690"/>
                <a:gd name="T25" fmla="*/ 359557 h 7882"/>
                <a:gd name="T26" fmla="*/ 380257 w 3690"/>
                <a:gd name="T27" fmla="*/ 611498 h 7882"/>
                <a:gd name="T28" fmla="*/ 380257 w 3690"/>
                <a:gd name="T29" fmla="*/ 1004527 h 7882"/>
                <a:gd name="T30" fmla="*/ 0 w 3690"/>
                <a:gd name="T31" fmla="*/ 1004527 h 7882"/>
                <a:gd name="T32" fmla="*/ 0 w 3690"/>
                <a:gd name="T33" fmla="*/ 626975 h 7882"/>
                <a:gd name="T34" fmla="*/ 627280 w 3690"/>
                <a:gd name="T35" fmla="*/ 0 h 7882"/>
                <a:gd name="T36" fmla="*/ 701098 w 3690"/>
                <a:gd name="T37" fmla="*/ 0 h 7882"/>
                <a:gd name="T38" fmla="*/ 1328378 w 3690"/>
                <a:gd name="T39" fmla="*/ 626975 h 7882"/>
                <a:gd name="T40" fmla="*/ 1328378 w 3690"/>
                <a:gd name="T41" fmla="*/ 2805550 h 7882"/>
                <a:gd name="T42" fmla="*/ 937679 w 3690"/>
                <a:gd name="T43" fmla="*/ 2805550 h 7882"/>
                <a:gd name="T44" fmla="*/ 937679 w 3690"/>
                <a:gd name="T45" fmla="*/ 2630631 h 7882"/>
                <a:gd name="T46" fmla="*/ 459477 w 3690"/>
                <a:gd name="T47" fmla="*/ 2836503 h 7882"/>
                <a:gd name="T48" fmla="*/ 2161 w 3690"/>
                <a:gd name="T49" fmla="*/ 2348096 h 7882"/>
                <a:gd name="T50" fmla="*/ 2161 w 3690"/>
                <a:gd name="T51" fmla="*/ 1839174 h 7882"/>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3690" h="7882">
                  <a:moveTo>
                    <a:pt x="2604" y="6496"/>
                  </a:moveTo>
                  <a:lnTo>
                    <a:pt x="2604" y="3953"/>
                  </a:lnTo>
                  <a:lnTo>
                    <a:pt x="1619" y="4326"/>
                  </a:lnTo>
                  <a:cubicBezTo>
                    <a:pt x="1219" y="4483"/>
                    <a:pt x="1090" y="4683"/>
                    <a:pt x="1090" y="5125"/>
                  </a:cubicBezTo>
                  <a:lnTo>
                    <a:pt x="1090" y="6296"/>
                  </a:lnTo>
                  <a:cubicBezTo>
                    <a:pt x="1090" y="6667"/>
                    <a:pt x="1276" y="6852"/>
                    <a:pt x="1619" y="6852"/>
                  </a:cubicBezTo>
                  <a:cubicBezTo>
                    <a:pt x="1947" y="6852"/>
                    <a:pt x="2247" y="6738"/>
                    <a:pt x="2604" y="6496"/>
                  </a:cubicBezTo>
                  <a:close/>
                  <a:moveTo>
                    <a:pt x="6" y="5110"/>
                  </a:moveTo>
                  <a:cubicBezTo>
                    <a:pt x="6" y="4155"/>
                    <a:pt x="320" y="3769"/>
                    <a:pt x="1147" y="3484"/>
                  </a:cubicBezTo>
                  <a:lnTo>
                    <a:pt x="2604" y="2984"/>
                  </a:lnTo>
                  <a:lnTo>
                    <a:pt x="2604" y="1699"/>
                  </a:lnTo>
                  <a:cubicBezTo>
                    <a:pt x="2604" y="1242"/>
                    <a:pt x="2375" y="999"/>
                    <a:pt x="1918" y="999"/>
                  </a:cubicBezTo>
                  <a:lnTo>
                    <a:pt x="1742" y="999"/>
                  </a:lnTo>
                  <a:cubicBezTo>
                    <a:pt x="1285" y="999"/>
                    <a:pt x="1056" y="1242"/>
                    <a:pt x="1056" y="1699"/>
                  </a:cubicBezTo>
                  <a:lnTo>
                    <a:pt x="1056" y="2791"/>
                  </a:lnTo>
                  <a:lnTo>
                    <a:pt x="0" y="2791"/>
                  </a:lnTo>
                  <a:lnTo>
                    <a:pt x="0" y="1742"/>
                  </a:lnTo>
                  <a:cubicBezTo>
                    <a:pt x="0" y="585"/>
                    <a:pt x="586" y="0"/>
                    <a:pt x="1742" y="0"/>
                  </a:cubicBezTo>
                  <a:lnTo>
                    <a:pt x="1947" y="0"/>
                  </a:lnTo>
                  <a:cubicBezTo>
                    <a:pt x="3104" y="0"/>
                    <a:pt x="3689" y="585"/>
                    <a:pt x="3689" y="1742"/>
                  </a:cubicBezTo>
                  <a:lnTo>
                    <a:pt x="3689" y="7795"/>
                  </a:lnTo>
                  <a:lnTo>
                    <a:pt x="2604" y="7795"/>
                  </a:lnTo>
                  <a:lnTo>
                    <a:pt x="2604" y="7309"/>
                  </a:lnTo>
                  <a:cubicBezTo>
                    <a:pt x="2304" y="7595"/>
                    <a:pt x="1904" y="7881"/>
                    <a:pt x="1276" y="7881"/>
                  </a:cubicBezTo>
                  <a:cubicBezTo>
                    <a:pt x="406" y="7881"/>
                    <a:pt x="6" y="7381"/>
                    <a:pt x="6" y="6524"/>
                  </a:cubicBezTo>
                  <a:lnTo>
                    <a:pt x="6" y="5110"/>
                  </a:lnTo>
                  <a:close/>
                </a:path>
              </a:pathLst>
            </a:custGeom>
            <a:grpFill/>
            <a:ln w="9525" cap="flat">
              <a:noFill/>
              <a:bevel/>
              <a:headEnd/>
              <a:tailEnd/>
            </a:ln>
            <a:effectLst/>
            <a:extLs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endParaRPr lang="en-US"/>
            </a:p>
          </p:txBody>
        </p:sp>
        <p:sp>
          <p:nvSpPr>
            <p:cNvPr id="7" name="Freeform 4">
              <a:extLst>
                <a:ext uri="{FF2B5EF4-FFF2-40B4-BE49-F238E27FC236}">
                  <a16:creationId xmlns:a16="http://schemas.microsoft.com/office/drawing/2014/main" id="{CF6797D6-A716-17CF-82BC-4315C9AE4381}"/>
                </a:ext>
              </a:extLst>
            </p:cNvPr>
            <p:cNvSpPr>
              <a:spLocks noChangeArrowheads="1"/>
            </p:cNvSpPr>
            <p:nvPr/>
          </p:nvSpPr>
          <p:spPr bwMode="auto">
            <a:xfrm>
              <a:off x="6292850" y="2035175"/>
              <a:ext cx="2262188" cy="2806700"/>
            </a:xfrm>
            <a:custGeom>
              <a:avLst/>
              <a:gdLst>
                <a:gd name="T0" fmla="*/ 1326358 w 6285"/>
                <a:gd name="T1" fmla="*/ 2806340 h 7796"/>
                <a:gd name="T2" fmla="*/ 935470 w 6285"/>
                <a:gd name="T3" fmla="*/ 2806340 h 7796"/>
                <a:gd name="T4" fmla="*/ 935470 w 6285"/>
                <a:gd name="T5" fmla="*/ 570628 h 7796"/>
                <a:gd name="T6" fmla="*/ 750463 w 6285"/>
                <a:gd name="T7" fmla="*/ 370098 h 7796"/>
                <a:gd name="T8" fmla="*/ 390889 w 6285"/>
                <a:gd name="T9" fmla="*/ 508705 h 7796"/>
                <a:gd name="T10" fmla="*/ 390889 w 6285"/>
                <a:gd name="T11" fmla="*/ 2806340 h 7796"/>
                <a:gd name="T12" fmla="*/ 0 w 6285"/>
                <a:gd name="T13" fmla="*/ 2806340 h 7796"/>
                <a:gd name="T14" fmla="*/ 0 w 6285"/>
                <a:gd name="T15" fmla="*/ 30602 h 7796"/>
                <a:gd name="T16" fmla="*/ 390889 w 6285"/>
                <a:gd name="T17" fmla="*/ 30602 h 7796"/>
                <a:gd name="T18" fmla="*/ 390889 w 6285"/>
                <a:gd name="T19" fmla="*/ 210611 h 7796"/>
                <a:gd name="T20" fmla="*/ 868882 w 6285"/>
                <a:gd name="T21" fmla="*/ 0 h 7796"/>
                <a:gd name="T22" fmla="*/ 1274888 w 6285"/>
                <a:gd name="T23" fmla="*/ 226091 h 7796"/>
                <a:gd name="T24" fmla="*/ 1804351 w 6285"/>
                <a:gd name="T25" fmla="*/ 0 h 7796"/>
                <a:gd name="T26" fmla="*/ 2261828 w 6285"/>
                <a:gd name="T27" fmla="*/ 488184 h 7796"/>
                <a:gd name="T28" fmla="*/ 2261828 w 6285"/>
                <a:gd name="T29" fmla="*/ 2806340 h 7796"/>
                <a:gd name="T30" fmla="*/ 1870939 w 6285"/>
                <a:gd name="T31" fmla="*/ 2806340 h 7796"/>
                <a:gd name="T32" fmla="*/ 1870939 w 6285"/>
                <a:gd name="T33" fmla="*/ 570628 h 7796"/>
                <a:gd name="T34" fmla="*/ 1685933 w 6285"/>
                <a:gd name="T35" fmla="*/ 370098 h 7796"/>
                <a:gd name="T36" fmla="*/ 1326358 w 6285"/>
                <a:gd name="T37" fmla="*/ 508705 h 7796"/>
                <a:gd name="T38" fmla="*/ 1326358 w 6285"/>
                <a:gd name="T39" fmla="*/ 2806340 h 779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6285" h="7796">
                  <a:moveTo>
                    <a:pt x="3685" y="7795"/>
                  </a:moveTo>
                  <a:lnTo>
                    <a:pt x="2599" y="7795"/>
                  </a:lnTo>
                  <a:lnTo>
                    <a:pt x="2599" y="1585"/>
                  </a:lnTo>
                  <a:cubicBezTo>
                    <a:pt x="2599" y="1199"/>
                    <a:pt x="2414" y="1028"/>
                    <a:pt x="2085" y="1028"/>
                  </a:cubicBezTo>
                  <a:cubicBezTo>
                    <a:pt x="1785" y="1028"/>
                    <a:pt x="1471" y="1142"/>
                    <a:pt x="1086" y="1413"/>
                  </a:cubicBezTo>
                  <a:lnTo>
                    <a:pt x="1086" y="7795"/>
                  </a:lnTo>
                  <a:lnTo>
                    <a:pt x="0" y="7795"/>
                  </a:lnTo>
                  <a:lnTo>
                    <a:pt x="0" y="85"/>
                  </a:lnTo>
                  <a:lnTo>
                    <a:pt x="1086" y="85"/>
                  </a:lnTo>
                  <a:lnTo>
                    <a:pt x="1086" y="585"/>
                  </a:lnTo>
                  <a:cubicBezTo>
                    <a:pt x="1400" y="285"/>
                    <a:pt x="1814" y="0"/>
                    <a:pt x="2414" y="0"/>
                  </a:cubicBezTo>
                  <a:cubicBezTo>
                    <a:pt x="2971" y="0"/>
                    <a:pt x="3342" y="228"/>
                    <a:pt x="3542" y="628"/>
                  </a:cubicBezTo>
                  <a:cubicBezTo>
                    <a:pt x="3928" y="299"/>
                    <a:pt x="4385" y="0"/>
                    <a:pt x="5013" y="0"/>
                  </a:cubicBezTo>
                  <a:cubicBezTo>
                    <a:pt x="5855" y="0"/>
                    <a:pt x="6284" y="514"/>
                    <a:pt x="6284" y="1356"/>
                  </a:cubicBezTo>
                  <a:lnTo>
                    <a:pt x="6284" y="7795"/>
                  </a:lnTo>
                  <a:lnTo>
                    <a:pt x="5198" y="7795"/>
                  </a:lnTo>
                  <a:lnTo>
                    <a:pt x="5198" y="1585"/>
                  </a:lnTo>
                  <a:cubicBezTo>
                    <a:pt x="5198" y="1199"/>
                    <a:pt x="5013" y="1028"/>
                    <a:pt x="4684" y="1028"/>
                  </a:cubicBezTo>
                  <a:cubicBezTo>
                    <a:pt x="4385" y="1028"/>
                    <a:pt x="4070" y="1142"/>
                    <a:pt x="3685" y="1413"/>
                  </a:cubicBezTo>
                  <a:lnTo>
                    <a:pt x="3685" y="7795"/>
                  </a:lnTo>
                </a:path>
              </a:pathLst>
            </a:custGeom>
            <a:grpFill/>
            <a:ln w="9525" cap="flat">
              <a:noFill/>
              <a:bevel/>
              <a:headEnd/>
              <a:tailEnd/>
            </a:ln>
            <a:effectLst/>
            <a:extLs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endParaRPr lang="en-US"/>
            </a:p>
          </p:txBody>
        </p:sp>
        <p:sp>
          <p:nvSpPr>
            <p:cNvPr id="8" name="Freeform 5">
              <a:extLst>
                <a:ext uri="{FF2B5EF4-FFF2-40B4-BE49-F238E27FC236}">
                  <a16:creationId xmlns:a16="http://schemas.microsoft.com/office/drawing/2014/main" id="{7D08D7A3-64E8-352C-169B-B9A70DAB31AC}"/>
                </a:ext>
              </a:extLst>
            </p:cNvPr>
            <p:cNvSpPr>
              <a:spLocks noChangeArrowheads="1"/>
            </p:cNvSpPr>
            <p:nvPr/>
          </p:nvSpPr>
          <p:spPr bwMode="auto">
            <a:xfrm>
              <a:off x="14288" y="2322513"/>
              <a:ext cx="1004887" cy="2274887"/>
            </a:xfrm>
            <a:custGeom>
              <a:avLst/>
              <a:gdLst>
                <a:gd name="T0" fmla="*/ 1004527 w 2790"/>
                <a:gd name="T1" fmla="*/ 0 h 6317"/>
                <a:gd name="T2" fmla="*/ 1004527 w 2790"/>
                <a:gd name="T3" fmla="*/ 510652 h 6317"/>
                <a:gd name="T4" fmla="*/ 346488 w 2790"/>
                <a:gd name="T5" fmla="*/ 1137624 h 6317"/>
                <a:gd name="T6" fmla="*/ 1004527 w 2790"/>
                <a:gd name="T7" fmla="*/ 1752711 h 6317"/>
                <a:gd name="T8" fmla="*/ 1004527 w 2790"/>
                <a:gd name="T9" fmla="*/ 2274527 h 6317"/>
                <a:gd name="T10" fmla="*/ 0 w 2790"/>
                <a:gd name="T11" fmla="*/ 1331009 h 6317"/>
                <a:gd name="T12" fmla="*/ 0 w 2790"/>
                <a:gd name="T13" fmla="*/ 955042 h 6317"/>
                <a:gd name="T14" fmla="*/ 1004527 w 2790"/>
                <a:gd name="T15" fmla="*/ 0 h 6317"/>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2790" h="6317">
                  <a:moveTo>
                    <a:pt x="2789" y="0"/>
                  </a:moveTo>
                  <a:lnTo>
                    <a:pt x="2789" y="1418"/>
                  </a:lnTo>
                  <a:lnTo>
                    <a:pt x="962" y="3159"/>
                  </a:lnTo>
                  <a:lnTo>
                    <a:pt x="2789" y="4867"/>
                  </a:lnTo>
                  <a:lnTo>
                    <a:pt x="2789" y="6316"/>
                  </a:lnTo>
                  <a:lnTo>
                    <a:pt x="0" y="3696"/>
                  </a:lnTo>
                  <a:lnTo>
                    <a:pt x="0" y="2652"/>
                  </a:lnTo>
                  <a:lnTo>
                    <a:pt x="2789" y="0"/>
                  </a:lnTo>
                </a:path>
              </a:pathLst>
            </a:custGeom>
            <a:grpFill/>
            <a:ln w="9525" cap="flat">
              <a:noFill/>
              <a:bevel/>
              <a:headEnd/>
              <a:tailEnd/>
            </a:ln>
            <a:effectLst/>
            <a:extLs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endParaRPr lang="en-US"/>
            </a:p>
          </p:txBody>
        </p:sp>
        <p:sp>
          <p:nvSpPr>
            <p:cNvPr id="9" name="Freeform 6">
              <a:extLst>
                <a:ext uri="{FF2B5EF4-FFF2-40B4-BE49-F238E27FC236}">
                  <a16:creationId xmlns:a16="http://schemas.microsoft.com/office/drawing/2014/main" id="{5B36EF8D-4ED4-82C1-CD1B-4D894391B03B}"/>
                </a:ext>
              </a:extLst>
            </p:cNvPr>
            <p:cNvSpPr>
              <a:spLocks noChangeArrowheads="1"/>
            </p:cNvSpPr>
            <p:nvPr/>
          </p:nvSpPr>
          <p:spPr bwMode="auto">
            <a:xfrm>
              <a:off x="9050338" y="2322513"/>
              <a:ext cx="1003300" cy="2274887"/>
            </a:xfrm>
            <a:custGeom>
              <a:avLst/>
              <a:gdLst>
                <a:gd name="T0" fmla="*/ 1002940 w 2789"/>
                <a:gd name="T1" fmla="*/ 955042 h 6317"/>
                <a:gd name="T2" fmla="*/ 1002940 w 2789"/>
                <a:gd name="T3" fmla="*/ 1331009 h 6317"/>
                <a:gd name="T4" fmla="*/ 0 w 2789"/>
                <a:gd name="T5" fmla="*/ 2274527 h 6317"/>
                <a:gd name="T6" fmla="*/ 0 w 2789"/>
                <a:gd name="T7" fmla="*/ 1752711 h 6317"/>
                <a:gd name="T8" fmla="*/ 656876 w 2789"/>
                <a:gd name="T9" fmla="*/ 1137624 h 6317"/>
                <a:gd name="T10" fmla="*/ 0 w 2789"/>
                <a:gd name="T11" fmla="*/ 510652 h 6317"/>
                <a:gd name="T12" fmla="*/ 0 w 2789"/>
                <a:gd name="T13" fmla="*/ 0 h 6317"/>
                <a:gd name="T14" fmla="*/ 1002940 w 2789"/>
                <a:gd name="T15" fmla="*/ 955042 h 6317"/>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2789" h="6317">
                  <a:moveTo>
                    <a:pt x="2788" y="2652"/>
                  </a:moveTo>
                  <a:lnTo>
                    <a:pt x="2788" y="3696"/>
                  </a:lnTo>
                  <a:lnTo>
                    <a:pt x="0" y="6316"/>
                  </a:lnTo>
                  <a:lnTo>
                    <a:pt x="0" y="4867"/>
                  </a:lnTo>
                  <a:lnTo>
                    <a:pt x="1826" y="3159"/>
                  </a:lnTo>
                  <a:lnTo>
                    <a:pt x="0" y="1418"/>
                  </a:lnTo>
                  <a:lnTo>
                    <a:pt x="0" y="0"/>
                  </a:lnTo>
                  <a:lnTo>
                    <a:pt x="2788" y="2652"/>
                  </a:lnTo>
                </a:path>
              </a:pathLst>
            </a:custGeom>
            <a:grpFill/>
            <a:ln w="9525" cap="flat">
              <a:noFill/>
              <a:bevel/>
              <a:headEnd/>
              <a:tailEnd/>
            </a:ln>
            <a:effectLst/>
            <a:extLs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endParaRPr lang="en-US"/>
            </a:p>
          </p:txBody>
        </p:sp>
      </p:grpSp>
      <p:sp>
        <p:nvSpPr>
          <p:cNvPr id="10" name="Footer Placeholder 14">
            <a:extLst>
              <a:ext uri="{FF2B5EF4-FFF2-40B4-BE49-F238E27FC236}">
                <a16:creationId xmlns:a16="http://schemas.microsoft.com/office/drawing/2014/main" id="{5279BD19-CFA9-AB26-7A53-838847998BC3}"/>
              </a:ext>
            </a:extLst>
          </p:cNvPr>
          <p:cNvSpPr txBox="1">
            <a:spLocks/>
          </p:cNvSpPr>
          <p:nvPr userDrawn="1"/>
        </p:nvSpPr>
        <p:spPr>
          <a:xfrm>
            <a:off x="1205299" y="6410231"/>
            <a:ext cx="2157779" cy="228599"/>
          </a:xfrm>
          <a:prstGeom prst="rect">
            <a:avLst/>
          </a:prstGeom>
        </p:spPr>
        <p:txBody>
          <a:bodyPr vert="horz" lIns="0" tIns="0" rIns="0" bIns="0" rtlCol="0" anchor="ctr"/>
          <a:lstStyle>
            <a:defPPr>
              <a:defRPr lang="en-US"/>
            </a:defPPr>
            <a:lvl1pPr marL="0" algn="r" defTabSz="914400" rtl="0" eaLnBrk="1" latinLnBrk="0" hangingPunct="1">
              <a:defRPr sz="600" b="0" i="0" kern="1200">
                <a:solidFill>
                  <a:schemeClr val="tx1"/>
                </a:solidFill>
                <a:latin typeface="+mn-lt"/>
                <a:ea typeface="Calibri" panose="020F0502020204030204" pitchFamily="34" charset="0"/>
                <a:cs typeface="Calibri" panose="020F050202020403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b="0" i="0">
                <a:solidFill>
                  <a:schemeClr val="bg1"/>
                </a:solidFill>
                <a:latin typeface="+mn-lt"/>
              </a:rPr>
              <a:t>EPAM Proprietary &amp; Confidential</a:t>
            </a:r>
            <a:r>
              <a:rPr lang="ru-RU" b="0" i="0">
                <a:solidFill>
                  <a:schemeClr val="bg1"/>
                </a:solidFill>
                <a:latin typeface="+mn-lt"/>
              </a:rPr>
              <a:t> </a:t>
            </a:r>
            <a:endParaRPr lang="en-US" b="0" i="0">
              <a:solidFill>
                <a:schemeClr val="bg1"/>
              </a:solidFill>
              <a:latin typeface="+mn-lt"/>
            </a:endParaRPr>
          </a:p>
        </p:txBody>
      </p:sp>
    </p:spTree>
    <p:extLst>
      <p:ext uri="{BB962C8B-B14F-4D97-AF65-F5344CB8AC3E}">
        <p14:creationId xmlns:p14="http://schemas.microsoft.com/office/powerpoint/2010/main" val="2256385948"/>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2-Columns with subtitles">
    <p:spTree>
      <p:nvGrpSpPr>
        <p:cNvPr id="1" name=""/>
        <p:cNvGrpSpPr/>
        <p:nvPr/>
      </p:nvGrpSpPr>
      <p:grpSpPr>
        <a:xfrm>
          <a:off x="0" y="0"/>
          <a:ext cx="0" cy="0"/>
          <a:chOff x="0" y="0"/>
          <a:chExt cx="0" cy="0"/>
        </a:xfrm>
      </p:grpSpPr>
      <p:sp>
        <p:nvSpPr>
          <p:cNvPr id="2" name="Text Placeholder 4">
            <a:extLst>
              <a:ext uri="{FF2B5EF4-FFF2-40B4-BE49-F238E27FC236}">
                <a16:creationId xmlns:a16="http://schemas.microsoft.com/office/drawing/2014/main" id="{3A517F72-13C6-5418-B0CB-46BAB6B8D27B}"/>
              </a:ext>
            </a:extLst>
          </p:cNvPr>
          <p:cNvSpPr>
            <a:spLocks noGrp="1"/>
          </p:cNvSpPr>
          <p:nvPr>
            <p:ph type="body" sz="quarter" idx="16" hasCustomPrompt="1"/>
          </p:nvPr>
        </p:nvSpPr>
        <p:spPr>
          <a:xfrm>
            <a:off x="647700" y="2698291"/>
            <a:ext cx="4648200" cy="1265667"/>
          </a:xfrm>
          <a:prstGeom prst="rect">
            <a:avLst/>
          </a:prstGeom>
        </p:spPr>
        <p:txBody>
          <a:bodyPr wrap="square" anchor="t" anchorCtr="0">
            <a:spAutoFit/>
          </a:bodyPr>
          <a:lstStyle>
            <a:lvl1pPr marL="0" marR="0" indent="0" algn="l" defTabSz="914400" rtl="0" eaLnBrk="1" fontAlgn="auto" latinLnBrk="0" hangingPunct="1">
              <a:lnSpc>
                <a:spcPts val="2000"/>
              </a:lnSpc>
              <a:spcBef>
                <a:spcPts val="600"/>
              </a:spcBef>
              <a:spcAft>
                <a:spcPts val="0"/>
              </a:spcAft>
              <a:buClrTx/>
              <a:buSzTx/>
              <a:buFont typeface="Arial" panose="020B0604020202020204" pitchFamily="34" charset="0"/>
              <a:buNone/>
              <a:tabLst/>
              <a:defRPr sz="1400" b="0" i="0">
                <a:solidFill>
                  <a:schemeClr val="tx1"/>
                </a:solidFill>
                <a:latin typeface="Calibri Light" panose="020F0302020204030204" pitchFamily="34" charset="0"/>
                <a:cs typeface="Calibri Light" panose="020F0302020204030204" pitchFamily="34" charset="0"/>
              </a:defRPr>
            </a:lvl1pPr>
          </a:lstStyle>
          <a:p>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Leo </a:t>
            </a:r>
            <a:r>
              <a:rPr lang="en-US" err="1"/>
              <a:t>luctus</a:t>
            </a:r>
            <a:r>
              <a:rPr lang="en-US"/>
              <a:t> </a:t>
            </a:r>
            <a:r>
              <a:rPr lang="en-US" err="1"/>
              <a:t>adipiscing</a:t>
            </a:r>
            <a:r>
              <a:rPr lang="en-US"/>
              <a:t> </a:t>
            </a:r>
            <a:r>
              <a:rPr lang="en-US" err="1"/>
              <a:t>feugiat</a:t>
            </a:r>
            <a:r>
              <a:rPr lang="en-US"/>
              <a:t> </a:t>
            </a:r>
            <a:r>
              <a:rPr lang="en-US" err="1"/>
              <a:t>viverra</a:t>
            </a:r>
            <a:r>
              <a:rPr lang="en-US"/>
              <a:t> </a:t>
            </a:r>
            <a:r>
              <a:rPr lang="en-US" err="1"/>
              <a:t>facilisi</a:t>
            </a:r>
            <a:r>
              <a:rPr lang="en-US"/>
              <a:t>. </a:t>
            </a:r>
            <a:r>
              <a:rPr lang="en-US" err="1"/>
              <a:t>Tristique</a:t>
            </a:r>
            <a:r>
              <a:rPr lang="en-US"/>
              <a:t> </a:t>
            </a:r>
            <a:r>
              <a:rPr lang="en-US" err="1"/>
              <a:t>aliquet</a:t>
            </a:r>
            <a:r>
              <a:rPr lang="en-US"/>
              <a:t> </a:t>
            </a:r>
            <a:r>
              <a:rPr lang="en-US" err="1"/>
              <a:t>tempor</a:t>
            </a:r>
            <a:r>
              <a:rPr lang="en-US"/>
              <a:t>, </a:t>
            </a:r>
            <a:r>
              <a:rPr lang="en-US" err="1"/>
              <a:t>tortor</a:t>
            </a:r>
            <a:r>
              <a:rPr lang="en-US"/>
              <a:t> </a:t>
            </a:r>
            <a:r>
              <a:rPr lang="en-US" err="1"/>
              <a:t>amet</a:t>
            </a:r>
            <a:r>
              <a:rPr lang="en-US"/>
              <a:t> </a:t>
            </a:r>
            <a:r>
              <a:rPr lang="en-US" err="1"/>
              <a:t>scelerisque</a:t>
            </a:r>
            <a:r>
              <a:rPr lang="en-US"/>
              <a:t> fermentum. </a:t>
            </a:r>
            <a:r>
              <a:rPr lang="en-US" err="1"/>
              <a:t>Venenatis</a:t>
            </a:r>
            <a:r>
              <a:rPr lang="en-US"/>
              <a:t>, </a:t>
            </a:r>
            <a:r>
              <a:rPr lang="en-US" err="1"/>
              <a:t>quam</a:t>
            </a:r>
            <a:r>
              <a:rPr lang="en-US"/>
              <a:t> </a:t>
            </a:r>
            <a:r>
              <a:rPr lang="en-US" err="1"/>
              <a:t>consequat</a:t>
            </a:r>
            <a:r>
              <a:rPr lang="en-US"/>
              <a:t> </a:t>
            </a:r>
            <a:r>
              <a:rPr lang="en-US" err="1"/>
              <a:t>netus</a:t>
            </a:r>
            <a:r>
              <a:rPr lang="en-US"/>
              <a:t> magna </a:t>
            </a:r>
            <a:r>
              <a:rPr lang="en-US" err="1"/>
              <a:t>eleifend</a:t>
            </a:r>
            <a:r>
              <a:rPr lang="en-US"/>
              <a:t> </a:t>
            </a:r>
            <a:r>
              <a:rPr lang="en-US" err="1"/>
              <a:t>eget</a:t>
            </a:r>
            <a:r>
              <a:rPr lang="en-US"/>
              <a:t>. Eros </a:t>
            </a:r>
            <a:r>
              <a:rPr lang="en-US" err="1"/>
              <a:t>orci</a:t>
            </a:r>
            <a:r>
              <a:rPr lang="en-US"/>
              <a:t> </a:t>
            </a:r>
            <a:r>
              <a:rPr lang="en-US" err="1"/>
              <a:t>commodo</a:t>
            </a:r>
            <a:r>
              <a:rPr lang="en-US"/>
              <a:t> at </a:t>
            </a:r>
            <a:r>
              <a:rPr lang="en-US" err="1"/>
              <a:t>pellentesque</a:t>
            </a:r>
            <a:r>
              <a:rPr lang="en-US"/>
              <a:t> </a:t>
            </a:r>
            <a:r>
              <a:rPr lang="en-US" err="1"/>
              <a:t>tellus</a:t>
            </a:r>
            <a:r>
              <a:rPr lang="en-US"/>
              <a:t> </a:t>
            </a:r>
            <a:r>
              <a:rPr lang="en-US" err="1"/>
              <a:t>malesuada</a:t>
            </a:r>
            <a:r>
              <a:rPr lang="en-US"/>
              <a:t>. </a:t>
            </a:r>
          </a:p>
        </p:txBody>
      </p:sp>
      <p:sp>
        <p:nvSpPr>
          <p:cNvPr id="4" name="Text Placeholder 4">
            <a:extLst>
              <a:ext uri="{FF2B5EF4-FFF2-40B4-BE49-F238E27FC236}">
                <a16:creationId xmlns:a16="http://schemas.microsoft.com/office/drawing/2014/main" id="{3A39EDEA-D9AD-90C0-00E7-933A0BCD218E}"/>
              </a:ext>
            </a:extLst>
          </p:cNvPr>
          <p:cNvSpPr>
            <a:spLocks noGrp="1"/>
          </p:cNvSpPr>
          <p:nvPr>
            <p:ph type="body" sz="quarter" idx="26" hasCustomPrompt="1"/>
          </p:nvPr>
        </p:nvSpPr>
        <p:spPr>
          <a:xfrm>
            <a:off x="647700" y="1752600"/>
            <a:ext cx="4648200" cy="553998"/>
          </a:xfrm>
          <a:prstGeom prst="rect">
            <a:avLst/>
          </a:prstGeom>
        </p:spPr>
        <p:txBody>
          <a:bodyPr wrap="square" anchor="t" anchorCtr="0">
            <a:spAutoFit/>
          </a:bodyPr>
          <a:lstStyle>
            <a:lvl1pPr marL="0" marR="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sz="1800" b="1" i="0">
                <a:solidFill>
                  <a:schemeClr val="tx1"/>
                </a:solidFill>
                <a:latin typeface="Calibri" panose="020F0502020204030204" pitchFamily="34" charset="0"/>
                <a:cs typeface="Calibri" panose="020F0502020204030204" pitchFamily="34" charset="0"/>
              </a:defRPr>
            </a:lvl1pPr>
          </a:lstStyle>
          <a:p>
            <a:r>
              <a:rPr lang="en-US"/>
              <a:t>Lorem ipsum </a:t>
            </a:r>
            <a:r>
              <a:rPr lang="en-US" err="1"/>
              <a:t>nulla</a:t>
            </a:r>
            <a:r>
              <a:rPr lang="en-US"/>
              <a:t> </a:t>
            </a:r>
            <a:r>
              <a:rPr lang="en-US" err="1"/>
              <a:t>primis</a:t>
            </a:r>
            <a:r>
              <a:rPr lang="en-US"/>
              <a:t> eros mi </a:t>
            </a:r>
            <a:r>
              <a:rPr lang="en-US" err="1"/>
              <a:t>maecenas</a:t>
            </a:r>
            <a:r>
              <a:rPr lang="en-US"/>
              <a:t> ligula magna, </a:t>
            </a:r>
            <a:r>
              <a:rPr lang="en-US" err="1"/>
              <a:t>nibh</a:t>
            </a:r>
            <a:r>
              <a:rPr lang="en-US"/>
              <a:t> </a:t>
            </a:r>
            <a:r>
              <a:rPr lang="en-US" err="1"/>
              <a:t>commodo</a:t>
            </a:r>
            <a:r>
              <a:rPr lang="en-US"/>
              <a:t> </a:t>
            </a:r>
            <a:r>
              <a:rPr lang="en-US" err="1"/>
              <a:t>aenean</a:t>
            </a:r>
            <a:r>
              <a:rPr lang="en-US"/>
              <a:t> </a:t>
            </a:r>
            <a:r>
              <a:rPr lang="en-US" err="1"/>
              <a:t>leo</a:t>
            </a:r>
            <a:r>
              <a:rPr lang="en-US"/>
              <a:t> porta.</a:t>
            </a:r>
          </a:p>
        </p:txBody>
      </p:sp>
      <p:sp>
        <p:nvSpPr>
          <p:cNvPr id="7" name="Text Placeholder 4">
            <a:extLst>
              <a:ext uri="{FF2B5EF4-FFF2-40B4-BE49-F238E27FC236}">
                <a16:creationId xmlns:a16="http://schemas.microsoft.com/office/drawing/2014/main" id="{D33771BF-0A2C-CB01-D9AB-ED1F3FC63EB4}"/>
              </a:ext>
            </a:extLst>
          </p:cNvPr>
          <p:cNvSpPr>
            <a:spLocks noGrp="1"/>
          </p:cNvSpPr>
          <p:nvPr>
            <p:ph type="body" sz="quarter" idx="27" hasCustomPrompt="1"/>
          </p:nvPr>
        </p:nvSpPr>
        <p:spPr>
          <a:xfrm>
            <a:off x="6272784" y="2698291"/>
            <a:ext cx="4648200" cy="1778628"/>
          </a:xfrm>
          <a:prstGeom prst="rect">
            <a:avLst/>
          </a:prstGeom>
        </p:spPr>
        <p:txBody>
          <a:bodyPr wrap="square" anchor="t" anchorCtr="0">
            <a:spAutoFit/>
          </a:bodyPr>
          <a:lstStyle>
            <a:lvl1pPr marL="0" marR="0" indent="0" algn="l" defTabSz="914400" rtl="0" eaLnBrk="1" fontAlgn="auto" latinLnBrk="0" hangingPunct="1">
              <a:lnSpc>
                <a:spcPts val="2000"/>
              </a:lnSpc>
              <a:spcBef>
                <a:spcPts val="600"/>
              </a:spcBef>
              <a:spcAft>
                <a:spcPts val="0"/>
              </a:spcAft>
              <a:buClrTx/>
              <a:buSzTx/>
              <a:buFont typeface="Arial" panose="020B0604020202020204" pitchFamily="34" charset="0"/>
              <a:buNone/>
              <a:tabLst/>
              <a:defRPr sz="1400" b="0" i="0">
                <a:solidFill>
                  <a:schemeClr val="tx1"/>
                </a:solidFill>
                <a:latin typeface="Calibri Light" panose="020F0302020204030204" pitchFamily="34" charset="0"/>
                <a:cs typeface="Calibri Light" panose="020F0302020204030204" pitchFamily="34" charset="0"/>
              </a:defRPr>
            </a:lvl1pPr>
          </a:lstStyle>
          <a:p>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Leo </a:t>
            </a:r>
            <a:r>
              <a:rPr lang="en-US" err="1"/>
              <a:t>luctus</a:t>
            </a:r>
            <a:r>
              <a:rPr lang="en-US"/>
              <a:t> </a:t>
            </a:r>
            <a:r>
              <a:rPr lang="en-US" err="1"/>
              <a:t>adipiscing</a:t>
            </a:r>
            <a:r>
              <a:rPr lang="en-US"/>
              <a:t> </a:t>
            </a:r>
            <a:r>
              <a:rPr lang="en-US" err="1"/>
              <a:t>feugiat</a:t>
            </a:r>
            <a:r>
              <a:rPr lang="en-US"/>
              <a:t> </a:t>
            </a:r>
            <a:r>
              <a:rPr lang="en-US" err="1"/>
              <a:t>viverra</a:t>
            </a:r>
            <a:r>
              <a:rPr lang="en-US"/>
              <a:t> </a:t>
            </a:r>
            <a:r>
              <a:rPr lang="en-US" err="1"/>
              <a:t>facilisi</a:t>
            </a:r>
            <a:r>
              <a:rPr lang="en-US"/>
              <a:t>. </a:t>
            </a:r>
            <a:r>
              <a:rPr lang="en-US" err="1"/>
              <a:t>Tristique</a:t>
            </a:r>
            <a:r>
              <a:rPr lang="en-US"/>
              <a:t> </a:t>
            </a:r>
            <a:r>
              <a:rPr lang="en-US" err="1"/>
              <a:t>aliquet</a:t>
            </a:r>
            <a:r>
              <a:rPr lang="en-US"/>
              <a:t> </a:t>
            </a:r>
            <a:r>
              <a:rPr lang="en-US" err="1"/>
              <a:t>tempor</a:t>
            </a:r>
            <a:r>
              <a:rPr lang="en-US"/>
              <a:t>, </a:t>
            </a:r>
            <a:r>
              <a:rPr lang="en-US" err="1"/>
              <a:t>tortor</a:t>
            </a:r>
            <a:r>
              <a:rPr lang="en-US"/>
              <a:t> </a:t>
            </a:r>
            <a:r>
              <a:rPr lang="en-US" err="1"/>
              <a:t>amet</a:t>
            </a:r>
            <a:r>
              <a:rPr lang="en-US"/>
              <a:t> </a:t>
            </a:r>
            <a:r>
              <a:rPr lang="en-US" err="1"/>
              <a:t>scelerisque</a:t>
            </a:r>
            <a:r>
              <a:rPr lang="en-US"/>
              <a:t> fermentum. </a:t>
            </a:r>
            <a:r>
              <a:rPr lang="en-US" err="1"/>
              <a:t>Venenatis</a:t>
            </a:r>
            <a:r>
              <a:rPr lang="en-US"/>
              <a:t>, </a:t>
            </a:r>
            <a:r>
              <a:rPr lang="en-US" err="1"/>
              <a:t>quam</a:t>
            </a:r>
            <a:r>
              <a:rPr lang="en-US"/>
              <a:t> </a:t>
            </a:r>
            <a:r>
              <a:rPr lang="en-US" err="1"/>
              <a:t>consequat</a:t>
            </a:r>
            <a:r>
              <a:rPr lang="en-US"/>
              <a:t> </a:t>
            </a:r>
            <a:r>
              <a:rPr lang="en-US" err="1"/>
              <a:t>netus</a:t>
            </a:r>
            <a:r>
              <a:rPr lang="en-US"/>
              <a:t> magna </a:t>
            </a:r>
            <a:r>
              <a:rPr lang="en-US" err="1"/>
              <a:t>eleifend</a:t>
            </a:r>
            <a:r>
              <a:rPr lang="en-US"/>
              <a:t> </a:t>
            </a:r>
            <a:r>
              <a:rPr lang="en-US" err="1"/>
              <a:t>eget</a:t>
            </a:r>
            <a:r>
              <a:rPr lang="en-US"/>
              <a:t>. Eros </a:t>
            </a:r>
            <a:r>
              <a:rPr lang="en-US" err="1"/>
              <a:t>orci</a:t>
            </a:r>
            <a:r>
              <a:rPr lang="en-US"/>
              <a:t> </a:t>
            </a:r>
            <a:r>
              <a:rPr lang="en-US" err="1"/>
              <a:t>commodo</a:t>
            </a:r>
            <a:r>
              <a:rPr lang="en-US"/>
              <a:t> at </a:t>
            </a:r>
            <a:r>
              <a:rPr lang="en-US" err="1"/>
              <a:t>pellentesque</a:t>
            </a:r>
            <a:r>
              <a:rPr lang="en-US"/>
              <a:t> </a:t>
            </a:r>
            <a:r>
              <a:rPr lang="en-US" err="1"/>
              <a:t>tellus</a:t>
            </a:r>
            <a:r>
              <a:rPr lang="en-US"/>
              <a:t> </a:t>
            </a:r>
            <a:r>
              <a:rPr lang="en-US" err="1"/>
              <a:t>malesuada</a:t>
            </a:r>
            <a:r>
              <a:rPr lang="en-US"/>
              <a:t>. Leo dui </a:t>
            </a:r>
            <a:r>
              <a:rPr lang="en-US" err="1"/>
              <a:t>sapien</a:t>
            </a:r>
            <a:r>
              <a:rPr lang="en-US"/>
              <a:t>, </a:t>
            </a:r>
            <a:r>
              <a:rPr lang="en-US" err="1"/>
              <a:t>imperdiet</a:t>
            </a:r>
            <a:r>
              <a:rPr lang="en-US"/>
              <a:t> </a:t>
            </a:r>
            <a:r>
              <a:rPr lang="en-US" err="1"/>
              <a:t>molestie</a:t>
            </a:r>
            <a:r>
              <a:rPr lang="en-US"/>
              <a:t> </a:t>
            </a:r>
            <a:r>
              <a:rPr lang="en-US" err="1"/>
              <a:t>tristique</a:t>
            </a:r>
            <a:r>
              <a:rPr lang="en-US"/>
              <a:t>. Cras sit integer </a:t>
            </a:r>
            <a:r>
              <a:rPr lang="en-US" err="1"/>
              <a:t>porttitor</a:t>
            </a:r>
            <a:r>
              <a:rPr lang="en-US"/>
              <a:t> </a:t>
            </a:r>
            <a:r>
              <a:rPr lang="en-US" err="1"/>
              <a:t>enim</a:t>
            </a:r>
            <a:r>
              <a:rPr lang="en-US"/>
              <a:t> </a:t>
            </a:r>
            <a:r>
              <a:rPr lang="en-US" err="1"/>
              <a:t>mauris</a:t>
            </a:r>
            <a:r>
              <a:rPr lang="en-US"/>
              <a:t> </a:t>
            </a:r>
            <a:r>
              <a:rPr lang="en-US" err="1"/>
              <a:t>morbi</a:t>
            </a:r>
            <a:r>
              <a:rPr lang="en-US"/>
              <a:t> </a:t>
            </a:r>
            <a:r>
              <a:rPr lang="en-US" err="1"/>
              <a:t>tincidunt</a:t>
            </a:r>
            <a:r>
              <a:rPr lang="en-US"/>
              <a:t> </a:t>
            </a:r>
            <a:r>
              <a:rPr lang="en-US" err="1"/>
              <a:t>sem</a:t>
            </a:r>
            <a:r>
              <a:rPr lang="en-US"/>
              <a:t> </a:t>
            </a:r>
            <a:r>
              <a:rPr lang="en-US" err="1"/>
              <a:t>volutpat</a:t>
            </a:r>
            <a:r>
              <a:rPr lang="en-US"/>
              <a:t>. </a:t>
            </a:r>
          </a:p>
        </p:txBody>
      </p:sp>
      <p:sp>
        <p:nvSpPr>
          <p:cNvPr id="9" name="Text Placeholder 4">
            <a:extLst>
              <a:ext uri="{FF2B5EF4-FFF2-40B4-BE49-F238E27FC236}">
                <a16:creationId xmlns:a16="http://schemas.microsoft.com/office/drawing/2014/main" id="{9D7B04DC-2792-21A9-52B1-97306B134505}"/>
              </a:ext>
            </a:extLst>
          </p:cNvPr>
          <p:cNvSpPr>
            <a:spLocks noGrp="1"/>
          </p:cNvSpPr>
          <p:nvPr>
            <p:ph type="body" sz="quarter" idx="28" hasCustomPrompt="1"/>
          </p:nvPr>
        </p:nvSpPr>
        <p:spPr>
          <a:xfrm>
            <a:off x="6272784" y="1752600"/>
            <a:ext cx="4648200" cy="553998"/>
          </a:xfrm>
          <a:prstGeom prst="rect">
            <a:avLst/>
          </a:prstGeom>
        </p:spPr>
        <p:txBody>
          <a:bodyPr wrap="square" anchor="t" anchorCtr="0">
            <a:spAutoFit/>
          </a:bodyPr>
          <a:lstStyle>
            <a:lvl1pPr marL="0" marR="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sz="1800" b="1" i="0">
                <a:solidFill>
                  <a:schemeClr val="tx1"/>
                </a:solidFill>
                <a:latin typeface="Calibri" panose="020F0502020204030204" pitchFamily="34" charset="0"/>
                <a:cs typeface="Calibri" panose="020F0502020204030204" pitchFamily="34" charset="0"/>
              </a:defRPr>
            </a:lvl1pPr>
          </a:lstStyle>
          <a:p>
            <a:r>
              <a:rPr lang="en-US"/>
              <a:t>Lorem ipsum </a:t>
            </a:r>
            <a:r>
              <a:rPr lang="en-US" err="1"/>
              <a:t>nulla</a:t>
            </a:r>
            <a:r>
              <a:rPr lang="en-US"/>
              <a:t> </a:t>
            </a:r>
            <a:r>
              <a:rPr lang="en-US" err="1"/>
              <a:t>primis</a:t>
            </a:r>
            <a:r>
              <a:rPr lang="en-US"/>
              <a:t> eros mi </a:t>
            </a:r>
            <a:r>
              <a:rPr lang="en-US" err="1"/>
              <a:t>maecenas</a:t>
            </a:r>
            <a:r>
              <a:rPr lang="en-US"/>
              <a:t> ligula magna, </a:t>
            </a:r>
            <a:r>
              <a:rPr lang="en-US" err="1"/>
              <a:t>nibh</a:t>
            </a:r>
            <a:r>
              <a:rPr lang="en-US"/>
              <a:t> </a:t>
            </a:r>
            <a:r>
              <a:rPr lang="en-US" err="1"/>
              <a:t>commodo</a:t>
            </a:r>
            <a:r>
              <a:rPr lang="en-US"/>
              <a:t> </a:t>
            </a:r>
            <a:r>
              <a:rPr lang="en-US" err="1"/>
              <a:t>aenean</a:t>
            </a:r>
            <a:r>
              <a:rPr lang="en-US"/>
              <a:t> </a:t>
            </a:r>
            <a:r>
              <a:rPr lang="en-US" err="1"/>
              <a:t>leo</a:t>
            </a:r>
            <a:r>
              <a:rPr lang="en-US"/>
              <a:t> porta.</a:t>
            </a:r>
          </a:p>
        </p:txBody>
      </p:sp>
      <p:sp>
        <p:nvSpPr>
          <p:cNvPr id="10" name="Title 1">
            <a:extLst>
              <a:ext uri="{FF2B5EF4-FFF2-40B4-BE49-F238E27FC236}">
                <a16:creationId xmlns:a16="http://schemas.microsoft.com/office/drawing/2014/main" id="{1BE06380-29B7-9F04-503F-4794E16816AC}"/>
              </a:ext>
            </a:extLst>
          </p:cNvPr>
          <p:cNvSpPr>
            <a:spLocks noGrp="1"/>
          </p:cNvSpPr>
          <p:nvPr>
            <p:ph type="title" hasCustomPrompt="1"/>
          </p:nvPr>
        </p:nvSpPr>
        <p:spPr>
          <a:xfrm>
            <a:off x="633632" y="722843"/>
            <a:ext cx="10963056" cy="338554"/>
          </a:xfrm>
          <a:prstGeom prst="rect">
            <a:avLst/>
          </a:prstGeom>
        </p:spPr>
        <p:txBody>
          <a:bodyPr/>
          <a:lstStyle>
            <a:lvl1pPr>
              <a:defRPr lang="en-US" sz="2200" b="1" i="0" kern="1200" spc="0" dirty="0">
                <a:solidFill>
                  <a:schemeClr val="tx1"/>
                </a:solidFill>
                <a:effectLst/>
                <a:latin typeface="+mj-lt"/>
                <a:ea typeface="Calibri" panose="020F0502020204030204" pitchFamily="34" charset="0"/>
                <a:cs typeface="Calibri" panose="020F0502020204030204" pitchFamily="34" charset="0"/>
              </a:defRPr>
            </a:lvl1pPr>
          </a:lstStyle>
          <a:p>
            <a:pPr marL="0" lvl="0" indent="0" algn="l" defTabSz="914400" rtl="0" eaLnBrk="1" latinLnBrk="0" hangingPunct="1">
              <a:lnSpc>
                <a:spcPct val="100000"/>
              </a:lnSpc>
              <a:spcBef>
                <a:spcPts val="0"/>
              </a:spcBef>
              <a:spcAft>
                <a:spcPts val="0"/>
              </a:spcAft>
              <a:buFont typeface="Arial" panose="020B0604020202020204" pitchFamily="34" charset="0"/>
              <a:buNone/>
            </a:pPr>
            <a:r>
              <a:rPr lang="en-US">
                <a:effectLst/>
              </a:rPr>
              <a:t>Title Goes Here</a:t>
            </a:r>
            <a:endParaRPr lang="en-US"/>
          </a:p>
        </p:txBody>
      </p:sp>
      <p:sp>
        <p:nvSpPr>
          <p:cNvPr id="13" name="Text Placeholder 10">
            <a:extLst>
              <a:ext uri="{FF2B5EF4-FFF2-40B4-BE49-F238E27FC236}">
                <a16:creationId xmlns:a16="http://schemas.microsoft.com/office/drawing/2014/main" id="{1A3BBB03-6CCE-7692-A0BD-FCB439EC8012}"/>
              </a:ext>
            </a:extLst>
          </p:cNvPr>
          <p:cNvSpPr>
            <a:spLocks noGrp="1"/>
          </p:cNvSpPr>
          <p:nvPr>
            <p:ph type="body" sz="quarter" idx="29" hasCustomPrompt="1"/>
          </p:nvPr>
        </p:nvSpPr>
        <p:spPr>
          <a:xfrm>
            <a:off x="633632" y="419100"/>
            <a:ext cx="3611880" cy="225706"/>
          </a:xfrm>
          <a:prstGeom prst="rect">
            <a:avLst/>
          </a:prstGeom>
        </p:spPr>
        <p:txBody>
          <a:bodyPr/>
          <a:lstStyle>
            <a:lvl1pPr>
              <a:spcBef>
                <a:spcPts val="0"/>
              </a:spcBef>
              <a:defRPr lang="en-US" sz="1000" b="0" i="0" kern="1200" cap="all" spc="300" baseline="0" dirty="0">
                <a:solidFill>
                  <a:schemeClr val="tx1"/>
                </a:solidFill>
                <a:latin typeface="Calibri" panose="020F0502020204030204" pitchFamily="34" charset="0"/>
                <a:ea typeface="Calibri" panose="020F0502020204030204" pitchFamily="34" charset="0"/>
                <a:cs typeface="Calibri" panose="020F0502020204030204" pitchFamily="34" charset="0"/>
              </a:defRPr>
            </a:lvl1pPr>
          </a:lstStyle>
          <a:p>
            <a:pPr marL="0" lvl="0" indent="0" algn="l" defTabSz="914400" rtl="0" eaLnBrk="1" latinLnBrk="0" hangingPunct="1">
              <a:lnSpc>
                <a:spcPct val="100000"/>
              </a:lnSpc>
              <a:spcBef>
                <a:spcPts val="600"/>
              </a:spcBef>
              <a:spcAft>
                <a:spcPts val="0"/>
              </a:spcAft>
              <a:buFont typeface="Arial" panose="020B0604020202020204" pitchFamily="34" charset="0"/>
              <a:buNone/>
            </a:pPr>
            <a:r>
              <a:rPr lang="en-US"/>
              <a:t>Click to add section title</a:t>
            </a:r>
          </a:p>
        </p:txBody>
      </p:sp>
    </p:spTree>
    <p:extLst>
      <p:ext uri="{BB962C8B-B14F-4D97-AF65-F5344CB8AC3E}">
        <p14:creationId xmlns:p14="http://schemas.microsoft.com/office/powerpoint/2010/main" val="628114401"/>
      </p:ext>
    </p:extLst>
  </p:cSld>
  <p:clrMapOvr>
    <a:masterClrMapping/>
  </p:clrMapOvr>
  <p:extLst>
    <p:ext uri="{DCECCB84-F9BA-43D5-87BE-67443E8EF086}">
      <p15:sldGuideLst xmlns:p15="http://schemas.microsoft.com/office/powerpoint/2012/main"/>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2_Column_Text">
    <p:bg>
      <p:bgPr>
        <a:solidFill>
          <a:schemeClr val="tx1"/>
        </a:solidFill>
        <a:effectLst/>
      </p:bgPr>
    </p:bg>
    <p:spTree>
      <p:nvGrpSpPr>
        <p:cNvPr id="1" name=""/>
        <p:cNvGrpSpPr/>
        <p:nvPr/>
      </p:nvGrpSpPr>
      <p:grpSpPr>
        <a:xfrm>
          <a:off x="0" y="0"/>
          <a:ext cx="0" cy="0"/>
          <a:chOff x="0" y="0"/>
          <a:chExt cx="0" cy="0"/>
        </a:xfrm>
      </p:grpSpPr>
      <p:sp>
        <p:nvSpPr>
          <p:cNvPr id="7" name="Text Placeholder 4">
            <a:extLst>
              <a:ext uri="{FF2B5EF4-FFF2-40B4-BE49-F238E27FC236}">
                <a16:creationId xmlns:a16="http://schemas.microsoft.com/office/drawing/2014/main" id="{7F0AAB83-32F0-44B8-4EEF-5A03F77A747E}"/>
              </a:ext>
            </a:extLst>
          </p:cNvPr>
          <p:cNvSpPr>
            <a:spLocks noGrp="1"/>
          </p:cNvSpPr>
          <p:nvPr>
            <p:ph type="body" sz="quarter" idx="16" hasCustomPrompt="1"/>
          </p:nvPr>
        </p:nvSpPr>
        <p:spPr>
          <a:xfrm>
            <a:off x="647700" y="2698291"/>
            <a:ext cx="4648200" cy="1265667"/>
          </a:xfrm>
          <a:prstGeom prst="rect">
            <a:avLst/>
          </a:prstGeom>
        </p:spPr>
        <p:txBody>
          <a:bodyPr wrap="square" anchor="t" anchorCtr="0">
            <a:spAutoFit/>
          </a:bodyPr>
          <a:lstStyle>
            <a:lvl1pPr marL="0" marR="0" indent="0" algn="l" defTabSz="914400" rtl="0" eaLnBrk="1" fontAlgn="auto" latinLnBrk="0" hangingPunct="1">
              <a:lnSpc>
                <a:spcPts val="2000"/>
              </a:lnSpc>
              <a:spcBef>
                <a:spcPts val="600"/>
              </a:spcBef>
              <a:spcAft>
                <a:spcPts val="0"/>
              </a:spcAft>
              <a:buClrTx/>
              <a:buSzTx/>
              <a:buFont typeface="Arial" panose="020B0604020202020204" pitchFamily="34" charset="0"/>
              <a:buNone/>
              <a:tabLst/>
              <a:defRPr sz="1400" b="0" i="0">
                <a:solidFill>
                  <a:schemeClr val="bg1"/>
                </a:solidFill>
                <a:latin typeface="Calibri Light" panose="020F0302020204030204" pitchFamily="34" charset="0"/>
                <a:cs typeface="Calibri Light" panose="020F0302020204030204" pitchFamily="34" charset="0"/>
              </a:defRPr>
            </a:lvl1pPr>
          </a:lstStyle>
          <a:p>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Leo </a:t>
            </a:r>
            <a:r>
              <a:rPr lang="en-US" err="1"/>
              <a:t>luctus</a:t>
            </a:r>
            <a:r>
              <a:rPr lang="en-US"/>
              <a:t> </a:t>
            </a:r>
            <a:r>
              <a:rPr lang="en-US" err="1"/>
              <a:t>adipiscing</a:t>
            </a:r>
            <a:r>
              <a:rPr lang="en-US"/>
              <a:t> </a:t>
            </a:r>
            <a:r>
              <a:rPr lang="en-US" err="1"/>
              <a:t>feugiat</a:t>
            </a:r>
            <a:r>
              <a:rPr lang="en-US"/>
              <a:t> </a:t>
            </a:r>
            <a:r>
              <a:rPr lang="en-US" err="1"/>
              <a:t>viverra</a:t>
            </a:r>
            <a:r>
              <a:rPr lang="en-US"/>
              <a:t> </a:t>
            </a:r>
            <a:r>
              <a:rPr lang="en-US" err="1"/>
              <a:t>facilisi</a:t>
            </a:r>
            <a:r>
              <a:rPr lang="en-US"/>
              <a:t>. </a:t>
            </a:r>
            <a:r>
              <a:rPr lang="en-US" err="1"/>
              <a:t>Tristique</a:t>
            </a:r>
            <a:r>
              <a:rPr lang="en-US"/>
              <a:t> </a:t>
            </a:r>
            <a:r>
              <a:rPr lang="en-US" err="1"/>
              <a:t>aliquet</a:t>
            </a:r>
            <a:r>
              <a:rPr lang="en-US"/>
              <a:t> </a:t>
            </a:r>
            <a:r>
              <a:rPr lang="en-US" err="1"/>
              <a:t>tempor</a:t>
            </a:r>
            <a:r>
              <a:rPr lang="en-US"/>
              <a:t>, </a:t>
            </a:r>
            <a:r>
              <a:rPr lang="en-US" err="1"/>
              <a:t>tortor</a:t>
            </a:r>
            <a:r>
              <a:rPr lang="en-US"/>
              <a:t> </a:t>
            </a:r>
            <a:r>
              <a:rPr lang="en-US" err="1"/>
              <a:t>amet</a:t>
            </a:r>
            <a:r>
              <a:rPr lang="en-US"/>
              <a:t> </a:t>
            </a:r>
            <a:r>
              <a:rPr lang="en-US" err="1"/>
              <a:t>scelerisque</a:t>
            </a:r>
            <a:r>
              <a:rPr lang="en-US"/>
              <a:t> fermentum. </a:t>
            </a:r>
            <a:r>
              <a:rPr lang="en-US" err="1"/>
              <a:t>Venenatis</a:t>
            </a:r>
            <a:r>
              <a:rPr lang="en-US"/>
              <a:t>, </a:t>
            </a:r>
            <a:r>
              <a:rPr lang="en-US" err="1"/>
              <a:t>quam</a:t>
            </a:r>
            <a:r>
              <a:rPr lang="en-US"/>
              <a:t> </a:t>
            </a:r>
            <a:r>
              <a:rPr lang="en-US" err="1"/>
              <a:t>consequat</a:t>
            </a:r>
            <a:r>
              <a:rPr lang="en-US"/>
              <a:t> </a:t>
            </a:r>
            <a:r>
              <a:rPr lang="en-US" err="1"/>
              <a:t>netus</a:t>
            </a:r>
            <a:r>
              <a:rPr lang="en-US"/>
              <a:t> magna </a:t>
            </a:r>
            <a:r>
              <a:rPr lang="en-US" err="1"/>
              <a:t>eleifend</a:t>
            </a:r>
            <a:r>
              <a:rPr lang="en-US"/>
              <a:t> </a:t>
            </a:r>
            <a:r>
              <a:rPr lang="en-US" err="1"/>
              <a:t>eget</a:t>
            </a:r>
            <a:r>
              <a:rPr lang="en-US"/>
              <a:t>. Eros </a:t>
            </a:r>
            <a:r>
              <a:rPr lang="en-US" err="1"/>
              <a:t>orci</a:t>
            </a:r>
            <a:r>
              <a:rPr lang="en-US"/>
              <a:t> </a:t>
            </a:r>
            <a:r>
              <a:rPr lang="en-US" err="1"/>
              <a:t>commodo</a:t>
            </a:r>
            <a:r>
              <a:rPr lang="en-US"/>
              <a:t> at </a:t>
            </a:r>
            <a:r>
              <a:rPr lang="en-US" err="1"/>
              <a:t>pellentesque</a:t>
            </a:r>
            <a:r>
              <a:rPr lang="en-US"/>
              <a:t> </a:t>
            </a:r>
            <a:r>
              <a:rPr lang="en-US" err="1"/>
              <a:t>tellus</a:t>
            </a:r>
            <a:r>
              <a:rPr lang="en-US"/>
              <a:t> </a:t>
            </a:r>
            <a:r>
              <a:rPr lang="en-US" err="1"/>
              <a:t>malesuada</a:t>
            </a:r>
            <a:r>
              <a:rPr lang="en-US"/>
              <a:t>. </a:t>
            </a:r>
          </a:p>
        </p:txBody>
      </p:sp>
      <p:sp>
        <p:nvSpPr>
          <p:cNvPr id="9" name="Text Placeholder 4">
            <a:extLst>
              <a:ext uri="{FF2B5EF4-FFF2-40B4-BE49-F238E27FC236}">
                <a16:creationId xmlns:a16="http://schemas.microsoft.com/office/drawing/2014/main" id="{DBBECED4-4691-EAD7-0FFE-7393254BBDC9}"/>
              </a:ext>
            </a:extLst>
          </p:cNvPr>
          <p:cNvSpPr>
            <a:spLocks noGrp="1"/>
          </p:cNvSpPr>
          <p:nvPr>
            <p:ph type="body" sz="quarter" idx="26" hasCustomPrompt="1"/>
          </p:nvPr>
        </p:nvSpPr>
        <p:spPr>
          <a:xfrm>
            <a:off x="647700" y="1752600"/>
            <a:ext cx="4648200" cy="553998"/>
          </a:xfrm>
          <a:prstGeom prst="rect">
            <a:avLst/>
          </a:prstGeom>
        </p:spPr>
        <p:txBody>
          <a:bodyPr wrap="square" anchor="t" anchorCtr="0">
            <a:spAutoFit/>
          </a:bodyPr>
          <a:lstStyle>
            <a:lvl1pPr marL="0" marR="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sz="1800" b="1" i="0">
                <a:solidFill>
                  <a:schemeClr val="bg1"/>
                </a:solidFill>
                <a:latin typeface="Calibri" panose="020F0502020204030204" pitchFamily="34" charset="0"/>
                <a:cs typeface="Calibri" panose="020F0502020204030204" pitchFamily="34" charset="0"/>
              </a:defRPr>
            </a:lvl1pPr>
          </a:lstStyle>
          <a:p>
            <a:r>
              <a:rPr lang="en-US"/>
              <a:t>Lorem ipsum </a:t>
            </a:r>
            <a:r>
              <a:rPr lang="en-US" err="1"/>
              <a:t>nulla</a:t>
            </a:r>
            <a:r>
              <a:rPr lang="en-US"/>
              <a:t> </a:t>
            </a:r>
            <a:r>
              <a:rPr lang="en-US" err="1"/>
              <a:t>primis</a:t>
            </a:r>
            <a:r>
              <a:rPr lang="en-US"/>
              <a:t> eros mi </a:t>
            </a:r>
            <a:r>
              <a:rPr lang="en-US" err="1"/>
              <a:t>maecenas</a:t>
            </a:r>
            <a:r>
              <a:rPr lang="en-US"/>
              <a:t> ligula magna, </a:t>
            </a:r>
            <a:r>
              <a:rPr lang="en-US" err="1"/>
              <a:t>nibh</a:t>
            </a:r>
            <a:r>
              <a:rPr lang="en-US"/>
              <a:t> </a:t>
            </a:r>
            <a:r>
              <a:rPr lang="en-US" err="1"/>
              <a:t>commodo</a:t>
            </a:r>
            <a:r>
              <a:rPr lang="en-US"/>
              <a:t> </a:t>
            </a:r>
            <a:r>
              <a:rPr lang="en-US" err="1"/>
              <a:t>aenean</a:t>
            </a:r>
            <a:r>
              <a:rPr lang="en-US"/>
              <a:t> </a:t>
            </a:r>
            <a:r>
              <a:rPr lang="en-US" err="1"/>
              <a:t>leo</a:t>
            </a:r>
            <a:r>
              <a:rPr lang="en-US"/>
              <a:t> porta.</a:t>
            </a:r>
          </a:p>
        </p:txBody>
      </p:sp>
      <p:sp>
        <p:nvSpPr>
          <p:cNvPr id="2" name="Text Placeholder 4">
            <a:extLst>
              <a:ext uri="{FF2B5EF4-FFF2-40B4-BE49-F238E27FC236}">
                <a16:creationId xmlns:a16="http://schemas.microsoft.com/office/drawing/2014/main" id="{2D5963C9-D5D1-84E3-AF7B-5BFA6D21DC39}"/>
              </a:ext>
            </a:extLst>
          </p:cNvPr>
          <p:cNvSpPr>
            <a:spLocks noGrp="1"/>
          </p:cNvSpPr>
          <p:nvPr>
            <p:ph type="body" sz="quarter" idx="27" hasCustomPrompt="1"/>
          </p:nvPr>
        </p:nvSpPr>
        <p:spPr>
          <a:xfrm>
            <a:off x="6272784" y="2698291"/>
            <a:ext cx="4648200" cy="1778628"/>
          </a:xfrm>
          <a:prstGeom prst="rect">
            <a:avLst/>
          </a:prstGeom>
        </p:spPr>
        <p:txBody>
          <a:bodyPr wrap="square" anchor="t" anchorCtr="0">
            <a:spAutoFit/>
          </a:bodyPr>
          <a:lstStyle>
            <a:lvl1pPr marL="0" marR="0" indent="0" algn="l" defTabSz="914400" rtl="0" eaLnBrk="1" fontAlgn="auto" latinLnBrk="0" hangingPunct="1">
              <a:lnSpc>
                <a:spcPts val="2000"/>
              </a:lnSpc>
              <a:spcBef>
                <a:spcPts val="600"/>
              </a:spcBef>
              <a:spcAft>
                <a:spcPts val="0"/>
              </a:spcAft>
              <a:buClrTx/>
              <a:buSzTx/>
              <a:buFont typeface="Arial" panose="020B0604020202020204" pitchFamily="34" charset="0"/>
              <a:buNone/>
              <a:tabLst/>
              <a:defRPr sz="1400" b="0" i="0">
                <a:solidFill>
                  <a:schemeClr val="bg1"/>
                </a:solidFill>
                <a:latin typeface="Calibri Light" panose="020F0302020204030204" pitchFamily="34" charset="0"/>
                <a:cs typeface="Calibri Light" panose="020F0302020204030204" pitchFamily="34" charset="0"/>
              </a:defRPr>
            </a:lvl1pPr>
          </a:lstStyle>
          <a:p>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Leo </a:t>
            </a:r>
            <a:r>
              <a:rPr lang="en-US" err="1"/>
              <a:t>luctus</a:t>
            </a:r>
            <a:r>
              <a:rPr lang="en-US"/>
              <a:t> </a:t>
            </a:r>
            <a:r>
              <a:rPr lang="en-US" err="1"/>
              <a:t>adipiscing</a:t>
            </a:r>
            <a:r>
              <a:rPr lang="en-US"/>
              <a:t> </a:t>
            </a:r>
            <a:r>
              <a:rPr lang="en-US" err="1"/>
              <a:t>feugiat</a:t>
            </a:r>
            <a:r>
              <a:rPr lang="en-US"/>
              <a:t> </a:t>
            </a:r>
            <a:r>
              <a:rPr lang="en-US" err="1"/>
              <a:t>viverra</a:t>
            </a:r>
            <a:r>
              <a:rPr lang="en-US"/>
              <a:t> </a:t>
            </a:r>
            <a:r>
              <a:rPr lang="en-US" err="1"/>
              <a:t>facilisi</a:t>
            </a:r>
            <a:r>
              <a:rPr lang="en-US"/>
              <a:t>. </a:t>
            </a:r>
            <a:r>
              <a:rPr lang="en-US" err="1"/>
              <a:t>Tristique</a:t>
            </a:r>
            <a:r>
              <a:rPr lang="en-US"/>
              <a:t> </a:t>
            </a:r>
            <a:r>
              <a:rPr lang="en-US" err="1"/>
              <a:t>aliquet</a:t>
            </a:r>
            <a:r>
              <a:rPr lang="en-US"/>
              <a:t> </a:t>
            </a:r>
            <a:r>
              <a:rPr lang="en-US" err="1"/>
              <a:t>tempor</a:t>
            </a:r>
            <a:r>
              <a:rPr lang="en-US"/>
              <a:t>, </a:t>
            </a:r>
            <a:r>
              <a:rPr lang="en-US" err="1"/>
              <a:t>tortor</a:t>
            </a:r>
            <a:r>
              <a:rPr lang="en-US"/>
              <a:t> </a:t>
            </a:r>
            <a:r>
              <a:rPr lang="en-US" err="1"/>
              <a:t>amet</a:t>
            </a:r>
            <a:r>
              <a:rPr lang="en-US"/>
              <a:t> </a:t>
            </a:r>
            <a:r>
              <a:rPr lang="en-US" err="1"/>
              <a:t>scelerisque</a:t>
            </a:r>
            <a:r>
              <a:rPr lang="en-US"/>
              <a:t> fermentum. </a:t>
            </a:r>
            <a:r>
              <a:rPr lang="en-US" err="1"/>
              <a:t>Venenatis</a:t>
            </a:r>
            <a:r>
              <a:rPr lang="en-US"/>
              <a:t>, </a:t>
            </a:r>
            <a:r>
              <a:rPr lang="en-US" err="1"/>
              <a:t>quam</a:t>
            </a:r>
            <a:r>
              <a:rPr lang="en-US"/>
              <a:t> </a:t>
            </a:r>
            <a:r>
              <a:rPr lang="en-US" err="1"/>
              <a:t>consequat</a:t>
            </a:r>
            <a:r>
              <a:rPr lang="en-US"/>
              <a:t> </a:t>
            </a:r>
            <a:r>
              <a:rPr lang="en-US" err="1"/>
              <a:t>netus</a:t>
            </a:r>
            <a:r>
              <a:rPr lang="en-US"/>
              <a:t> magna </a:t>
            </a:r>
            <a:r>
              <a:rPr lang="en-US" err="1"/>
              <a:t>eleifend</a:t>
            </a:r>
            <a:r>
              <a:rPr lang="en-US"/>
              <a:t> </a:t>
            </a:r>
            <a:r>
              <a:rPr lang="en-US" err="1"/>
              <a:t>eget</a:t>
            </a:r>
            <a:r>
              <a:rPr lang="en-US"/>
              <a:t>. Eros </a:t>
            </a:r>
            <a:r>
              <a:rPr lang="en-US" err="1"/>
              <a:t>orci</a:t>
            </a:r>
            <a:r>
              <a:rPr lang="en-US"/>
              <a:t> </a:t>
            </a:r>
            <a:r>
              <a:rPr lang="en-US" err="1"/>
              <a:t>commodo</a:t>
            </a:r>
            <a:r>
              <a:rPr lang="en-US"/>
              <a:t> at </a:t>
            </a:r>
            <a:r>
              <a:rPr lang="en-US" err="1"/>
              <a:t>pellentesque</a:t>
            </a:r>
            <a:r>
              <a:rPr lang="en-US"/>
              <a:t> </a:t>
            </a:r>
            <a:r>
              <a:rPr lang="en-US" err="1"/>
              <a:t>tellus</a:t>
            </a:r>
            <a:r>
              <a:rPr lang="en-US"/>
              <a:t> </a:t>
            </a:r>
            <a:r>
              <a:rPr lang="en-US" err="1"/>
              <a:t>malesuada</a:t>
            </a:r>
            <a:r>
              <a:rPr lang="en-US"/>
              <a:t>. Leo dui </a:t>
            </a:r>
            <a:r>
              <a:rPr lang="en-US" err="1"/>
              <a:t>sapien</a:t>
            </a:r>
            <a:r>
              <a:rPr lang="en-US"/>
              <a:t>, </a:t>
            </a:r>
            <a:r>
              <a:rPr lang="en-US" err="1"/>
              <a:t>imperdiet</a:t>
            </a:r>
            <a:r>
              <a:rPr lang="en-US"/>
              <a:t> </a:t>
            </a:r>
            <a:r>
              <a:rPr lang="en-US" err="1"/>
              <a:t>molestie</a:t>
            </a:r>
            <a:r>
              <a:rPr lang="en-US"/>
              <a:t> </a:t>
            </a:r>
            <a:r>
              <a:rPr lang="en-US" err="1"/>
              <a:t>tristique</a:t>
            </a:r>
            <a:r>
              <a:rPr lang="en-US"/>
              <a:t>. Cras sit integer </a:t>
            </a:r>
            <a:r>
              <a:rPr lang="en-US" err="1"/>
              <a:t>porttitor</a:t>
            </a:r>
            <a:r>
              <a:rPr lang="en-US"/>
              <a:t> </a:t>
            </a:r>
            <a:r>
              <a:rPr lang="en-US" err="1"/>
              <a:t>enim</a:t>
            </a:r>
            <a:r>
              <a:rPr lang="en-US"/>
              <a:t> </a:t>
            </a:r>
            <a:r>
              <a:rPr lang="en-US" err="1"/>
              <a:t>mauris</a:t>
            </a:r>
            <a:r>
              <a:rPr lang="en-US"/>
              <a:t> </a:t>
            </a:r>
            <a:r>
              <a:rPr lang="en-US" err="1"/>
              <a:t>morbi</a:t>
            </a:r>
            <a:r>
              <a:rPr lang="en-US"/>
              <a:t> </a:t>
            </a:r>
            <a:r>
              <a:rPr lang="en-US" err="1"/>
              <a:t>tincidunt</a:t>
            </a:r>
            <a:r>
              <a:rPr lang="en-US"/>
              <a:t> </a:t>
            </a:r>
            <a:r>
              <a:rPr lang="en-US" err="1"/>
              <a:t>sem</a:t>
            </a:r>
            <a:r>
              <a:rPr lang="en-US"/>
              <a:t> </a:t>
            </a:r>
            <a:r>
              <a:rPr lang="en-US" err="1"/>
              <a:t>volutpat</a:t>
            </a:r>
            <a:r>
              <a:rPr lang="en-US"/>
              <a:t>. </a:t>
            </a:r>
          </a:p>
        </p:txBody>
      </p:sp>
      <p:sp>
        <p:nvSpPr>
          <p:cNvPr id="4" name="Text Placeholder 4">
            <a:extLst>
              <a:ext uri="{FF2B5EF4-FFF2-40B4-BE49-F238E27FC236}">
                <a16:creationId xmlns:a16="http://schemas.microsoft.com/office/drawing/2014/main" id="{8205CA7F-D6DB-04A0-EA4C-4787388D3583}"/>
              </a:ext>
            </a:extLst>
          </p:cNvPr>
          <p:cNvSpPr>
            <a:spLocks noGrp="1"/>
          </p:cNvSpPr>
          <p:nvPr>
            <p:ph type="body" sz="quarter" idx="28" hasCustomPrompt="1"/>
          </p:nvPr>
        </p:nvSpPr>
        <p:spPr>
          <a:xfrm>
            <a:off x="6272784" y="1752600"/>
            <a:ext cx="4648200" cy="553998"/>
          </a:xfrm>
          <a:prstGeom prst="rect">
            <a:avLst/>
          </a:prstGeom>
        </p:spPr>
        <p:txBody>
          <a:bodyPr wrap="square" anchor="t" anchorCtr="0">
            <a:spAutoFit/>
          </a:bodyPr>
          <a:lstStyle>
            <a:lvl1pPr marL="0" marR="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sz="1800" b="1" i="0">
                <a:solidFill>
                  <a:schemeClr val="bg1"/>
                </a:solidFill>
                <a:latin typeface="Calibri" panose="020F0502020204030204" pitchFamily="34" charset="0"/>
                <a:cs typeface="Calibri" panose="020F0502020204030204" pitchFamily="34" charset="0"/>
              </a:defRPr>
            </a:lvl1pPr>
          </a:lstStyle>
          <a:p>
            <a:r>
              <a:rPr lang="en-US"/>
              <a:t>Lorem ipsum </a:t>
            </a:r>
            <a:r>
              <a:rPr lang="en-US" err="1"/>
              <a:t>nulla</a:t>
            </a:r>
            <a:r>
              <a:rPr lang="en-US"/>
              <a:t> </a:t>
            </a:r>
            <a:r>
              <a:rPr lang="en-US" err="1"/>
              <a:t>primis</a:t>
            </a:r>
            <a:r>
              <a:rPr lang="en-US"/>
              <a:t> eros mi </a:t>
            </a:r>
            <a:r>
              <a:rPr lang="en-US" err="1"/>
              <a:t>maecenas</a:t>
            </a:r>
            <a:r>
              <a:rPr lang="en-US"/>
              <a:t> ligula magna, </a:t>
            </a:r>
            <a:r>
              <a:rPr lang="en-US" err="1"/>
              <a:t>nibh</a:t>
            </a:r>
            <a:r>
              <a:rPr lang="en-US"/>
              <a:t> </a:t>
            </a:r>
            <a:r>
              <a:rPr lang="en-US" err="1"/>
              <a:t>commodo</a:t>
            </a:r>
            <a:r>
              <a:rPr lang="en-US"/>
              <a:t> </a:t>
            </a:r>
            <a:r>
              <a:rPr lang="en-US" err="1"/>
              <a:t>aenean</a:t>
            </a:r>
            <a:r>
              <a:rPr lang="en-US"/>
              <a:t> </a:t>
            </a:r>
            <a:r>
              <a:rPr lang="en-US" err="1"/>
              <a:t>leo</a:t>
            </a:r>
            <a:r>
              <a:rPr lang="en-US"/>
              <a:t> porta.</a:t>
            </a:r>
          </a:p>
        </p:txBody>
      </p:sp>
      <p:sp>
        <p:nvSpPr>
          <p:cNvPr id="5" name="Title 1">
            <a:extLst>
              <a:ext uri="{FF2B5EF4-FFF2-40B4-BE49-F238E27FC236}">
                <a16:creationId xmlns:a16="http://schemas.microsoft.com/office/drawing/2014/main" id="{1DB770F9-5141-EF17-34F8-816AC75504FD}"/>
              </a:ext>
            </a:extLst>
          </p:cNvPr>
          <p:cNvSpPr>
            <a:spLocks noGrp="1"/>
          </p:cNvSpPr>
          <p:nvPr>
            <p:ph type="title" hasCustomPrompt="1"/>
          </p:nvPr>
        </p:nvSpPr>
        <p:spPr>
          <a:xfrm>
            <a:off x="633632" y="722843"/>
            <a:ext cx="10963056" cy="338554"/>
          </a:xfrm>
          <a:prstGeom prst="rect">
            <a:avLst/>
          </a:prstGeom>
        </p:spPr>
        <p:txBody>
          <a:bodyPr/>
          <a:lstStyle>
            <a:lvl1pPr>
              <a:defRPr lang="en-US" sz="2200" b="1" i="0" kern="1200" spc="0" dirty="0">
                <a:solidFill>
                  <a:schemeClr val="bg1"/>
                </a:solidFill>
                <a:effectLst/>
                <a:latin typeface="+mj-lt"/>
                <a:ea typeface="Calibri" panose="020F0502020204030204" pitchFamily="34" charset="0"/>
                <a:cs typeface="Calibri" panose="020F0502020204030204" pitchFamily="34" charset="0"/>
              </a:defRPr>
            </a:lvl1pPr>
          </a:lstStyle>
          <a:p>
            <a:pPr marL="0" lvl="0" indent="0" algn="l" defTabSz="914400" rtl="0" eaLnBrk="1" latinLnBrk="0" hangingPunct="1">
              <a:lnSpc>
                <a:spcPct val="100000"/>
              </a:lnSpc>
              <a:spcBef>
                <a:spcPts val="0"/>
              </a:spcBef>
              <a:spcAft>
                <a:spcPts val="0"/>
              </a:spcAft>
              <a:buFont typeface="Arial" panose="020B0604020202020204" pitchFamily="34" charset="0"/>
              <a:buNone/>
            </a:pPr>
            <a:r>
              <a:rPr lang="en-US">
                <a:effectLst/>
              </a:rPr>
              <a:t>Title Goes Here</a:t>
            </a:r>
            <a:endParaRPr lang="en-US"/>
          </a:p>
        </p:txBody>
      </p:sp>
      <p:sp>
        <p:nvSpPr>
          <p:cNvPr id="8" name="Text Placeholder 10">
            <a:extLst>
              <a:ext uri="{FF2B5EF4-FFF2-40B4-BE49-F238E27FC236}">
                <a16:creationId xmlns:a16="http://schemas.microsoft.com/office/drawing/2014/main" id="{5A247005-8D95-F9E8-E145-F5A6E17A2992}"/>
              </a:ext>
            </a:extLst>
          </p:cNvPr>
          <p:cNvSpPr>
            <a:spLocks noGrp="1"/>
          </p:cNvSpPr>
          <p:nvPr>
            <p:ph type="body" sz="quarter" idx="29" hasCustomPrompt="1"/>
          </p:nvPr>
        </p:nvSpPr>
        <p:spPr>
          <a:xfrm>
            <a:off x="633632" y="419100"/>
            <a:ext cx="3611880" cy="225706"/>
          </a:xfrm>
          <a:prstGeom prst="rect">
            <a:avLst/>
          </a:prstGeom>
        </p:spPr>
        <p:txBody>
          <a:bodyPr/>
          <a:lstStyle>
            <a:lvl1pPr>
              <a:spcBef>
                <a:spcPts val="0"/>
              </a:spcBef>
              <a:defRPr lang="en-US" sz="1000" b="0" i="0" kern="1200" cap="all" spc="300" baseline="0" dirty="0">
                <a:solidFill>
                  <a:schemeClr val="bg1"/>
                </a:solidFill>
                <a:latin typeface="Calibri" panose="020F0502020204030204" pitchFamily="34" charset="0"/>
                <a:ea typeface="Calibri" panose="020F0502020204030204" pitchFamily="34" charset="0"/>
                <a:cs typeface="Calibri" panose="020F0502020204030204" pitchFamily="34" charset="0"/>
              </a:defRPr>
            </a:lvl1pPr>
          </a:lstStyle>
          <a:p>
            <a:pPr marL="0" lvl="0" indent="0" algn="l" defTabSz="914400" rtl="0" eaLnBrk="1" latinLnBrk="0" hangingPunct="1">
              <a:lnSpc>
                <a:spcPct val="100000"/>
              </a:lnSpc>
              <a:spcBef>
                <a:spcPts val="600"/>
              </a:spcBef>
              <a:spcAft>
                <a:spcPts val="0"/>
              </a:spcAft>
              <a:buFont typeface="Arial" panose="020B0604020202020204" pitchFamily="34" charset="0"/>
              <a:buNone/>
            </a:pPr>
            <a:r>
              <a:rPr lang="en-US"/>
              <a:t>Click to add section title</a:t>
            </a:r>
          </a:p>
        </p:txBody>
      </p:sp>
      <p:grpSp>
        <p:nvGrpSpPr>
          <p:cNvPr id="3" name="Group 2">
            <a:extLst>
              <a:ext uri="{FF2B5EF4-FFF2-40B4-BE49-F238E27FC236}">
                <a16:creationId xmlns:a16="http://schemas.microsoft.com/office/drawing/2014/main" id="{9BD7309F-2A10-4132-236E-E244FA3F320D}"/>
              </a:ext>
            </a:extLst>
          </p:cNvPr>
          <p:cNvGrpSpPr/>
          <p:nvPr userDrawn="1"/>
        </p:nvGrpSpPr>
        <p:grpSpPr>
          <a:xfrm>
            <a:off x="610888" y="6472556"/>
            <a:ext cx="372834" cy="131175"/>
            <a:chOff x="14288" y="2035175"/>
            <a:chExt cx="10039350" cy="3532188"/>
          </a:xfrm>
          <a:solidFill>
            <a:schemeClr val="bg1"/>
          </a:solidFill>
        </p:grpSpPr>
        <p:sp>
          <p:nvSpPr>
            <p:cNvPr id="6" name="Freeform 1">
              <a:extLst>
                <a:ext uri="{FF2B5EF4-FFF2-40B4-BE49-F238E27FC236}">
                  <a16:creationId xmlns:a16="http://schemas.microsoft.com/office/drawing/2014/main" id="{FFAA6817-9B3E-E313-8957-E8873E885B02}"/>
                </a:ext>
              </a:extLst>
            </p:cNvPr>
            <p:cNvSpPr>
              <a:spLocks noChangeArrowheads="1"/>
            </p:cNvSpPr>
            <p:nvPr/>
          </p:nvSpPr>
          <p:spPr bwMode="auto">
            <a:xfrm>
              <a:off x="1519238" y="2035175"/>
              <a:ext cx="1336675" cy="2836863"/>
            </a:xfrm>
            <a:custGeom>
              <a:avLst/>
              <a:gdLst>
                <a:gd name="T0" fmla="*/ 390493 w 3714"/>
                <a:gd name="T1" fmla="*/ 1200682 h 7882"/>
                <a:gd name="T2" fmla="*/ 945462 w 3714"/>
                <a:gd name="T3" fmla="*/ 1200682 h 7882"/>
                <a:gd name="T4" fmla="*/ 945462 w 3714"/>
                <a:gd name="T5" fmla="*/ 611498 h 7882"/>
                <a:gd name="T6" fmla="*/ 698929 w 3714"/>
                <a:gd name="T7" fmla="*/ 364596 h 7882"/>
                <a:gd name="T8" fmla="*/ 637386 w 3714"/>
                <a:gd name="T9" fmla="*/ 364596 h 7882"/>
                <a:gd name="T10" fmla="*/ 390493 w 3714"/>
                <a:gd name="T11" fmla="*/ 611498 h 7882"/>
                <a:gd name="T12" fmla="*/ 390493 w 3714"/>
                <a:gd name="T13" fmla="*/ 1200682 h 7882"/>
                <a:gd name="T14" fmla="*/ 389414 w 3714"/>
                <a:gd name="T15" fmla="*/ 1576795 h 7882"/>
                <a:gd name="T16" fmla="*/ 390493 w 3714"/>
                <a:gd name="T17" fmla="*/ 2224645 h 7882"/>
                <a:gd name="T18" fmla="*/ 637386 w 3714"/>
                <a:gd name="T19" fmla="*/ 2471548 h 7882"/>
                <a:gd name="T20" fmla="*/ 709366 w 3714"/>
                <a:gd name="T21" fmla="*/ 2471548 h 7882"/>
                <a:gd name="T22" fmla="*/ 955899 w 3714"/>
                <a:gd name="T23" fmla="*/ 2224645 h 7882"/>
                <a:gd name="T24" fmla="*/ 955899 w 3714"/>
                <a:gd name="T25" fmla="*/ 1906119 h 7882"/>
                <a:gd name="T26" fmla="*/ 1336315 w 3714"/>
                <a:gd name="T27" fmla="*/ 1906119 h 7882"/>
                <a:gd name="T28" fmla="*/ 1336315 w 3714"/>
                <a:gd name="T29" fmla="*/ 2209528 h 7882"/>
                <a:gd name="T30" fmla="*/ 709366 w 3714"/>
                <a:gd name="T31" fmla="*/ 2836503 h 7882"/>
                <a:gd name="T32" fmla="*/ 626949 w 3714"/>
                <a:gd name="T33" fmla="*/ 2836503 h 7882"/>
                <a:gd name="T34" fmla="*/ 0 w 3714"/>
                <a:gd name="T35" fmla="*/ 2258117 h 7882"/>
                <a:gd name="T36" fmla="*/ 0 w 3714"/>
                <a:gd name="T37" fmla="*/ 675564 h 7882"/>
                <a:gd name="T38" fmla="*/ 626949 w 3714"/>
                <a:gd name="T39" fmla="*/ 0 h 7882"/>
                <a:gd name="T40" fmla="*/ 709366 w 3714"/>
                <a:gd name="T41" fmla="*/ 0 h 7882"/>
                <a:gd name="T42" fmla="*/ 1336315 w 3714"/>
                <a:gd name="T43" fmla="*/ 626975 h 7882"/>
                <a:gd name="T44" fmla="*/ 1334875 w 3714"/>
                <a:gd name="T45" fmla="*/ 1576795 h 7882"/>
                <a:gd name="T46" fmla="*/ 389414 w 3714"/>
                <a:gd name="T47" fmla="*/ 1576795 h 7882"/>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3714" h="7882">
                  <a:moveTo>
                    <a:pt x="1085" y="3336"/>
                  </a:moveTo>
                  <a:lnTo>
                    <a:pt x="2627" y="3336"/>
                  </a:lnTo>
                  <a:lnTo>
                    <a:pt x="2627" y="1699"/>
                  </a:lnTo>
                  <a:cubicBezTo>
                    <a:pt x="2627" y="1242"/>
                    <a:pt x="2399" y="1013"/>
                    <a:pt x="1942" y="1013"/>
                  </a:cubicBezTo>
                  <a:lnTo>
                    <a:pt x="1771" y="1013"/>
                  </a:lnTo>
                  <a:cubicBezTo>
                    <a:pt x="1314" y="1013"/>
                    <a:pt x="1085" y="1242"/>
                    <a:pt x="1085" y="1699"/>
                  </a:cubicBezTo>
                  <a:lnTo>
                    <a:pt x="1085" y="3336"/>
                  </a:lnTo>
                  <a:close/>
                  <a:moveTo>
                    <a:pt x="1082" y="4381"/>
                  </a:moveTo>
                  <a:lnTo>
                    <a:pt x="1085" y="6181"/>
                  </a:lnTo>
                  <a:cubicBezTo>
                    <a:pt x="1085" y="6638"/>
                    <a:pt x="1314" y="6867"/>
                    <a:pt x="1771" y="6867"/>
                  </a:cubicBezTo>
                  <a:lnTo>
                    <a:pt x="1971" y="6867"/>
                  </a:lnTo>
                  <a:cubicBezTo>
                    <a:pt x="2428" y="6867"/>
                    <a:pt x="2656" y="6638"/>
                    <a:pt x="2656" y="6181"/>
                  </a:cubicBezTo>
                  <a:lnTo>
                    <a:pt x="2656" y="5296"/>
                  </a:lnTo>
                  <a:lnTo>
                    <a:pt x="3713" y="5296"/>
                  </a:lnTo>
                  <a:lnTo>
                    <a:pt x="3713" y="6139"/>
                  </a:lnTo>
                  <a:cubicBezTo>
                    <a:pt x="3713" y="7295"/>
                    <a:pt x="3127" y="7881"/>
                    <a:pt x="1971" y="7881"/>
                  </a:cubicBezTo>
                  <a:lnTo>
                    <a:pt x="1742" y="7881"/>
                  </a:lnTo>
                  <a:cubicBezTo>
                    <a:pt x="585" y="7881"/>
                    <a:pt x="0" y="7295"/>
                    <a:pt x="0" y="6274"/>
                  </a:cubicBezTo>
                  <a:lnTo>
                    <a:pt x="0" y="1877"/>
                  </a:lnTo>
                  <a:cubicBezTo>
                    <a:pt x="0" y="585"/>
                    <a:pt x="585" y="0"/>
                    <a:pt x="1742" y="0"/>
                  </a:cubicBezTo>
                  <a:lnTo>
                    <a:pt x="1971" y="0"/>
                  </a:lnTo>
                  <a:cubicBezTo>
                    <a:pt x="3127" y="0"/>
                    <a:pt x="3713" y="585"/>
                    <a:pt x="3713" y="1742"/>
                  </a:cubicBezTo>
                  <a:lnTo>
                    <a:pt x="3709" y="4381"/>
                  </a:lnTo>
                  <a:lnTo>
                    <a:pt x="1082" y="4381"/>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endParaRPr lang="en-US"/>
            </a:p>
          </p:txBody>
        </p:sp>
        <p:sp>
          <p:nvSpPr>
            <p:cNvPr id="10" name="Freeform 2">
              <a:extLst>
                <a:ext uri="{FF2B5EF4-FFF2-40B4-BE49-F238E27FC236}">
                  <a16:creationId xmlns:a16="http://schemas.microsoft.com/office/drawing/2014/main" id="{1AE1C1A8-CB9B-6D3D-4806-B2DC0C6F9FDE}"/>
                </a:ext>
              </a:extLst>
            </p:cNvPr>
            <p:cNvSpPr>
              <a:spLocks noChangeArrowheads="1"/>
            </p:cNvSpPr>
            <p:nvPr/>
          </p:nvSpPr>
          <p:spPr bwMode="auto">
            <a:xfrm>
              <a:off x="3109913" y="2035175"/>
              <a:ext cx="1368425" cy="3532188"/>
            </a:xfrm>
            <a:custGeom>
              <a:avLst/>
              <a:gdLst>
                <a:gd name="T0" fmla="*/ 390721 w 3800"/>
                <a:gd name="T1" fmla="*/ 2322993 h 9812"/>
                <a:gd name="T2" fmla="*/ 750833 w 3800"/>
                <a:gd name="T3" fmla="*/ 2466628 h 9812"/>
                <a:gd name="T4" fmla="*/ 976983 w 3800"/>
                <a:gd name="T5" fmla="*/ 2240556 h 9812"/>
                <a:gd name="T6" fmla="*/ 976983 w 3800"/>
                <a:gd name="T7" fmla="*/ 596138 h 9812"/>
                <a:gd name="T8" fmla="*/ 750833 w 3800"/>
                <a:gd name="T9" fmla="*/ 370066 h 9812"/>
                <a:gd name="T10" fmla="*/ 390721 w 3800"/>
                <a:gd name="T11" fmla="*/ 514061 h 9812"/>
                <a:gd name="T12" fmla="*/ 390721 w 3800"/>
                <a:gd name="T13" fmla="*/ 2322993 h 9812"/>
                <a:gd name="T14" fmla="*/ 0 w 3800"/>
                <a:gd name="T15" fmla="*/ 30599 h 9812"/>
                <a:gd name="T16" fmla="*/ 390721 w 3800"/>
                <a:gd name="T17" fmla="*/ 30599 h 9812"/>
                <a:gd name="T18" fmla="*/ 390721 w 3800"/>
                <a:gd name="T19" fmla="*/ 210592 h 9812"/>
                <a:gd name="T20" fmla="*/ 868950 w 3800"/>
                <a:gd name="T21" fmla="*/ 0 h 9812"/>
                <a:gd name="T22" fmla="*/ 1368065 w 3800"/>
                <a:gd name="T23" fmla="*/ 549699 h 9812"/>
                <a:gd name="T24" fmla="*/ 1368065 w 3800"/>
                <a:gd name="T25" fmla="*/ 2286995 h 9812"/>
                <a:gd name="T26" fmla="*/ 868950 w 3800"/>
                <a:gd name="T27" fmla="*/ 2837054 h 9812"/>
                <a:gd name="T28" fmla="*/ 390721 w 3800"/>
                <a:gd name="T29" fmla="*/ 2636541 h 9812"/>
                <a:gd name="T30" fmla="*/ 390721 w 3800"/>
                <a:gd name="T31" fmla="*/ 3531828 h 9812"/>
                <a:gd name="T32" fmla="*/ 0 w 3800"/>
                <a:gd name="T33" fmla="*/ 3531828 h 9812"/>
                <a:gd name="T34" fmla="*/ 0 w 3800"/>
                <a:gd name="T35" fmla="*/ 30599 h 9812"/>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3800" h="9812">
                  <a:moveTo>
                    <a:pt x="1085" y="6453"/>
                  </a:moveTo>
                  <a:cubicBezTo>
                    <a:pt x="1385" y="6710"/>
                    <a:pt x="1728" y="6852"/>
                    <a:pt x="2085" y="6852"/>
                  </a:cubicBezTo>
                  <a:cubicBezTo>
                    <a:pt x="2485" y="6852"/>
                    <a:pt x="2713" y="6667"/>
                    <a:pt x="2713" y="6224"/>
                  </a:cubicBezTo>
                  <a:lnTo>
                    <a:pt x="2713" y="1656"/>
                  </a:lnTo>
                  <a:cubicBezTo>
                    <a:pt x="2713" y="1213"/>
                    <a:pt x="2485" y="1028"/>
                    <a:pt x="2085" y="1028"/>
                  </a:cubicBezTo>
                  <a:cubicBezTo>
                    <a:pt x="1728" y="1028"/>
                    <a:pt x="1385" y="1170"/>
                    <a:pt x="1085" y="1428"/>
                  </a:cubicBezTo>
                  <a:lnTo>
                    <a:pt x="1085" y="6453"/>
                  </a:lnTo>
                  <a:close/>
                  <a:moveTo>
                    <a:pt x="0" y="85"/>
                  </a:moveTo>
                  <a:lnTo>
                    <a:pt x="1085" y="85"/>
                  </a:lnTo>
                  <a:lnTo>
                    <a:pt x="1085" y="585"/>
                  </a:lnTo>
                  <a:cubicBezTo>
                    <a:pt x="1342" y="314"/>
                    <a:pt x="1785" y="0"/>
                    <a:pt x="2413" y="0"/>
                  </a:cubicBezTo>
                  <a:cubicBezTo>
                    <a:pt x="3342" y="0"/>
                    <a:pt x="3799" y="614"/>
                    <a:pt x="3799" y="1527"/>
                  </a:cubicBezTo>
                  <a:lnTo>
                    <a:pt x="3799" y="6353"/>
                  </a:lnTo>
                  <a:cubicBezTo>
                    <a:pt x="3799" y="7267"/>
                    <a:pt x="3342" y="7881"/>
                    <a:pt x="2413" y="7881"/>
                  </a:cubicBezTo>
                  <a:cubicBezTo>
                    <a:pt x="1785" y="7881"/>
                    <a:pt x="1342" y="7581"/>
                    <a:pt x="1085" y="7324"/>
                  </a:cubicBezTo>
                  <a:lnTo>
                    <a:pt x="1085" y="9811"/>
                  </a:lnTo>
                  <a:lnTo>
                    <a:pt x="0" y="9811"/>
                  </a:lnTo>
                  <a:lnTo>
                    <a:pt x="0" y="85"/>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endParaRPr lang="en-US"/>
            </a:p>
          </p:txBody>
        </p:sp>
        <p:sp>
          <p:nvSpPr>
            <p:cNvPr id="11" name="Freeform 3">
              <a:extLst>
                <a:ext uri="{FF2B5EF4-FFF2-40B4-BE49-F238E27FC236}">
                  <a16:creationId xmlns:a16="http://schemas.microsoft.com/office/drawing/2014/main" id="{7522EC0A-0230-018A-336C-E2CE816B4966}"/>
                </a:ext>
              </a:extLst>
            </p:cNvPr>
            <p:cNvSpPr>
              <a:spLocks noChangeArrowheads="1"/>
            </p:cNvSpPr>
            <p:nvPr/>
          </p:nvSpPr>
          <p:spPr bwMode="auto">
            <a:xfrm>
              <a:off x="4711700" y="2035175"/>
              <a:ext cx="1328738" cy="2836863"/>
            </a:xfrm>
            <a:custGeom>
              <a:avLst/>
              <a:gdLst>
                <a:gd name="T0" fmla="*/ 937679 w 3690"/>
                <a:gd name="T1" fmla="*/ 2338019 h 7882"/>
                <a:gd name="T2" fmla="*/ 937679 w 3690"/>
                <a:gd name="T3" fmla="*/ 1422750 h 7882"/>
                <a:gd name="T4" fmla="*/ 582988 w 3690"/>
                <a:gd name="T5" fmla="*/ 1556999 h 7882"/>
                <a:gd name="T6" fmla="*/ 392500 w 3690"/>
                <a:gd name="T7" fmla="*/ 1844573 h 7882"/>
                <a:gd name="T8" fmla="*/ 392500 w 3690"/>
                <a:gd name="T9" fmla="*/ 2266035 h 7882"/>
                <a:gd name="T10" fmla="*/ 582988 w 3690"/>
                <a:gd name="T11" fmla="*/ 2466149 h 7882"/>
                <a:gd name="T12" fmla="*/ 937679 w 3690"/>
                <a:gd name="T13" fmla="*/ 2338019 h 7882"/>
                <a:gd name="T14" fmla="*/ 2161 w 3690"/>
                <a:gd name="T15" fmla="*/ 1839174 h 7882"/>
                <a:gd name="T16" fmla="*/ 413025 w 3690"/>
                <a:gd name="T17" fmla="*/ 1253950 h 7882"/>
                <a:gd name="T18" fmla="*/ 937679 w 3690"/>
                <a:gd name="T19" fmla="*/ 1073991 h 7882"/>
                <a:gd name="T20" fmla="*/ 937679 w 3690"/>
                <a:gd name="T21" fmla="*/ 611498 h 7882"/>
                <a:gd name="T22" fmla="*/ 690656 w 3690"/>
                <a:gd name="T23" fmla="*/ 359557 h 7882"/>
                <a:gd name="T24" fmla="*/ 627280 w 3690"/>
                <a:gd name="T25" fmla="*/ 359557 h 7882"/>
                <a:gd name="T26" fmla="*/ 380257 w 3690"/>
                <a:gd name="T27" fmla="*/ 611498 h 7882"/>
                <a:gd name="T28" fmla="*/ 380257 w 3690"/>
                <a:gd name="T29" fmla="*/ 1004527 h 7882"/>
                <a:gd name="T30" fmla="*/ 0 w 3690"/>
                <a:gd name="T31" fmla="*/ 1004527 h 7882"/>
                <a:gd name="T32" fmla="*/ 0 w 3690"/>
                <a:gd name="T33" fmla="*/ 626975 h 7882"/>
                <a:gd name="T34" fmla="*/ 627280 w 3690"/>
                <a:gd name="T35" fmla="*/ 0 h 7882"/>
                <a:gd name="T36" fmla="*/ 701098 w 3690"/>
                <a:gd name="T37" fmla="*/ 0 h 7882"/>
                <a:gd name="T38" fmla="*/ 1328378 w 3690"/>
                <a:gd name="T39" fmla="*/ 626975 h 7882"/>
                <a:gd name="T40" fmla="*/ 1328378 w 3690"/>
                <a:gd name="T41" fmla="*/ 2805550 h 7882"/>
                <a:gd name="T42" fmla="*/ 937679 w 3690"/>
                <a:gd name="T43" fmla="*/ 2805550 h 7882"/>
                <a:gd name="T44" fmla="*/ 937679 w 3690"/>
                <a:gd name="T45" fmla="*/ 2630631 h 7882"/>
                <a:gd name="T46" fmla="*/ 459477 w 3690"/>
                <a:gd name="T47" fmla="*/ 2836503 h 7882"/>
                <a:gd name="T48" fmla="*/ 2161 w 3690"/>
                <a:gd name="T49" fmla="*/ 2348096 h 7882"/>
                <a:gd name="T50" fmla="*/ 2161 w 3690"/>
                <a:gd name="T51" fmla="*/ 1839174 h 7882"/>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3690" h="7882">
                  <a:moveTo>
                    <a:pt x="2604" y="6496"/>
                  </a:moveTo>
                  <a:lnTo>
                    <a:pt x="2604" y="3953"/>
                  </a:lnTo>
                  <a:lnTo>
                    <a:pt x="1619" y="4326"/>
                  </a:lnTo>
                  <a:cubicBezTo>
                    <a:pt x="1219" y="4483"/>
                    <a:pt x="1090" y="4683"/>
                    <a:pt x="1090" y="5125"/>
                  </a:cubicBezTo>
                  <a:lnTo>
                    <a:pt x="1090" y="6296"/>
                  </a:lnTo>
                  <a:cubicBezTo>
                    <a:pt x="1090" y="6667"/>
                    <a:pt x="1276" y="6852"/>
                    <a:pt x="1619" y="6852"/>
                  </a:cubicBezTo>
                  <a:cubicBezTo>
                    <a:pt x="1947" y="6852"/>
                    <a:pt x="2247" y="6738"/>
                    <a:pt x="2604" y="6496"/>
                  </a:cubicBezTo>
                  <a:close/>
                  <a:moveTo>
                    <a:pt x="6" y="5110"/>
                  </a:moveTo>
                  <a:cubicBezTo>
                    <a:pt x="6" y="4155"/>
                    <a:pt x="320" y="3769"/>
                    <a:pt x="1147" y="3484"/>
                  </a:cubicBezTo>
                  <a:lnTo>
                    <a:pt x="2604" y="2984"/>
                  </a:lnTo>
                  <a:lnTo>
                    <a:pt x="2604" y="1699"/>
                  </a:lnTo>
                  <a:cubicBezTo>
                    <a:pt x="2604" y="1242"/>
                    <a:pt x="2375" y="999"/>
                    <a:pt x="1918" y="999"/>
                  </a:cubicBezTo>
                  <a:lnTo>
                    <a:pt x="1742" y="999"/>
                  </a:lnTo>
                  <a:cubicBezTo>
                    <a:pt x="1285" y="999"/>
                    <a:pt x="1056" y="1242"/>
                    <a:pt x="1056" y="1699"/>
                  </a:cubicBezTo>
                  <a:lnTo>
                    <a:pt x="1056" y="2791"/>
                  </a:lnTo>
                  <a:lnTo>
                    <a:pt x="0" y="2791"/>
                  </a:lnTo>
                  <a:lnTo>
                    <a:pt x="0" y="1742"/>
                  </a:lnTo>
                  <a:cubicBezTo>
                    <a:pt x="0" y="585"/>
                    <a:pt x="586" y="0"/>
                    <a:pt x="1742" y="0"/>
                  </a:cubicBezTo>
                  <a:lnTo>
                    <a:pt x="1947" y="0"/>
                  </a:lnTo>
                  <a:cubicBezTo>
                    <a:pt x="3104" y="0"/>
                    <a:pt x="3689" y="585"/>
                    <a:pt x="3689" y="1742"/>
                  </a:cubicBezTo>
                  <a:lnTo>
                    <a:pt x="3689" y="7795"/>
                  </a:lnTo>
                  <a:lnTo>
                    <a:pt x="2604" y="7795"/>
                  </a:lnTo>
                  <a:lnTo>
                    <a:pt x="2604" y="7309"/>
                  </a:lnTo>
                  <a:cubicBezTo>
                    <a:pt x="2304" y="7595"/>
                    <a:pt x="1904" y="7881"/>
                    <a:pt x="1276" y="7881"/>
                  </a:cubicBezTo>
                  <a:cubicBezTo>
                    <a:pt x="406" y="7881"/>
                    <a:pt x="6" y="7381"/>
                    <a:pt x="6" y="6524"/>
                  </a:cubicBezTo>
                  <a:lnTo>
                    <a:pt x="6" y="5110"/>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endParaRPr lang="en-US"/>
            </a:p>
          </p:txBody>
        </p:sp>
        <p:sp>
          <p:nvSpPr>
            <p:cNvPr id="12" name="Freeform 4">
              <a:extLst>
                <a:ext uri="{FF2B5EF4-FFF2-40B4-BE49-F238E27FC236}">
                  <a16:creationId xmlns:a16="http://schemas.microsoft.com/office/drawing/2014/main" id="{2A2BE236-9369-2026-BCC4-C759754676C8}"/>
                </a:ext>
              </a:extLst>
            </p:cNvPr>
            <p:cNvSpPr>
              <a:spLocks noChangeArrowheads="1"/>
            </p:cNvSpPr>
            <p:nvPr/>
          </p:nvSpPr>
          <p:spPr bwMode="auto">
            <a:xfrm>
              <a:off x="6292850" y="2035175"/>
              <a:ext cx="2262188" cy="2806700"/>
            </a:xfrm>
            <a:custGeom>
              <a:avLst/>
              <a:gdLst>
                <a:gd name="T0" fmla="*/ 1326358 w 6285"/>
                <a:gd name="T1" fmla="*/ 2806340 h 7796"/>
                <a:gd name="T2" fmla="*/ 935470 w 6285"/>
                <a:gd name="T3" fmla="*/ 2806340 h 7796"/>
                <a:gd name="T4" fmla="*/ 935470 w 6285"/>
                <a:gd name="T5" fmla="*/ 570628 h 7796"/>
                <a:gd name="T6" fmla="*/ 750463 w 6285"/>
                <a:gd name="T7" fmla="*/ 370098 h 7796"/>
                <a:gd name="T8" fmla="*/ 390889 w 6285"/>
                <a:gd name="T9" fmla="*/ 508705 h 7796"/>
                <a:gd name="T10" fmla="*/ 390889 w 6285"/>
                <a:gd name="T11" fmla="*/ 2806340 h 7796"/>
                <a:gd name="T12" fmla="*/ 0 w 6285"/>
                <a:gd name="T13" fmla="*/ 2806340 h 7796"/>
                <a:gd name="T14" fmla="*/ 0 w 6285"/>
                <a:gd name="T15" fmla="*/ 30602 h 7796"/>
                <a:gd name="T16" fmla="*/ 390889 w 6285"/>
                <a:gd name="T17" fmla="*/ 30602 h 7796"/>
                <a:gd name="T18" fmla="*/ 390889 w 6285"/>
                <a:gd name="T19" fmla="*/ 210611 h 7796"/>
                <a:gd name="T20" fmla="*/ 868882 w 6285"/>
                <a:gd name="T21" fmla="*/ 0 h 7796"/>
                <a:gd name="T22" fmla="*/ 1274888 w 6285"/>
                <a:gd name="T23" fmla="*/ 226091 h 7796"/>
                <a:gd name="T24" fmla="*/ 1804351 w 6285"/>
                <a:gd name="T25" fmla="*/ 0 h 7796"/>
                <a:gd name="T26" fmla="*/ 2261828 w 6285"/>
                <a:gd name="T27" fmla="*/ 488184 h 7796"/>
                <a:gd name="T28" fmla="*/ 2261828 w 6285"/>
                <a:gd name="T29" fmla="*/ 2806340 h 7796"/>
                <a:gd name="T30" fmla="*/ 1870939 w 6285"/>
                <a:gd name="T31" fmla="*/ 2806340 h 7796"/>
                <a:gd name="T32" fmla="*/ 1870939 w 6285"/>
                <a:gd name="T33" fmla="*/ 570628 h 7796"/>
                <a:gd name="T34" fmla="*/ 1685933 w 6285"/>
                <a:gd name="T35" fmla="*/ 370098 h 7796"/>
                <a:gd name="T36" fmla="*/ 1326358 w 6285"/>
                <a:gd name="T37" fmla="*/ 508705 h 7796"/>
                <a:gd name="T38" fmla="*/ 1326358 w 6285"/>
                <a:gd name="T39" fmla="*/ 2806340 h 779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6285" h="7796">
                  <a:moveTo>
                    <a:pt x="3685" y="7795"/>
                  </a:moveTo>
                  <a:lnTo>
                    <a:pt x="2599" y="7795"/>
                  </a:lnTo>
                  <a:lnTo>
                    <a:pt x="2599" y="1585"/>
                  </a:lnTo>
                  <a:cubicBezTo>
                    <a:pt x="2599" y="1199"/>
                    <a:pt x="2414" y="1028"/>
                    <a:pt x="2085" y="1028"/>
                  </a:cubicBezTo>
                  <a:cubicBezTo>
                    <a:pt x="1785" y="1028"/>
                    <a:pt x="1471" y="1142"/>
                    <a:pt x="1086" y="1413"/>
                  </a:cubicBezTo>
                  <a:lnTo>
                    <a:pt x="1086" y="7795"/>
                  </a:lnTo>
                  <a:lnTo>
                    <a:pt x="0" y="7795"/>
                  </a:lnTo>
                  <a:lnTo>
                    <a:pt x="0" y="85"/>
                  </a:lnTo>
                  <a:lnTo>
                    <a:pt x="1086" y="85"/>
                  </a:lnTo>
                  <a:lnTo>
                    <a:pt x="1086" y="585"/>
                  </a:lnTo>
                  <a:cubicBezTo>
                    <a:pt x="1400" y="285"/>
                    <a:pt x="1814" y="0"/>
                    <a:pt x="2414" y="0"/>
                  </a:cubicBezTo>
                  <a:cubicBezTo>
                    <a:pt x="2971" y="0"/>
                    <a:pt x="3342" y="228"/>
                    <a:pt x="3542" y="628"/>
                  </a:cubicBezTo>
                  <a:cubicBezTo>
                    <a:pt x="3928" y="299"/>
                    <a:pt x="4385" y="0"/>
                    <a:pt x="5013" y="0"/>
                  </a:cubicBezTo>
                  <a:cubicBezTo>
                    <a:pt x="5855" y="0"/>
                    <a:pt x="6284" y="514"/>
                    <a:pt x="6284" y="1356"/>
                  </a:cubicBezTo>
                  <a:lnTo>
                    <a:pt x="6284" y="7795"/>
                  </a:lnTo>
                  <a:lnTo>
                    <a:pt x="5198" y="7795"/>
                  </a:lnTo>
                  <a:lnTo>
                    <a:pt x="5198" y="1585"/>
                  </a:lnTo>
                  <a:cubicBezTo>
                    <a:pt x="5198" y="1199"/>
                    <a:pt x="5013" y="1028"/>
                    <a:pt x="4684" y="1028"/>
                  </a:cubicBezTo>
                  <a:cubicBezTo>
                    <a:pt x="4385" y="1028"/>
                    <a:pt x="4070" y="1142"/>
                    <a:pt x="3685" y="1413"/>
                  </a:cubicBezTo>
                  <a:lnTo>
                    <a:pt x="3685" y="7795"/>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endParaRPr lang="en-US"/>
            </a:p>
          </p:txBody>
        </p:sp>
        <p:sp>
          <p:nvSpPr>
            <p:cNvPr id="13" name="Freeform 5">
              <a:extLst>
                <a:ext uri="{FF2B5EF4-FFF2-40B4-BE49-F238E27FC236}">
                  <a16:creationId xmlns:a16="http://schemas.microsoft.com/office/drawing/2014/main" id="{90E930F7-EC2F-50BA-E43B-92F24C4238ED}"/>
                </a:ext>
              </a:extLst>
            </p:cNvPr>
            <p:cNvSpPr>
              <a:spLocks noChangeArrowheads="1"/>
            </p:cNvSpPr>
            <p:nvPr/>
          </p:nvSpPr>
          <p:spPr bwMode="auto">
            <a:xfrm>
              <a:off x="14288" y="2322513"/>
              <a:ext cx="1004887" cy="2274887"/>
            </a:xfrm>
            <a:custGeom>
              <a:avLst/>
              <a:gdLst>
                <a:gd name="T0" fmla="*/ 1004527 w 2790"/>
                <a:gd name="T1" fmla="*/ 0 h 6317"/>
                <a:gd name="T2" fmla="*/ 1004527 w 2790"/>
                <a:gd name="T3" fmla="*/ 510652 h 6317"/>
                <a:gd name="T4" fmla="*/ 346488 w 2790"/>
                <a:gd name="T5" fmla="*/ 1137624 h 6317"/>
                <a:gd name="T6" fmla="*/ 1004527 w 2790"/>
                <a:gd name="T7" fmla="*/ 1752711 h 6317"/>
                <a:gd name="T8" fmla="*/ 1004527 w 2790"/>
                <a:gd name="T9" fmla="*/ 2274527 h 6317"/>
                <a:gd name="T10" fmla="*/ 0 w 2790"/>
                <a:gd name="T11" fmla="*/ 1331009 h 6317"/>
                <a:gd name="T12" fmla="*/ 0 w 2790"/>
                <a:gd name="T13" fmla="*/ 955042 h 6317"/>
                <a:gd name="T14" fmla="*/ 1004527 w 2790"/>
                <a:gd name="T15" fmla="*/ 0 h 6317"/>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2790" h="6317">
                  <a:moveTo>
                    <a:pt x="2789" y="0"/>
                  </a:moveTo>
                  <a:lnTo>
                    <a:pt x="2789" y="1418"/>
                  </a:lnTo>
                  <a:lnTo>
                    <a:pt x="962" y="3159"/>
                  </a:lnTo>
                  <a:lnTo>
                    <a:pt x="2789" y="4867"/>
                  </a:lnTo>
                  <a:lnTo>
                    <a:pt x="2789" y="6316"/>
                  </a:lnTo>
                  <a:lnTo>
                    <a:pt x="0" y="3696"/>
                  </a:lnTo>
                  <a:lnTo>
                    <a:pt x="0" y="2652"/>
                  </a:lnTo>
                  <a:lnTo>
                    <a:pt x="2789"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endParaRPr lang="en-US"/>
            </a:p>
          </p:txBody>
        </p:sp>
        <p:sp>
          <p:nvSpPr>
            <p:cNvPr id="14" name="Freeform 6">
              <a:extLst>
                <a:ext uri="{FF2B5EF4-FFF2-40B4-BE49-F238E27FC236}">
                  <a16:creationId xmlns:a16="http://schemas.microsoft.com/office/drawing/2014/main" id="{A78F1116-5C4F-286E-78AA-BE123AD6CBCC}"/>
                </a:ext>
              </a:extLst>
            </p:cNvPr>
            <p:cNvSpPr>
              <a:spLocks noChangeArrowheads="1"/>
            </p:cNvSpPr>
            <p:nvPr/>
          </p:nvSpPr>
          <p:spPr bwMode="auto">
            <a:xfrm>
              <a:off x="9050338" y="2322513"/>
              <a:ext cx="1003300" cy="2274887"/>
            </a:xfrm>
            <a:custGeom>
              <a:avLst/>
              <a:gdLst>
                <a:gd name="T0" fmla="*/ 1002940 w 2789"/>
                <a:gd name="T1" fmla="*/ 955042 h 6317"/>
                <a:gd name="T2" fmla="*/ 1002940 w 2789"/>
                <a:gd name="T3" fmla="*/ 1331009 h 6317"/>
                <a:gd name="T4" fmla="*/ 0 w 2789"/>
                <a:gd name="T5" fmla="*/ 2274527 h 6317"/>
                <a:gd name="T6" fmla="*/ 0 w 2789"/>
                <a:gd name="T7" fmla="*/ 1752711 h 6317"/>
                <a:gd name="T8" fmla="*/ 656876 w 2789"/>
                <a:gd name="T9" fmla="*/ 1137624 h 6317"/>
                <a:gd name="T10" fmla="*/ 0 w 2789"/>
                <a:gd name="T11" fmla="*/ 510652 h 6317"/>
                <a:gd name="T12" fmla="*/ 0 w 2789"/>
                <a:gd name="T13" fmla="*/ 0 h 6317"/>
                <a:gd name="T14" fmla="*/ 1002940 w 2789"/>
                <a:gd name="T15" fmla="*/ 955042 h 6317"/>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2789" h="6317">
                  <a:moveTo>
                    <a:pt x="2788" y="2652"/>
                  </a:moveTo>
                  <a:lnTo>
                    <a:pt x="2788" y="3696"/>
                  </a:lnTo>
                  <a:lnTo>
                    <a:pt x="0" y="6316"/>
                  </a:lnTo>
                  <a:lnTo>
                    <a:pt x="0" y="4867"/>
                  </a:lnTo>
                  <a:lnTo>
                    <a:pt x="1826" y="3159"/>
                  </a:lnTo>
                  <a:lnTo>
                    <a:pt x="0" y="1418"/>
                  </a:lnTo>
                  <a:lnTo>
                    <a:pt x="0" y="0"/>
                  </a:lnTo>
                  <a:lnTo>
                    <a:pt x="2788" y="2652"/>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endParaRPr lang="en-US"/>
            </a:p>
          </p:txBody>
        </p:sp>
      </p:grpSp>
      <p:sp>
        <p:nvSpPr>
          <p:cNvPr id="15" name="Footer Placeholder 14">
            <a:extLst>
              <a:ext uri="{FF2B5EF4-FFF2-40B4-BE49-F238E27FC236}">
                <a16:creationId xmlns:a16="http://schemas.microsoft.com/office/drawing/2014/main" id="{FC52D9B4-7CE5-88D0-0082-025C1FDFBB98}"/>
              </a:ext>
            </a:extLst>
          </p:cNvPr>
          <p:cNvSpPr txBox="1">
            <a:spLocks/>
          </p:cNvSpPr>
          <p:nvPr userDrawn="1"/>
        </p:nvSpPr>
        <p:spPr>
          <a:xfrm>
            <a:off x="1206203" y="6411603"/>
            <a:ext cx="2157779" cy="228599"/>
          </a:xfrm>
          <a:prstGeom prst="rect">
            <a:avLst/>
          </a:prstGeom>
        </p:spPr>
        <p:txBody>
          <a:bodyPr vert="horz" lIns="0" tIns="0" rIns="0" bIns="0" rtlCol="0" anchor="ctr"/>
          <a:lstStyle>
            <a:defPPr>
              <a:defRPr lang="en-US"/>
            </a:defPPr>
            <a:lvl1pPr marL="0" algn="r" defTabSz="914400" rtl="0" eaLnBrk="1" latinLnBrk="0" hangingPunct="1">
              <a:defRPr sz="600" b="0" i="0" kern="1200">
                <a:solidFill>
                  <a:schemeClr val="tx1"/>
                </a:solidFill>
                <a:latin typeface="+mn-lt"/>
                <a:ea typeface="Calibri" panose="020F0502020204030204" pitchFamily="34" charset="0"/>
                <a:cs typeface="Calibri" panose="020F050202020403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b="0" i="0">
                <a:solidFill>
                  <a:schemeClr val="bg1"/>
                </a:solidFill>
                <a:latin typeface="+mn-lt"/>
              </a:rPr>
              <a:t>EPAM Proprietary &amp; Confidential</a:t>
            </a:r>
            <a:r>
              <a:rPr lang="ru-RU" b="0" i="0">
                <a:solidFill>
                  <a:schemeClr val="bg1"/>
                </a:solidFill>
                <a:latin typeface="+mn-lt"/>
              </a:rPr>
              <a:t> </a:t>
            </a:r>
            <a:endParaRPr lang="en-US" b="0" i="0">
              <a:solidFill>
                <a:schemeClr val="bg1"/>
              </a:solidFill>
              <a:latin typeface="+mn-lt"/>
            </a:endParaRPr>
          </a:p>
        </p:txBody>
      </p:sp>
      <p:pic>
        <p:nvPicPr>
          <p:cNvPr id="18" name="Graphic 17">
            <a:extLst>
              <a:ext uri="{FF2B5EF4-FFF2-40B4-BE49-F238E27FC236}">
                <a16:creationId xmlns:a16="http://schemas.microsoft.com/office/drawing/2014/main" id="{9033DDED-1FA6-AAD1-3D0B-5C45F6BC82D6}"/>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820266" y="6419060"/>
            <a:ext cx="762921" cy="205636"/>
          </a:xfrm>
          <a:prstGeom prst="rect">
            <a:avLst/>
          </a:prstGeom>
        </p:spPr>
      </p:pic>
    </p:spTree>
    <p:extLst>
      <p:ext uri="{BB962C8B-B14F-4D97-AF65-F5344CB8AC3E}">
        <p14:creationId xmlns:p14="http://schemas.microsoft.com/office/powerpoint/2010/main" val="112762077"/>
      </p:ext>
    </p:extLst>
  </p:cSld>
  <p:clrMapOvr>
    <a:masterClrMapping/>
  </p:clrMapOvr>
  <p:extLst>
    <p:ext uri="{DCECCB84-F9BA-43D5-87BE-67443E8EF086}">
      <p15:sldGuideLst xmlns:p15="http://schemas.microsoft.com/office/powerpoint/2012/main"/>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3-Columns with subtitles">
    <p:spTree>
      <p:nvGrpSpPr>
        <p:cNvPr id="1" name=""/>
        <p:cNvGrpSpPr/>
        <p:nvPr/>
      </p:nvGrpSpPr>
      <p:grpSpPr>
        <a:xfrm>
          <a:off x="0" y="0"/>
          <a:ext cx="0" cy="0"/>
          <a:chOff x="0" y="0"/>
          <a:chExt cx="0" cy="0"/>
        </a:xfrm>
      </p:grpSpPr>
      <p:sp>
        <p:nvSpPr>
          <p:cNvPr id="2" name="Text Placeholder 4">
            <a:extLst>
              <a:ext uri="{FF2B5EF4-FFF2-40B4-BE49-F238E27FC236}">
                <a16:creationId xmlns:a16="http://schemas.microsoft.com/office/drawing/2014/main" id="{2E2944DF-2B21-98CE-CD60-C3C4CE3FDD89}"/>
              </a:ext>
            </a:extLst>
          </p:cNvPr>
          <p:cNvSpPr>
            <a:spLocks noGrp="1"/>
          </p:cNvSpPr>
          <p:nvPr>
            <p:ph type="body" sz="quarter" idx="16" hasCustomPrompt="1"/>
          </p:nvPr>
        </p:nvSpPr>
        <p:spPr>
          <a:xfrm>
            <a:off x="647700" y="2698291"/>
            <a:ext cx="3346076" cy="2035109"/>
          </a:xfrm>
          <a:prstGeom prst="rect">
            <a:avLst/>
          </a:prstGeom>
        </p:spPr>
        <p:txBody>
          <a:bodyPr wrap="square" anchor="t" anchorCtr="0">
            <a:spAutoFit/>
          </a:bodyPr>
          <a:lstStyle>
            <a:lvl1pPr marL="0" marR="0" indent="0" algn="l" defTabSz="914400" rtl="0" eaLnBrk="1" fontAlgn="auto" latinLnBrk="0" hangingPunct="1">
              <a:lnSpc>
                <a:spcPts val="2000"/>
              </a:lnSpc>
              <a:spcBef>
                <a:spcPts val="600"/>
              </a:spcBef>
              <a:spcAft>
                <a:spcPts val="0"/>
              </a:spcAft>
              <a:buClrTx/>
              <a:buSzTx/>
              <a:buFont typeface="Arial" panose="020B0604020202020204" pitchFamily="34" charset="0"/>
              <a:buNone/>
              <a:tabLst/>
              <a:defRPr sz="1400" b="0" i="0">
                <a:solidFill>
                  <a:schemeClr val="tx1"/>
                </a:solidFill>
                <a:latin typeface="Calibri Light" panose="020F0302020204030204" pitchFamily="34" charset="0"/>
                <a:cs typeface="Calibri Light" panose="020F0302020204030204" pitchFamily="34" charset="0"/>
              </a:defRPr>
            </a:lvl1pPr>
          </a:lstStyle>
          <a:p>
            <a:r>
              <a:rPr lang="en-US"/>
              <a:t>Lorem ipsum </a:t>
            </a:r>
            <a:r>
              <a:rPr lang="en-US" err="1"/>
              <a:t>nulla</a:t>
            </a:r>
            <a:r>
              <a:rPr lang="en-US"/>
              <a:t> </a:t>
            </a:r>
            <a:r>
              <a:rPr lang="en-US" err="1"/>
              <a:t>primis</a:t>
            </a:r>
            <a:r>
              <a:rPr lang="en-US"/>
              <a:t> eros mi </a:t>
            </a:r>
            <a:r>
              <a:rPr lang="en-US" err="1"/>
              <a:t>maecenas</a:t>
            </a:r>
            <a:r>
              <a:rPr lang="en-US"/>
              <a:t> ligula magna, </a:t>
            </a:r>
            <a:r>
              <a:rPr lang="en-US" err="1"/>
              <a:t>nibh</a:t>
            </a:r>
            <a:r>
              <a:rPr lang="en-US"/>
              <a:t> </a:t>
            </a:r>
            <a:r>
              <a:rPr lang="en-US" err="1"/>
              <a:t>commodo</a:t>
            </a:r>
            <a:r>
              <a:rPr lang="en-US"/>
              <a:t> </a:t>
            </a:r>
            <a:r>
              <a:rPr lang="en-US" err="1"/>
              <a:t>aenean</a:t>
            </a:r>
            <a:r>
              <a:rPr lang="en-US"/>
              <a:t> </a:t>
            </a:r>
            <a:r>
              <a:rPr lang="en-US" err="1"/>
              <a:t>leo</a:t>
            </a:r>
            <a:r>
              <a:rPr lang="en-US"/>
              <a:t> porta </a:t>
            </a:r>
            <a:r>
              <a:rPr lang="en-US" err="1"/>
              <a:t>duis</a:t>
            </a:r>
            <a:r>
              <a:rPr lang="en-US"/>
              <a:t> magna </a:t>
            </a:r>
            <a:r>
              <a:rPr lang="en-US" err="1"/>
              <a:t>felis</a:t>
            </a:r>
            <a:r>
              <a:rPr lang="en-US"/>
              <a:t> </a:t>
            </a:r>
            <a:r>
              <a:rPr lang="en-US" err="1"/>
              <a:t>bibendum</a:t>
            </a:r>
            <a:r>
              <a:rPr lang="en-US"/>
              <a:t> </a:t>
            </a:r>
            <a:r>
              <a:rPr lang="en-US" err="1"/>
              <a:t>tempor</a:t>
            </a:r>
            <a:r>
              <a:rPr lang="en-US"/>
              <a:t> </a:t>
            </a:r>
            <a:r>
              <a:rPr lang="en-US" err="1"/>
              <a:t>cubilia</a:t>
            </a:r>
            <a:r>
              <a:rPr lang="en-US"/>
              <a:t> gravida </a:t>
            </a:r>
            <a:r>
              <a:rPr lang="en-US" err="1"/>
              <a:t>molestie</a:t>
            </a:r>
            <a:r>
              <a:rPr lang="en-US"/>
              <a:t> a </a:t>
            </a:r>
            <a:r>
              <a:rPr lang="en-US" err="1"/>
              <a:t>pretium</a:t>
            </a:r>
            <a:r>
              <a:rPr lang="en-US"/>
              <a:t> </a:t>
            </a:r>
            <a:r>
              <a:rPr lang="en-US" err="1"/>
              <a:t>egestas</a:t>
            </a:r>
            <a:r>
              <a:rPr lang="en-US"/>
              <a:t> </a:t>
            </a:r>
            <a:r>
              <a:rPr lang="en-US" err="1"/>
              <a:t>iaculis</a:t>
            </a:r>
            <a:r>
              <a:rPr lang="en-US"/>
              <a:t> per, eros sit </a:t>
            </a:r>
            <a:r>
              <a:rPr lang="en-US" err="1"/>
              <a:t>leo</a:t>
            </a:r>
            <a:r>
              <a:rPr lang="en-US"/>
              <a:t> </a:t>
            </a:r>
            <a:r>
              <a:rPr lang="en-US" err="1"/>
              <a:t>augue</a:t>
            </a:r>
            <a:r>
              <a:rPr lang="en-US"/>
              <a:t> tempus </a:t>
            </a:r>
            <a:r>
              <a:rPr lang="en-US" err="1"/>
              <a:t>consectetur</a:t>
            </a:r>
            <a:r>
              <a:rPr lang="en-US"/>
              <a:t> </a:t>
            </a:r>
            <a:r>
              <a:rPr lang="en-US" err="1"/>
              <a:t>primis</a:t>
            </a:r>
            <a:r>
              <a:rPr lang="en-US"/>
              <a:t> dolor ac </a:t>
            </a:r>
            <a:r>
              <a:rPr lang="en-US" err="1"/>
              <a:t>euismod</a:t>
            </a:r>
            <a:r>
              <a:rPr lang="en-US"/>
              <a:t> </a:t>
            </a:r>
            <a:r>
              <a:rPr lang="en-US" err="1"/>
              <a:t>accumsan</a:t>
            </a:r>
            <a:r>
              <a:rPr lang="en-US"/>
              <a:t>, </a:t>
            </a:r>
            <a:r>
              <a:rPr lang="en-US" err="1"/>
              <a:t>vivamus</a:t>
            </a:r>
            <a:r>
              <a:rPr lang="en-US"/>
              <a:t> </a:t>
            </a:r>
            <a:r>
              <a:rPr lang="en-US" err="1"/>
              <a:t>feugiat</a:t>
            </a:r>
            <a:r>
              <a:rPr lang="en-US"/>
              <a:t> </a:t>
            </a:r>
            <a:r>
              <a:rPr lang="en-US" err="1"/>
              <a:t>elit</a:t>
            </a:r>
            <a:r>
              <a:rPr lang="en-US"/>
              <a:t> </a:t>
            </a:r>
            <a:r>
              <a:rPr lang="en-US" err="1"/>
              <a:t>luctus</a:t>
            </a:r>
            <a:r>
              <a:rPr lang="en-US"/>
              <a:t> libero </a:t>
            </a:r>
            <a:r>
              <a:rPr lang="en-US" err="1"/>
              <a:t>duis</a:t>
            </a:r>
            <a:r>
              <a:rPr lang="en-US"/>
              <a:t> </a:t>
            </a:r>
            <a:r>
              <a:rPr lang="en-US" err="1"/>
              <a:t>elementum</a:t>
            </a:r>
            <a:r>
              <a:rPr lang="en-US"/>
              <a:t> </a:t>
            </a:r>
            <a:r>
              <a:rPr lang="en-US" err="1"/>
              <a:t>etiam</a:t>
            </a:r>
            <a:r>
              <a:rPr lang="en-US"/>
              <a:t> lorem cursus </a:t>
            </a:r>
            <a:r>
              <a:rPr lang="en-US" err="1"/>
              <a:t>hendrerit</a:t>
            </a:r>
            <a:r>
              <a:rPr lang="en-US"/>
              <a:t> </a:t>
            </a:r>
            <a:r>
              <a:rPr lang="en-US" err="1"/>
              <a:t>curae</a:t>
            </a:r>
            <a:r>
              <a:rPr lang="en-US"/>
              <a:t> </a:t>
            </a:r>
            <a:r>
              <a:rPr lang="en-US" err="1"/>
              <a:t>primis</a:t>
            </a:r>
            <a:r>
              <a:rPr lang="en-US"/>
              <a:t> </a:t>
            </a:r>
            <a:r>
              <a:rPr lang="en-US" err="1"/>
              <a:t>cubilia</a:t>
            </a:r>
            <a:r>
              <a:rPr lang="en-US"/>
              <a:t>.</a:t>
            </a:r>
          </a:p>
        </p:txBody>
      </p:sp>
      <p:sp>
        <p:nvSpPr>
          <p:cNvPr id="4" name="Text Placeholder 4">
            <a:extLst>
              <a:ext uri="{FF2B5EF4-FFF2-40B4-BE49-F238E27FC236}">
                <a16:creationId xmlns:a16="http://schemas.microsoft.com/office/drawing/2014/main" id="{6CA494FF-1DA9-D11E-77E1-3A2A367218B3}"/>
              </a:ext>
            </a:extLst>
          </p:cNvPr>
          <p:cNvSpPr>
            <a:spLocks noGrp="1"/>
          </p:cNvSpPr>
          <p:nvPr>
            <p:ph type="body" sz="quarter" idx="26" hasCustomPrompt="1"/>
          </p:nvPr>
        </p:nvSpPr>
        <p:spPr>
          <a:xfrm>
            <a:off x="647700" y="1752600"/>
            <a:ext cx="3346076" cy="553998"/>
          </a:xfrm>
          <a:prstGeom prst="rect">
            <a:avLst/>
          </a:prstGeom>
        </p:spPr>
        <p:txBody>
          <a:bodyPr wrap="square" anchor="t" anchorCtr="0">
            <a:spAutoFit/>
          </a:bodyPr>
          <a:lstStyle>
            <a:lvl1pPr marL="0" marR="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sz="1800" b="1" i="0">
                <a:solidFill>
                  <a:schemeClr val="tx1"/>
                </a:solidFill>
                <a:latin typeface="Calibri" panose="020F0502020204030204" pitchFamily="34" charset="0"/>
                <a:cs typeface="Calibri" panose="020F0502020204030204" pitchFamily="34" charset="0"/>
              </a:defRPr>
            </a:lvl1pPr>
          </a:lstStyle>
          <a:p>
            <a:r>
              <a:rPr lang="en-US"/>
              <a:t>Lorem ipsum </a:t>
            </a:r>
            <a:r>
              <a:rPr lang="en-US" err="1"/>
              <a:t>nulla</a:t>
            </a:r>
            <a:r>
              <a:rPr lang="en-US"/>
              <a:t> </a:t>
            </a:r>
            <a:r>
              <a:rPr lang="en-US" err="1"/>
              <a:t>primis</a:t>
            </a:r>
            <a:r>
              <a:rPr lang="en-US"/>
              <a:t> eros mi </a:t>
            </a:r>
            <a:r>
              <a:rPr lang="en-US" err="1"/>
              <a:t>maecenas</a:t>
            </a:r>
            <a:r>
              <a:rPr lang="en-US"/>
              <a:t> ligula magna.</a:t>
            </a:r>
          </a:p>
        </p:txBody>
      </p:sp>
      <p:sp>
        <p:nvSpPr>
          <p:cNvPr id="5" name="Text Placeholder 4">
            <a:extLst>
              <a:ext uri="{FF2B5EF4-FFF2-40B4-BE49-F238E27FC236}">
                <a16:creationId xmlns:a16="http://schemas.microsoft.com/office/drawing/2014/main" id="{71776F66-C10A-80FE-4600-5082AB28FC24}"/>
              </a:ext>
            </a:extLst>
          </p:cNvPr>
          <p:cNvSpPr>
            <a:spLocks noGrp="1"/>
          </p:cNvSpPr>
          <p:nvPr>
            <p:ph type="body" sz="quarter" idx="27" hasCustomPrompt="1"/>
          </p:nvPr>
        </p:nvSpPr>
        <p:spPr>
          <a:xfrm>
            <a:off x="4393692" y="2698291"/>
            <a:ext cx="3346076" cy="2035109"/>
          </a:xfrm>
          <a:prstGeom prst="rect">
            <a:avLst/>
          </a:prstGeom>
        </p:spPr>
        <p:txBody>
          <a:bodyPr wrap="square" anchor="t" anchorCtr="0">
            <a:spAutoFit/>
          </a:bodyPr>
          <a:lstStyle>
            <a:lvl1pPr marL="0" marR="0" indent="0" algn="l" defTabSz="914400" rtl="0" eaLnBrk="1" fontAlgn="auto" latinLnBrk="0" hangingPunct="1">
              <a:lnSpc>
                <a:spcPts val="2000"/>
              </a:lnSpc>
              <a:spcBef>
                <a:spcPts val="600"/>
              </a:spcBef>
              <a:spcAft>
                <a:spcPts val="0"/>
              </a:spcAft>
              <a:buClrTx/>
              <a:buSzTx/>
              <a:buFont typeface="Arial" panose="020B0604020202020204" pitchFamily="34" charset="0"/>
              <a:buNone/>
              <a:tabLst/>
              <a:defRPr sz="1400" b="0" i="0">
                <a:solidFill>
                  <a:schemeClr val="tx1"/>
                </a:solidFill>
                <a:latin typeface="Calibri Light" panose="020F0302020204030204" pitchFamily="34" charset="0"/>
                <a:cs typeface="Calibri Light" panose="020F0302020204030204" pitchFamily="34" charset="0"/>
              </a:defRPr>
            </a:lvl1pPr>
          </a:lstStyle>
          <a:p>
            <a:r>
              <a:rPr lang="en-US"/>
              <a:t>Lorem ipsum </a:t>
            </a:r>
            <a:r>
              <a:rPr lang="en-US" err="1"/>
              <a:t>nulla</a:t>
            </a:r>
            <a:r>
              <a:rPr lang="en-US"/>
              <a:t> </a:t>
            </a:r>
            <a:r>
              <a:rPr lang="en-US" err="1"/>
              <a:t>primis</a:t>
            </a:r>
            <a:r>
              <a:rPr lang="en-US"/>
              <a:t> eros mi </a:t>
            </a:r>
            <a:r>
              <a:rPr lang="en-US" err="1"/>
              <a:t>maecenas</a:t>
            </a:r>
            <a:r>
              <a:rPr lang="en-US"/>
              <a:t> ligula magna, </a:t>
            </a:r>
            <a:r>
              <a:rPr lang="en-US" err="1"/>
              <a:t>nibh</a:t>
            </a:r>
            <a:r>
              <a:rPr lang="en-US"/>
              <a:t> </a:t>
            </a:r>
            <a:r>
              <a:rPr lang="en-US" err="1"/>
              <a:t>commodo</a:t>
            </a:r>
            <a:r>
              <a:rPr lang="en-US"/>
              <a:t> </a:t>
            </a:r>
            <a:r>
              <a:rPr lang="en-US" err="1"/>
              <a:t>aenean</a:t>
            </a:r>
            <a:r>
              <a:rPr lang="en-US"/>
              <a:t> </a:t>
            </a:r>
            <a:r>
              <a:rPr lang="en-US" err="1"/>
              <a:t>leo</a:t>
            </a:r>
            <a:r>
              <a:rPr lang="en-US"/>
              <a:t> porta </a:t>
            </a:r>
            <a:r>
              <a:rPr lang="en-US" err="1"/>
              <a:t>duis</a:t>
            </a:r>
            <a:r>
              <a:rPr lang="en-US"/>
              <a:t> magna </a:t>
            </a:r>
            <a:r>
              <a:rPr lang="en-US" err="1"/>
              <a:t>felis</a:t>
            </a:r>
            <a:r>
              <a:rPr lang="en-US"/>
              <a:t> </a:t>
            </a:r>
            <a:r>
              <a:rPr lang="en-US" err="1"/>
              <a:t>bibendum</a:t>
            </a:r>
            <a:r>
              <a:rPr lang="en-US"/>
              <a:t> </a:t>
            </a:r>
            <a:r>
              <a:rPr lang="en-US" err="1"/>
              <a:t>tempor</a:t>
            </a:r>
            <a:r>
              <a:rPr lang="en-US"/>
              <a:t> </a:t>
            </a:r>
            <a:r>
              <a:rPr lang="en-US" err="1"/>
              <a:t>cubilia</a:t>
            </a:r>
            <a:r>
              <a:rPr lang="en-US"/>
              <a:t> gravida </a:t>
            </a:r>
            <a:r>
              <a:rPr lang="en-US" err="1"/>
              <a:t>molestie</a:t>
            </a:r>
            <a:r>
              <a:rPr lang="en-US"/>
              <a:t> a </a:t>
            </a:r>
            <a:r>
              <a:rPr lang="en-US" err="1"/>
              <a:t>pretium</a:t>
            </a:r>
            <a:r>
              <a:rPr lang="en-US"/>
              <a:t> </a:t>
            </a:r>
            <a:r>
              <a:rPr lang="en-US" err="1"/>
              <a:t>egestas</a:t>
            </a:r>
            <a:r>
              <a:rPr lang="en-US"/>
              <a:t> </a:t>
            </a:r>
            <a:r>
              <a:rPr lang="en-US" err="1"/>
              <a:t>iaculis</a:t>
            </a:r>
            <a:r>
              <a:rPr lang="en-US"/>
              <a:t> per, eros sit </a:t>
            </a:r>
            <a:r>
              <a:rPr lang="en-US" err="1"/>
              <a:t>leo</a:t>
            </a:r>
            <a:r>
              <a:rPr lang="en-US"/>
              <a:t> </a:t>
            </a:r>
            <a:r>
              <a:rPr lang="en-US" err="1"/>
              <a:t>augue</a:t>
            </a:r>
            <a:r>
              <a:rPr lang="en-US"/>
              <a:t> tempus </a:t>
            </a:r>
            <a:r>
              <a:rPr lang="en-US" err="1"/>
              <a:t>consectetur</a:t>
            </a:r>
            <a:r>
              <a:rPr lang="en-US"/>
              <a:t> </a:t>
            </a:r>
            <a:r>
              <a:rPr lang="en-US" err="1"/>
              <a:t>primis</a:t>
            </a:r>
            <a:r>
              <a:rPr lang="en-US"/>
              <a:t> dolor ac </a:t>
            </a:r>
            <a:r>
              <a:rPr lang="en-US" err="1"/>
              <a:t>euismod</a:t>
            </a:r>
            <a:r>
              <a:rPr lang="en-US"/>
              <a:t> </a:t>
            </a:r>
            <a:r>
              <a:rPr lang="en-US" err="1"/>
              <a:t>accumsan</a:t>
            </a:r>
            <a:r>
              <a:rPr lang="en-US"/>
              <a:t>, </a:t>
            </a:r>
            <a:r>
              <a:rPr lang="en-US" err="1"/>
              <a:t>vivamus</a:t>
            </a:r>
            <a:r>
              <a:rPr lang="en-US"/>
              <a:t> </a:t>
            </a:r>
            <a:r>
              <a:rPr lang="en-US" err="1"/>
              <a:t>feugiat</a:t>
            </a:r>
            <a:r>
              <a:rPr lang="en-US"/>
              <a:t> </a:t>
            </a:r>
            <a:r>
              <a:rPr lang="en-US" err="1"/>
              <a:t>elit</a:t>
            </a:r>
            <a:r>
              <a:rPr lang="en-US"/>
              <a:t> </a:t>
            </a:r>
            <a:r>
              <a:rPr lang="en-US" err="1"/>
              <a:t>luctus</a:t>
            </a:r>
            <a:r>
              <a:rPr lang="en-US"/>
              <a:t> libero </a:t>
            </a:r>
            <a:r>
              <a:rPr lang="en-US" err="1"/>
              <a:t>duis</a:t>
            </a:r>
            <a:r>
              <a:rPr lang="en-US"/>
              <a:t> </a:t>
            </a:r>
            <a:r>
              <a:rPr lang="en-US" err="1"/>
              <a:t>elementum</a:t>
            </a:r>
            <a:r>
              <a:rPr lang="en-US"/>
              <a:t> </a:t>
            </a:r>
            <a:r>
              <a:rPr lang="en-US" err="1"/>
              <a:t>etiam</a:t>
            </a:r>
            <a:r>
              <a:rPr lang="en-US"/>
              <a:t> lorem cursus </a:t>
            </a:r>
            <a:r>
              <a:rPr lang="en-US" err="1"/>
              <a:t>hendrerit</a:t>
            </a:r>
            <a:r>
              <a:rPr lang="en-US"/>
              <a:t> </a:t>
            </a:r>
            <a:r>
              <a:rPr lang="en-US" err="1"/>
              <a:t>curae</a:t>
            </a:r>
            <a:r>
              <a:rPr lang="en-US"/>
              <a:t> </a:t>
            </a:r>
            <a:r>
              <a:rPr lang="en-US" err="1"/>
              <a:t>primis</a:t>
            </a:r>
            <a:r>
              <a:rPr lang="en-US"/>
              <a:t> </a:t>
            </a:r>
            <a:r>
              <a:rPr lang="en-US" err="1"/>
              <a:t>cubilia</a:t>
            </a:r>
            <a:r>
              <a:rPr lang="en-US"/>
              <a:t>.</a:t>
            </a:r>
          </a:p>
        </p:txBody>
      </p:sp>
      <p:sp>
        <p:nvSpPr>
          <p:cNvPr id="7" name="Text Placeholder 4">
            <a:extLst>
              <a:ext uri="{FF2B5EF4-FFF2-40B4-BE49-F238E27FC236}">
                <a16:creationId xmlns:a16="http://schemas.microsoft.com/office/drawing/2014/main" id="{76286362-AF3E-9904-0BA5-18619CBF5DE9}"/>
              </a:ext>
            </a:extLst>
          </p:cNvPr>
          <p:cNvSpPr>
            <a:spLocks noGrp="1"/>
          </p:cNvSpPr>
          <p:nvPr>
            <p:ph type="body" sz="quarter" idx="28" hasCustomPrompt="1"/>
          </p:nvPr>
        </p:nvSpPr>
        <p:spPr>
          <a:xfrm>
            <a:off x="4393692" y="1752600"/>
            <a:ext cx="3346076" cy="553998"/>
          </a:xfrm>
          <a:prstGeom prst="rect">
            <a:avLst/>
          </a:prstGeom>
        </p:spPr>
        <p:txBody>
          <a:bodyPr wrap="square" anchor="t" anchorCtr="0">
            <a:spAutoFit/>
          </a:bodyPr>
          <a:lstStyle>
            <a:lvl1pPr marL="0" marR="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sz="1800" b="1" i="0">
                <a:solidFill>
                  <a:schemeClr val="tx1"/>
                </a:solidFill>
                <a:latin typeface="Calibri" panose="020F0502020204030204" pitchFamily="34" charset="0"/>
                <a:cs typeface="Calibri" panose="020F0502020204030204" pitchFamily="34" charset="0"/>
              </a:defRPr>
            </a:lvl1pPr>
          </a:lstStyle>
          <a:p>
            <a:r>
              <a:rPr lang="en-US"/>
              <a:t>Lorem ipsum </a:t>
            </a:r>
            <a:r>
              <a:rPr lang="en-US" err="1"/>
              <a:t>nulla</a:t>
            </a:r>
            <a:r>
              <a:rPr lang="en-US"/>
              <a:t> </a:t>
            </a:r>
            <a:r>
              <a:rPr lang="en-US" err="1"/>
              <a:t>primis</a:t>
            </a:r>
            <a:r>
              <a:rPr lang="en-US"/>
              <a:t> eros mi </a:t>
            </a:r>
            <a:r>
              <a:rPr lang="en-US" err="1"/>
              <a:t>maecenas</a:t>
            </a:r>
            <a:r>
              <a:rPr lang="en-US"/>
              <a:t> ligula magna.</a:t>
            </a:r>
          </a:p>
        </p:txBody>
      </p:sp>
      <p:sp>
        <p:nvSpPr>
          <p:cNvPr id="8" name="Text Placeholder 4">
            <a:extLst>
              <a:ext uri="{FF2B5EF4-FFF2-40B4-BE49-F238E27FC236}">
                <a16:creationId xmlns:a16="http://schemas.microsoft.com/office/drawing/2014/main" id="{31EAACDC-042B-CDAF-3204-CAF86F3E458D}"/>
              </a:ext>
            </a:extLst>
          </p:cNvPr>
          <p:cNvSpPr>
            <a:spLocks noGrp="1"/>
          </p:cNvSpPr>
          <p:nvPr>
            <p:ph type="body" sz="quarter" idx="29" hasCustomPrompt="1"/>
          </p:nvPr>
        </p:nvSpPr>
        <p:spPr>
          <a:xfrm>
            <a:off x="8150352" y="2698291"/>
            <a:ext cx="3346076" cy="2035109"/>
          </a:xfrm>
          <a:prstGeom prst="rect">
            <a:avLst/>
          </a:prstGeom>
        </p:spPr>
        <p:txBody>
          <a:bodyPr wrap="square" anchor="t" anchorCtr="0">
            <a:spAutoFit/>
          </a:bodyPr>
          <a:lstStyle>
            <a:lvl1pPr marL="0" marR="0" indent="0" algn="l" defTabSz="914400" rtl="0" eaLnBrk="1" fontAlgn="auto" latinLnBrk="0" hangingPunct="1">
              <a:lnSpc>
                <a:spcPts val="2000"/>
              </a:lnSpc>
              <a:spcBef>
                <a:spcPts val="600"/>
              </a:spcBef>
              <a:spcAft>
                <a:spcPts val="0"/>
              </a:spcAft>
              <a:buClrTx/>
              <a:buSzTx/>
              <a:buFont typeface="Arial" panose="020B0604020202020204" pitchFamily="34" charset="0"/>
              <a:buNone/>
              <a:tabLst/>
              <a:defRPr sz="1400" b="0" i="0">
                <a:solidFill>
                  <a:schemeClr val="tx1"/>
                </a:solidFill>
                <a:latin typeface="Calibri Light" panose="020F0302020204030204" pitchFamily="34" charset="0"/>
                <a:cs typeface="Calibri Light" panose="020F0302020204030204" pitchFamily="34" charset="0"/>
              </a:defRPr>
            </a:lvl1pPr>
          </a:lstStyle>
          <a:p>
            <a:r>
              <a:rPr lang="en-US"/>
              <a:t>Lorem ipsum </a:t>
            </a:r>
            <a:r>
              <a:rPr lang="en-US" err="1"/>
              <a:t>nulla</a:t>
            </a:r>
            <a:r>
              <a:rPr lang="en-US"/>
              <a:t> </a:t>
            </a:r>
            <a:r>
              <a:rPr lang="en-US" err="1"/>
              <a:t>primis</a:t>
            </a:r>
            <a:r>
              <a:rPr lang="en-US"/>
              <a:t> eros mi </a:t>
            </a:r>
            <a:r>
              <a:rPr lang="en-US" err="1"/>
              <a:t>maecenas</a:t>
            </a:r>
            <a:r>
              <a:rPr lang="en-US"/>
              <a:t> ligula magna, </a:t>
            </a:r>
            <a:r>
              <a:rPr lang="en-US" err="1"/>
              <a:t>nibh</a:t>
            </a:r>
            <a:r>
              <a:rPr lang="en-US"/>
              <a:t> </a:t>
            </a:r>
            <a:r>
              <a:rPr lang="en-US" err="1"/>
              <a:t>commodo</a:t>
            </a:r>
            <a:r>
              <a:rPr lang="en-US"/>
              <a:t> </a:t>
            </a:r>
            <a:r>
              <a:rPr lang="en-US" err="1"/>
              <a:t>aenean</a:t>
            </a:r>
            <a:r>
              <a:rPr lang="en-US"/>
              <a:t> </a:t>
            </a:r>
            <a:r>
              <a:rPr lang="en-US" err="1"/>
              <a:t>leo</a:t>
            </a:r>
            <a:r>
              <a:rPr lang="en-US"/>
              <a:t> porta </a:t>
            </a:r>
            <a:r>
              <a:rPr lang="en-US" err="1"/>
              <a:t>duis</a:t>
            </a:r>
            <a:r>
              <a:rPr lang="en-US"/>
              <a:t> magna </a:t>
            </a:r>
            <a:r>
              <a:rPr lang="en-US" err="1"/>
              <a:t>felis</a:t>
            </a:r>
            <a:r>
              <a:rPr lang="en-US"/>
              <a:t> </a:t>
            </a:r>
            <a:r>
              <a:rPr lang="en-US" err="1"/>
              <a:t>bibendum</a:t>
            </a:r>
            <a:r>
              <a:rPr lang="en-US"/>
              <a:t> </a:t>
            </a:r>
            <a:r>
              <a:rPr lang="en-US" err="1"/>
              <a:t>tempor</a:t>
            </a:r>
            <a:r>
              <a:rPr lang="en-US"/>
              <a:t> </a:t>
            </a:r>
            <a:r>
              <a:rPr lang="en-US" err="1"/>
              <a:t>cubilia</a:t>
            </a:r>
            <a:r>
              <a:rPr lang="en-US"/>
              <a:t> gravida </a:t>
            </a:r>
            <a:r>
              <a:rPr lang="en-US" err="1"/>
              <a:t>molestie</a:t>
            </a:r>
            <a:r>
              <a:rPr lang="en-US"/>
              <a:t> a </a:t>
            </a:r>
            <a:r>
              <a:rPr lang="en-US" err="1"/>
              <a:t>pretium</a:t>
            </a:r>
            <a:r>
              <a:rPr lang="en-US"/>
              <a:t> </a:t>
            </a:r>
            <a:r>
              <a:rPr lang="en-US" err="1"/>
              <a:t>egestas</a:t>
            </a:r>
            <a:r>
              <a:rPr lang="en-US"/>
              <a:t> </a:t>
            </a:r>
            <a:r>
              <a:rPr lang="en-US" err="1"/>
              <a:t>iaculis</a:t>
            </a:r>
            <a:r>
              <a:rPr lang="en-US"/>
              <a:t> per, eros sit </a:t>
            </a:r>
            <a:r>
              <a:rPr lang="en-US" err="1"/>
              <a:t>leo</a:t>
            </a:r>
            <a:r>
              <a:rPr lang="en-US"/>
              <a:t> </a:t>
            </a:r>
            <a:r>
              <a:rPr lang="en-US" err="1"/>
              <a:t>augue</a:t>
            </a:r>
            <a:r>
              <a:rPr lang="en-US"/>
              <a:t> tempus </a:t>
            </a:r>
            <a:r>
              <a:rPr lang="en-US" err="1"/>
              <a:t>consectetur</a:t>
            </a:r>
            <a:r>
              <a:rPr lang="en-US"/>
              <a:t> </a:t>
            </a:r>
            <a:r>
              <a:rPr lang="en-US" err="1"/>
              <a:t>primis</a:t>
            </a:r>
            <a:r>
              <a:rPr lang="en-US"/>
              <a:t> dolor ac </a:t>
            </a:r>
            <a:r>
              <a:rPr lang="en-US" err="1"/>
              <a:t>euismod</a:t>
            </a:r>
            <a:r>
              <a:rPr lang="en-US"/>
              <a:t> </a:t>
            </a:r>
            <a:r>
              <a:rPr lang="en-US" err="1"/>
              <a:t>accumsan</a:t>
            </a:r>
            <a:r>
              <a:rPr lang="en-US"/>
              <a:t>, </a:t>
            </a:r>
            <a:r>
              <a:rPr lang="en-US" err="1"/>
              <a:t>vivamus</a:t>
            </a:r>
            <a:r>
              <a:rPr lang="en-US"/>
              <a:t> </a:t>
            </a:r>
            <a:r>
              <a:rPr lang="en-US" err="1"/>
              <a:t>feugiat</a:t>
            </a:r>
            <a:r>
              <a:rPr lang="en-US"/>
              <a:t> </a:t>
            </a:r>
            <a:r>
              <a:rPr lang="en-US" err="1"/>
              <a:t>elit</a:t>
            </a:r>
            <a:r>
              <a:rPr lang="en-US"/>
              <a:t> </a:t>
            </a:r>
            <a:r>
              <a:rPr lang="en-US" err="1"/>
              <a:t>luctus</a:t>
            </a:r>
            <a:r>
              <a:rPr lang="en-US"/>
              <a:t> libero </a:t>
            </a:r>
            <a:r>
              <a:rPr lang="en-US" err="1"/>
              <a:t>duis</a:t>
            </a:r>
            <a:r>
              <a:rPr lang="en-US"/>
              <a:t> </a:t>
            </a:r>
            <a:r>
              <a:rPr lang="en-US" err="1"/>
              <a:t>elementum</a:t>
            </a:r>
            <a:r>
              <a:rPr lang="en-US"/>
              <a:t> </a:t>
            </a:r>
            <a:r>
              <a:rPr lang="en-US" err="1"/>
              <a:t>etiam</a:t>
            </a:r>
            <a:r>
              <a:rPr lang="en-US"/>
              <a:t> lorem cursus </a:t>
            </a:r>
            <a:r>
              <a:rPr lang="en-US" err="1"/>
              <a:t>hendrerit</a:t>
            </a:r>
            <a:r>
              <a:rPr lang="en-US"/>
              <a:t> </a:t>
            </a:r>
            <a:r>
              <a:rPr lang="en-US" err="1"/>
              <a:t>curae</a:t>
            </a:r>
            <a:r>
              <a:rPr lang="en-US"/>
              <a:t> </a:t>
            </a:r>
            <a:r>
              <a:rPr lang="en-US" err="1"/>
              <a:t>primis</a:t>
            </a:r>
            <a:r>
              <a:rPr lang="en-US"/>
              <a:t> </a:t>
            </a:r>
            <a:r>
              <a:rPr lang="en-US" err="1"/>
              <a:t>cubilia</a:t>
            </a:r>
            <a:r>
              <a:rPr lang="en-US"/>
              <a:t>.</a:t>
            </a:r>
          </a:p>
        </p:txBody>
      </p:sp>
      <p:sp>
        <p:nvSpPr>
          <p:cNvPr id="15" name="Text Placeholder 4">
            <a:extLst>
              <a:ext uri="{FF2B5EF4-FFF2-40B4-BE49-F238E27FC236}">
                <a16:creationId xmlns:a16="http://schemas.microsoft.com/office/drawing/2014/main" id="{1A0C9F60-C909-8005-B457-95C7A8BD9B6C}"/>
              </a:ext>
            </a:extLst>
          </p:cNvPr>
          <p:cNvSpPr>
            <a:spLocks noGrp="1"/>
          </p:cNvSpPr>
          <p:nvPr>
            <p:ph type="body" sz="quarter" idx="30" hasCustomPrompt="1"/>
          </p:nvPr>
        </p:nvSpPr>
        <p:spPr>
          <a:xfrm>
            <a:off x="8150352" y="1752600"/>
            <a:ext cx="3346076" cy="553998"/>
          </a:xfrm>
          <a:prstGeom prst="rect">
            <a:avLst/>
          </a:prstGeom>
        </p:spPr>
        <p:txBody>
          <a:bodyPr wrap="square" anchor="t" anchorCtr="0">
            <a:spAutoFit/>
          </a:bodyPr>
          <a:lstStyle>
            <a:lvl1pPr marL="0" marR="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sz="1800" b="1" i="0">
                <a:solidFill>
                  <a:schemeClr val="tx1"/>
                </a:solidFill>
                <a:latin typeface="Calibri" panose="020F0502020204030204" pitchFamily="34" charset="0"/>
                <a:cs typeface="Calibri" panose="020F0502020204030204" pitchFamily="34" charset="0"/>
              </a:defRPr>
            </a:lvl1pPr>
          </a:lstStyle>
          <a:p>
            <a:r>
              <a:rPr lang="en-US"/>
              <a:t>Lorem ipsum </a:t>
            </a:r>
            <a:r>
              <a:rPr lang="en-US" err="1"/>
              <a:t>nulla</a:t>
            </a:r>
            <a:r>
              <a:rPr lang="en-US"/>
              <a:t> </a:t>
            </a:r>
            <a:r>
              <a:rPr lang="en-US" err="1"/>
              <a:t>primis</a:t>
            </a:r>
            <a:r>
              <a:rPr lang="en-US"/>
              <a:t> eros mi </a:t>
            </a:r>
            <a:r>
              <a:rPr lang="en-US" err="1"/>
              <a:t>maecenas</a:t>
            </a:r>
            <a:r>
              <a:rPr lang="en-US"/>
              <a:t> ligula magna.</a:t>
            </a:r>
          </a:p>
        </p:txBody>
      </p:sp>
      <p:sp>
        <p:nvSpPr>
          <p:cNvPr id="16" name="Title 1">
            <a:extLst>
              <a:ext uri="{FF2B5EF4-FFF2-40B4-BE49-F238E27FC236}">
                <a16:creationId xmlns:a16="http://schemas.microsoft.com/office/drawing/2014/main" id="{6832DFE5-B2DF-F9FF-D966-15E468F83789}"/>
              </a:ext>
            </a:extLst>
          </p:cNvPr>
          <p:cNvSpPr>
            <a:spLocks noGrp="1"/>
          </p:cNvSpPr>
          <p:nvPr>
            <p:ph type="title" hasCustomPrompt="1"/>
          </p:nvPr>
        </p:nvSpPr>
        <p:spPr>
          <a:xfrm>
            <a:off x="633632" y="722843"/>
            <a:ext cx="10963056" cy="338554"/>
          </a:xfrm>
          <a:prstGeom prst="rect">
            <a:avLst/>
          </a:prstGeom>
        </p:spPr>
        <p:txBody>
          <a:bodyPr/>
          <a:lstStyle>
            <a:lvl1pPr>
              <a:defRPr lang="en-US" sz="2200" b="1" i="0" kern="1200" spc="0" dirty="0">
                <a:solidFill>
                  <a:schemeClr val="tx1"/>
                </a:solidFill>
                <a:effectLst/>
                <a:latin typeface="+mj-lt"/>
                <a:ea typeface="Calibri" panose="020F0502020204030204" pitchFamily="34" charset="0"/>
                <a:cs typeface="Calibri" panose="020F0502020204030204" pitchFamily="34" charset="0"/>
              </a:defRPr>
            </a:lvl1pPr>
          </a:lstStyle>
          <a:p>
            <a:pPr marL="0" lvl="0" indent="0" algn="l" defTabSz="914400" rtl="0" eaLnBrk="1" latinLnBrk="0" hangingPunct="1">
              <a:lnSpc>
                <a:spcPct val="100000"/>
              </a:lnSpc>
              <a:spcBef>
                <a:spcPts val="0"/>
              </a:spcBef>
              <a:spcAft>
                <a:spcPts val="0"/>
              </a:spcAft>
              <a:buFont typeface="Arial" panose="020B0604020202020204" pitchFamily="34" charset="0"/>
              <a:buNone/>
            </a:pPr>
            <a:r>
              <a:rPr lang="en-US">
                <a:effectLst/>
              </a:rPr>
              <a:t>Title Goes Here</a:t>
            </a:r>
            <a:endParaRPr lang="en-US"/>
          </a:p>
        </p:txBody>
      </p:sp>
      <p:sp>
        <p:nvSpPr>
          <p:cNvPr id="17" name="Text Placeholder 10">
            <a:extLst>
              <a:ext uri="{FF2B5EF4-FFF2-40B4-BE49-F238E27FC236}">
                <a16:creationId xmlns:a16="http://schemas.microsoft.com/office/drawing/2014/main" id="{FBF8892B-9E8C-EB7F-4C58-128E88367DB0}"/>
              </a:ext>
            </a:extLst>
          </p:cNvPr>
          <p:cNvSpPr>
            <a:spLocks noGrp="1"/>
          </p:cNvSpPr>
          <p:nvPr>
            <p:ph type="body" sz="quarter" idx="31" hasCustomPrompt="1"/>
          </p:nvPr>
        </p:nvSpPr>
        <p:spPr>
          <a:xfrm>
            <a:off x="633632" y="419100"/>
            <a:ext cx="3611880" cy="225706"/>
          </a:xfrm>
          <a:prstGeom prst="rect">
            <a:avLst/>
          </a:prstGeom>
        </p:spPr>
        <p:txBody>
          <a:bodyPr/>
          <a:lstStyle>
            <a:lvl1pPr>
              <a:spcBef>
                <a:spcPts val="0"/>
              </a:spcBef>
              <a:defRPr lang="en-US" sz="1000" b="0" i="0" kern="1200" cap="all" spc="300" baseline="0" dirty="0">
                <a:solidFill>
                  <a:schemeClr val="tx1"/>
                </a:solidFill>
                <a:latin typeface="Calibri" panose="020F0502020204030204" pitchFamily="34" charset="0"/>
                <a:ea typeface="Calibri" panose="020F0502020204030204" pitchFamily="34" charset="0"/>
                <a:cs typeface="Calibri" panose="020F0502020204030204" pitchFamily="34" charset="0"/>
              </a:defRPr>
            </a:lvl1pPr>
          </a:lstStyle>
          <a:p>
            <a:pPr marL="0" lvl="0" indent="0" algn="l" defTabSz="914400" rtl="0" eaLnBrk="1" latinLnBrk="0" hangingPunct="1">
              <a:lnSpc>
                <a:spcPct val="100000"/>
              </a:lnSpc>
              <a:spcBef>
                <a:spcPts val="600"/>
              </a:spcBef>
              <a:spcAft>
                <a:spcPts val="0"/>
              </a:spcAft>
              <a:buFont typeface="Arial" panose="020B0604020202020204" pitchFamily="34" charset="0"/>
              <a:buNone/>
            </a:pPr>
            <a:r>
              <a:rPr lang="en-US"/>
              <a:t>Click to add section title</a:t>
            </a:r>
          </a:p>
        </p:txBody>
      </p:sp>
    </p:spTree>
    <p:extLst>
      <p:ext uri="{BB962C8B-B14F-4D97-AF65-F5344CB8AC3E}">
        <p14:creationId xmlns:p14="http://schemas.microsoft.com/office/powerpoint/2010/main" val="1878907869"/>
      </p:ext>
    </p:extLst>
  </p:cSld>
  <p:clrMapOvr>
    <a:masterClrMapping/>
  </p:clrMapOvr>
  <p:extLst>
    <p:ext uri="{DCECCB84-F9BA-43D5-87BE-67443E8EF086}">
      <p15:sldGuideLst xmlns:p15="http://schemas.microsoft.com/office/powerpoint/2012/main"/>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2_Subsection_Divider_B">
    <p:bg>
      <p:bgPr>
        <a:solidFill>
          <a:schemeClr val="tx1"/>
        </a:solidFill>
        <a:effectLst/>
      </p:bgPr>
    </p:bg>
    <p:spTree>
      <p:nvGrpSpPr>
        <p:cNvPr id="1" name=""/>
        <p:cNvGrpSpPr/>
        <p:nvPr/>
      </p:nvGrpSpPr>
      <p:grpSpPr>
        <a:xfrm>
          <a:off x="0" y="0"/>
          <a:ext cx="0" cy="0"/>
          <a:chOff x="0" y="0"/>
          <a:chExt cx="0" cy="0"/>
        </a:xfrm>
      </p:grpSpPr>
      <p:sp>
        <p:nvSpPr>
          <p:cNvPr id="7" name="Text Placeholder 4">
            <a:extLst>
              <a:ext uri="{FF2B5EF4-FFF2-40B4-BE49-F238E27FC236}">
                <a16:creationId xmlns:a16="http://schemas.microsoft.com/office/drawing/2014/main" id="{7F0AAB83-32F0-44B8-4EEF-5A03F77A747E}"/>
              </a:ext>
            </a:extLst>
          </p:cNvPr>
          <p:cNvSpPr>
            <a:spLocks noGrp="1"/>
          </p:cNvSpPr>
          <p:nvPr>
            <p:ph type="body" sz="quarter" idx="16" hasCustomPrompt="1"/>
          </p:nvPr>
        </p:nvSpPr>
        <p:spPr>
          <a:xfrm>
            <a:off x="647700" y="2698291"/>
            <a:ext cx="3346076" cy="2035109"/>
          </a:xfrm>
          <a:prstGeom prst="rect">
            <a:avLst/>
          </a:prstGeom>
        </p:spPr>
        <p:txBody>
          <a:bodyPr wrap="square" anchor="t" anchorCtr="0">
            <a:spAutoFit/>
          </a:bodyPr>
          <a:lstStyle>
            <a:lvl1pPr marL="0" marR="0" indent="0" algn="l" defTabSz="914400" rtl="0" eaLnBrk="1" fontAlgn="auto" latinLnBrk="0" hangingPunct="1">
              <a:lnSpc>
                <a:spcPts val="2000"/>
              </a:lnSpc>
              <a:spcBef>
                <a:spcPts val="600"/>
              </a:spcBef>
              <a:spcAft>
                <a:spcPts val="0"/>
              </a:spcAft>
              <a:buClrTx/>
              <a:buSzTx/>
              <a:buFont typeface="Arial" panose="020B0604020202020204" pitchFamily="34" charset="0"/>
              <a:buNone/>
              <a:tabLst/>
              <a:defRPr sz="1400" b="0" i="0">
                <a:solidFill>
                  <a:schemeClr val="bg1"/>
                </a:solidFill>
                <a:latin typeface="Calibri Light" panose="020F0302020204030204" pitchFamily="34" charset="0"/>
                <a:cs typeface="Calibri Light" panose="020F0302020204030204" pitchFamily="34" charset="0"/>
              </a:defRPr>
            </a:lvl1pPr>
          </a:lstStyle>
          <a:p>
            <a:r>
              <a:rPr lang="en-US"/>
              <a:t>Lorem ipsum </a:t>
            </a:r>
            <a:r>
              <a:rPr lang="en-US" err="1"/>
              <a:t>nulla</a:t>
            </a:r>
            <a:r>
              <a:rPr lang="en-US"/>
              <a:t> </a:t>
            </a:r>
            <a:r>
              <a:rPr lang="en-US" err="1"/>
              <a:t>primis</a:t>
            </a:r>
            <a:r>
              <a:rPr lang="en-US"/>
              <a:t> eros mi </a:t>
            </a:r>
            <a:r>
              <a:rPr lang="en-US" err="1"/>
              <a:t>maecenas</a:t>
            </a:r>
            <a:r>
              <a:rPr lang="en-US"/>
              <a:t> ligula magna, </a:t>
            </a:r>
            <a:r>
              <a:rPr lang="en-US" err="1"/>
              <a:t>nibh</a:t>
            </a:r>
            <a:r>
              <a:rPr lang="en-US"/>
              <a:t> </a:t>
            </a:r>
            <a:r>
              <a:rPr lang="en-US" err="1"/>
              <a:t>commodo</a:t>
            </a:r>
            <a:r>
              <a:rPr lang="en-US"/>
              <a:t> </a:t>
            </a:r>
            <a:r>
              <a:rPr lang="en-US" err="1"/>
              <a:t>aenean</a:t>
            </a:r>
            <a:r>
              <a:rPr lang="en-US"/>
              <a:t> </a:t>
            </a:r>
            <a:r>
              <a:rPr lang="en-US" err="1"/>
              <a:t>leo</a:t>
            </a:r>
            <a:r>
              <a:rPr lang="en-US"/>
              <a:t> porta </a:t>
            </a:r>
            <a:r>
              <a:rPr lang="en-US" err="1"/>
              <a:t>duis</a:t>
            </a:r>
            <a:r>
              <a:rPr lang="en-US"/>
              <a:t> magna </a:t>
            </a:r>
            <a:r>
              <a:rPr lang="en-US" err="1"/>
              <a:t>felis</a:t>
            </a:r>
            <a:r>
              <a:rPr lang="en-US"/>
              <a:t> </a:t>
            </a:r>
            <a:r>
              <a:rPr lang="en-US" err="1"/>
              <a:t>bibendum</a:t>
            </a:r>
            <a:r>
              <a:rPr lang="en-US"/>
              <a:t> </a:t>
            </a:r>
            <a:r>
              <a:rPr lang="en-US" err="1"/>
              <a:t>tempor</a:t>
            </a:r>
            <a:r>
              <a:rPr lang="en-US"/>
              <a:t> </a:t>
            </a:r>
            <a:r>
              <a:rPr lang="en-US" err="1"/>
              <a:t>cubilia</a:t>
            </a:r>
            <a:r>
              <a:rPr lang="en-US"/>
              <a:t> gravida </a:t>
            </a:r>
            <a:r>
              <a:rPr lang="en-US" err="1"/>
              <a:t>molestie</a:t>
            </a:r>
            <a:r>
              <a:rPr lang="en-US"/>
              <a:t> a </a:t>
            </a:r>
            <a:r>
              <a:rPr lang="en-US" err="1"/>
              <a:t>pretium</a:t>
            </a:r>
            <a:r>
              <a:rPr lang="en-US"/>
              <a:t> </a:t>
            </a:r>
            <a:r>
              <a:rPr lang="en-US" err="1"/>
              <a:t>egestas</a:t>
            </a:r>
            <a:r>
              <a:rPr lang="en-US"/>
              <a:t> </a:t>
            </a:r>
            <a:r>
              <a:rPr lang="en-US" err="1"/>
              <a:t>iaculis</a:t>
            </a:r>
            <a:r>
              <a:rPr lang="en-US"/>
              <a:t> per, eros sit </a:t>
            </a:r>
            <a:r>
              <a:rPr lang="en-US" err="1"/>
              <a:t>leo</a:t>
            </a:r>
            <a:r>
              <a:rPr lang="en-US"/>
              <a:t> </a:t>
            </a:r>
            <a:r>
              <a:rPr lang="en-US" err="1"/>
              <a:t>augue</a:t>
            </a:r>
            <a:r>
              <a:rPr lang="en-US"/>
              <a:t> tempus </a:t>
            </a:r>
            <a:r>
              <a:rPr lang="en-US" err="1"/>
              <a:t>consectetur</a:t>
            </a:r>
            <a:r>
              <a:rPr lang="en-US"/>
              <a:t> </a:t>
            </a:r>
            <a:r>
              <a:rPr lang="en-US" err="1"/>
              <a:t>primis</a:t>
            </a:r>
            <a:r>
              <a:rPr lang="en-US"/>
              <a:t> dolor ac </a:t>
            </a:r>
            <a:r>
              <a:rPr lang="en-US" err="1"/>
              <a:t>euismod</a:t>
            </a:r>
            <a:r>
              <a:rPr lang="en-US"/>
              <a:t> </a:t>
            </a:r>
            <a:r>
              <a:rPr lang="en-US" err="1"/>
              <a:t>accumsan</a:t>
            </a:r>
            <a:r>
              <a:rPr lang="en-US"/>
              <a:t>, </a:t>
            </a:r>
            <a:r>
              <a:rPr lang="en-US" err="1"/>
              <a:t>vivamus</a:t>
            </a:r>
            <a:r>
              <a:rPr lang="en-US"/>
              <a:t> </a:t>
            </a:r>
            <a:r>
              <a:rPr lang="en-US" err="1"/>
              <a:t>feugiat</a:t>
            </a:r>
            <a:r>
              <a:rPr lang="en-US"/>
              <a:t> </a:t>
            </a:r>
            <a:r>
              <a:rPr lang="en-US" err="1"/>
              <a:t>elit</a:t>
            </a:r>
            <a:r>
              <a:rPr lang="en-US"/>
              <a:t> </a:t>
            </a:r>
            <a:r>
              <a:rPr lang="en-US" err="1"/>
              <a:t>luctus</a:t>
            </a:r>
            <a:r>
              <a:rPr lang="en-US"/>
              <a:t> libero </a:t>
            </a:r>
            <a:r>
              <a:rPr lang="en-US" err="1"/>
              <a:t>duis</a:t>
            </a:r>
            <a:r>
              <a:rPr lang="en-US"/>
              <a:t> </a:t>
            </a:r>
            <a:r>
              <a:rPr lang="en-US" err="1"/>
              <a:t>elementum</a:t>
            </a:r>
            <a:r>
              <a:rPr lang="en-US"/>
              <a:t> </a:t>
            </a:r>
            <a:r>
              <a:rPr lang="en-US" err="1"/>
              <a:t>etiam</a:t>
            </a:r>
            <a:r>
              <a:rPr lang="en-US"/>
              <a:t> lorem cursus </a:t>
            </a:r>
            <a:r>
              <a:rPr lang="en-US" err="1"/>
              <a:t>hendrerit</a:t>
            </a:r>
            <a:r>
              <a:rPr lang="en-US"/>
              <a:t> </a:t>
            </a:r>
            <a:r>
              <a:rPr lang="en-US" err="1"/>
              <a:t>curae</a:t>
            </a:r>
            <a:r>
              <a:rPr lang="en-US"/>
              <a:t> </a:t>
            </a:r>
            <a:r>
              <a:rPr lang="en-US" err="1"/>
              <a:t>primis</a:t>
            </a:r>
            <a:r>
              <a:rPr lang="en-US"/>
              <a:t> </a:t>
            </a:r>
            <a:r>
              <a:rPr lang="en-US" err="1"/>
              <a:t>cubilia</a:t>
            </a:r>
            <a:r>
              <a:rPr lang="en-US"/>
              <a:t>.</a:t>
            </a:r>
          </a:p>
        </p:txBody>
      </p:sp>
      <p:sp>
        <p:nvSpPr>
          <p:cNvPr id="9" name="Text Placeholder 4">
            <a:extLst>
              <a:ext uri="{FF2B5EF4-FFF2-40B4-BE49-F238E27FC236}">
                <a16:creationId xmlns:a16="http://schemas.microsoft.com/office/drawing/2014/main" id="{DBBECED4-4691-EAD7-0FFE-7393254BBDC9}"/>
              </a:ext>
            </a:extLst>
          </p:cNvPr>
          <p:cNvSpPr>
            <a:spLocks noGrp="1"/>
          </p:cNvSpPr>
          <p:nvPr>
            <p:ph type="body" sz="quarter" idx="26" hasCustomPrompt="1"/>
          </p:nvPr>
        </p:nvSpPr>
        <p:spPr>
          <a:xfrm>
            <a:off x="647700" y="1752600"/>
            <a:ext cx="3346076" cy="553998"/>
          </a:xfrm>
          <a:prstGeom prst="rect">
            <a:avLst/>
          </a:prstGeom>
        </p:spPr>
        <p:txBody>
          <a:bodyPr wrap="square" anchor="t" anchorCtr="0">
            <a:spAutoFit/>
          </a:bodyPr>
          <a:lstStyle>
            <a:lvl1pPr marL="0" marR="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sz="1800" b="1" i="0">
                <a:solidFill>
                  <a:schemeClr val="bg1"/>
                </a:solidFill>
                <a:latin typeface="Calibri" panose="020F0502020204030204" pitchFamily="34" charset="0"/>
                <a:cs typeface="Calibri" panose="020F0502020204030204" pitchFamily="34" charset="0"/>
              </a:defRPr>
            </a:lvl1pPr>
          </a:lstStyle>
          <a:p>
            <a:r>
              <a:rPr lang="en-US"/>
              <a:t>Lorem ipsum </a:t>
            </a:r>
            <a:r>
              <a:rPr lang="en-US" err="1"/>
              <a:t>nulla</a:t>
            </a:r>
            <a:r>
              <a:rPr lang="en-US"/>
              <a:t> </a:t>
            </a:r>
            <a:r>
              <a:rPr lang="en-US" err="1"/>
              <a:t>primis</a:t>
            </a:r>
            <a:r>
              <a:rPr lang="en-US"/>
              <a:t> eros mi </a:t>
            </a:r>
            <a:r>
              <a:rPr lang="en-US" err="1"/>
              <a:t>maecenas</a:t>
            </a:r>
            <a:r>
              <a:rPr lang="en-US"/>
              <a:t> ligula magna.</a:t>
            </a:r>
          </a:p>
        </p:txBody>
      </p:sp>
      <p:sp>
        <p:nvSpPr>
          <p:cNvPr id="10" name="Text Placeholder 4">
            <a:extLst>
              <a:ext uri="{FF2B5EF4-FFF2-40B4-BE49-F238E27FC236}">
                <a16:creationId xmlns:a16="http://schemas.microsoft.com/office/drawing/2014/main" id="{31E7CDA2-C04C-57C2-B779-676BA576EFB7}"/>
              </a:ext>
            </a:extLst>
          </p:cNvPr>
          <p:cNvSpPr>
            <a:spLocks noGrp="1"/>
          </p:cNvSpPr>
          <p:nvPr>
            <p:ph type="body" sz="quarter" idx="27" hasCustomPrompt="1"/>
          </p:nvPr>
        </p:nvSpPr>
        <p:spPr>
          <a:xfrm>
            <a:off x="4393692" y="2698291"/>
            <a:ext cx="3346076" cy="2035109"/>
          </a:xfrm>
          <a:prstGeom prst="rect">
            <a:avLst/>
          </a:prstGeom>
        </p:spPr>
        <p:txBody>
          <a:bodyPr wrap="square" anchor="t" anchorCtr="0">
            <a:spAutoFit/>
          </a:bodyPr>
          <a:lstStyle>
            <a:lvl1pPr marL="0" marR="0" indent="0" algn="l" defTabSz="914400" rtl="0" eaLnBrk="1" fontAlgn="auto" latinLnBrk="0" hangingPunct="1">
              <a:lnSpc>
                <a:spcPts val="2000"/>
              </a:lnSpc>
              <a:spcBef>
                <a:spcPts val="600"/>
              </a:spcBef>
              <a:spcAft>
                <a:spcPts val="0"/>
              </a:spcAft>
              <a:buClrTx/>
              <a:buSzTx/>
              <a:buFont typeface="Arial" panose="020B0604020202020204" pitchFamily="34" charset="0"/>
              <a:buNone/>
              <a:tabLst/>
              <a:defRPr sz="1400" b="0" i="0">
                <a:solidFill>
                  <a:schemeClr val="bg1"/>
                </a:solidFill>
                <a:latin typeface="Calibri Light" panose="020F0302020204030204" pitchFamily="34" charset="0"/>
                <a:cs typeface="Calibri Light" panose="020F0302020204030204" pitchFamily="34" charset="0"/>
              </a:defRPr>
            </a:lvl1pPr>
          </a:lstStyle>
          <a:p>
            <a:r>
              <a:rPr lang="en-US"/>
              <a:t>Lorem ipsum </a:t>
            </a:r>
            <a:r>
              <a:rPr lang="en-US" err="1"/>
              <a:t>nulla</a:t>
            </a:r>
            <a:r>
              <a:rPr lang="en-US"/>
              <a:t> </a:t>
            </a:r>
            <a:r>
              <a:rPr lang="en-US" err="1"/>
              <a:t>primis</a:t>
            </a:r>
            <a:r>
              <a:rPr lang="en-US"/>
              <a:t> eros mi </a:t>
            </a:r>
            <a:r>
              <a:rPr lang="en-US" err="1"/>
              <a:t>maecenas</a:t>
            </a:r>
            <a:r>
              <a:rPr lang="en-US"/>
              <a:t> ligula magna, </a:t>
            </a:r>
            <a:r>
              <a:rPr lang="en-US" err="1"/>
              <a:t>nibh</a:t>
            </a:r>
            <a:r>
              <a:rPr lang="en-US"/>
              <a:t> </a:t>
            </a:r>
            <a:r>
              <a:rPr lang="en-US" err="1"/>
              <a:t>commodo</a:t>
            </a:r>
            <a:r>
              <a:rPr lang="en-US"/>
              <a:t> </a:t>
            </a:r>
            <a:r>
              <a:rPr lang="en-US" err="1"/>
              <a:t>aenean</a:t>
            </a:r>
            <a:r>
              <a:rPr lang="en-US"/>
              <a:t> </a:t>
            </a:r>
            <a:r>
              <a:rPr lang="en-US" err="1"/>
              <a:t>leo</a:t>
            </a:r>
            <a:r>
              <a:rPr lang="en-US"/>
              <a:t> porta </a:t>
            </a:r>
            <a:r>
              <a:rPr lang="en-US" err="1"/>
              <a:t>duis</a:t>
            </a:r>
            <a:r>
              <a:rPr lang="en-US"/>
              <a:t> magna </a:t>
            </a:r>
            <a:r>
              <a:rPr lang="en-US" err="1"/>
              <a:t>felis</a:t>
            </a:r>
            <a:r>
              <a:rPr lang="en-US"/>
              <a:t> </a:t>
            </a:r>
            <a:r>
              <a:rPr lang="en-US" err="1"/>
              <a:t>bibendum</a:t>
            </a:r>
            <a:r>
              <a:rPr lang="en-US"/>
              <a:t> </a:t>
            </a:r>
            <a:r>
              <a:rPr lang="en-US" err="1"/>
              <a:t>tempor</a:t>
            </a:r>
            <a:r>
              <a:rPr lang="en-US"/>
              <a:t> </a:t>
            </a:r>
            <a:r>
              <a:rPr lang="en-US" err="1"/>
              <a:t>cubilia</a:t>
            </a:r>
            <a:r>
              <a:rPr lang="en-US"/>
              <a:t> gravida </a:t>
            </a:r>
            <a:r>
              <a:rPr lang="en-US" err="1"/>
              <a:t>molestie</a:t>
            </a:r>
            <a:r>
              <a:rPr lang="en-US"/>
              <a:t> a </a:t>
            </a:r>
            <a:r>
              <a:rPr lang="en-US" err="1"/>
              <a:t>pretium</a:t>
            </a:r>
            <a:r>
              <a:rPr lang="en-US"/>
              <a:t> </a:t>
            </a:r>
            <a:r>
              <a:rPr lang="en-US" err="1"/>
              <a:t>egestas</a:t>
            </a:r>
            <a:r>
              <a:rPr lang="en-US"/>
              <a:t> </a:t>
            </a:r>
            <a:r>
              <a:rPr lang="en-US" err="1"/>
              <a:t>iaculis</a:t>
            </a:r>
            <a:r>
              <a:rPr lang="en-US"/>
              <a:t> per, eros sit </a:t>
            </a:r>
            <a:r>
              <a:rPr lang="en-US" err="1"/>
              <a:t>leo</a:t>
            </a:r>
            <a:r>
              <a:rPr lang="en-US"/>
              <a:t> </a:t>
            </a:r>
            <a:r>
              <a:rPr lang="en-US" err="1"/>
              <a:t>augue</a:t>
            </a:r>
            <a:r>
              <a:rPr lang="en-US"/>
              <a:t> tempus </a:t>
            </a:r>
            <a:r>
              <a:rPr lang="en-US" err="1"/>
              <a:t>consectetur</a:t>
            </a:r>
            <a:r>
              <a:rPr lang="en-US"/>
              <a:t> </a:t>
            </a:r>
            <a:r>
              <a:rPr lang="en-US" err="1"/>
              <a:t>primis</a:t>
            </a:r>
            <a:r>
              <a:rPr lang="en-US"/>
              <a:t> dolor ac </a:t>
            </a:r>
            <a:r>
              <a:rPr lang="en-US" err="1"/>
              <a:t>euismod</a:t>
            </a:r>
            <a:r>
              <a:rPr lang="en-US"/>
              <a:t> </a:t>
            </a:r>
            <a:r>
              <a:rPr lang="en-US" err="1"/>
              <a:t>accumsan</a:t>
            </a:r>
            <a:r>
              <a:rPr lang="en-US"/>
              <a:t>, </a:t>
            </a:r>
            <a:r>
              <a:rPr lang="en-US" err="1"/>
              <a:t>vivamus</a:t>
            </a:r>
            <a:r>
              <a:rPr lang="en-US"/>
              <a:t> </a:t>
            </a:r>
            <a:r>
              <a:rPr lang="en-US" err="1"/>
              <a:t>feugiat</a:t>
            </a:r>
            <a:r>
              <a:rPr lang="en-US"/>
              <a:t> </a:t>
            </a:r>
            <a:r>
              <a:rPr lang="en-US" err="1"/>
              <a:t>elit</a:t>
            </a:r>
            <a:r>
              <a:rPr lang="en-US"/>
              <a:t> </a:t>
            </a:r>
            <a:r>
              <a:rPr lang="en-US" err="1"/>
              <a:t>luctus</a:t>
            </a:r>
            <a:r>
              <a:rPr lang="en-US"/>
              <a:t> libero </a:t>
            </a:r>
            <a:r>
              <a:rPr lang="en-US" err="1"/>
              <a:t>duis</a:t>
            </a:r>
            <a:r>
              <a:rPr lang="en-US"/>
              <a:t> </a:t>
            </a:r>
            <a:r>
              <a:rPr lang="en-US" err="1"/>
              <a:t>elementum</a:t>
            </a:r>
            <a:r>
              <a:rPr lang="en-US"/>
              <a:t> </a:t>
            </a:r>
            <a:r>
              <a:rPr lang="en-US" err="1"/>
              <a:t>etiam</a:t>
            </a:r>
            <a:r>
              <a:rPr lang="en-US"/>
              <a:t> lorem cursus </a:t>
            </a:r>
            <a:r>
              <a:rPr lang="en-US" err="1"/>
              <a:t>hendrerit</a:t>
            </a:r>
            <a:r>
              <a:rPr lang="en-US"/>
              <a:t> </a:t>
            </a:r>
            <a:r>
              <a:rPr lang="en-US" err="1"/>
              <a:t>curae</a:t>
            </a:r>
            <a:r>
              <a:rPr lang="en-US"/>
              <a:t> </a:t>
            </a:r>
            <a:r>
              <a:rPr lang="en-US" err="1"/>
              <a:t>primis</a:t>
            </a:r>
            <a:r>
              <a:rPr lang="en-US"/>
              <a:t> </a:t>
            </a:r>
            <a:r>
              <a:rPr lang="en-US" err="1"/>
              <a:t>cubilia</a:t>
            </a:r>
            <a:r>
              <a:rPr lang="en-US"/>
              <a:t>.</a:t>
            </a:r>
          </a:p>
        </p:txBody>
      </p:sp>
      <p:sp>
        <p:nvSpPr>
          <p:cNvPr id="11" name="Text Placeholder 4">
            <a:extLst>
              <a:ext uri="{FF2B5EF4-FFF2-40B4-BE49-F238E27FC236}">
                <a16:creationId xmlns:a16="http://schemas.microsoft.com/office/drawing/2014/main" id="{51F377A5-B459-0F7C-7F34-FEF9D7615202}"/>
              </a:ext>
            </a:extLst>
          </p:cNvPr>
          <p:cNvSpPr>
            <a:spLocks noGrp="1"/>
          </p:cNvSpPr>
          <p:nvPr>
            <p:ph type="body" sz="quarter" idx="28" hasCustomPrompt="1"/>
          </p:nvPr>
        </p:nvSpPr>
        <p:spPr>
          <a:xfrm>
            <a:off x="4393692" y="1752600"/>
            <a:ext cx="3346076" cy="553998"/>
          </a:xfrm>
          <a:prstGeom prst="rect">
            <a:avLst/>
          </a:prstGeom>
        </p:spPr>
        <p:txBody>
          <a:bodyPr wrap="square" anchor="t" anchorCtr="0">
            <a:spAutoFit/>
          </a:bodyPr>
          <a:lstStyle>
            <a:lvl1pPr marL="0" marR="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sz="1800" b="1" i="0">
                <a:solidFill>
                  <a:schemeClr val="bg1"/>
                </a:solidFill>
                <a:latin typeface="Calibri" panose="020F0502020204030204" pitchFamily="34" charset="0"/>
                <a:cs typeface="Calibri" panose="020F0502020204030204" pitchFamily="34" charset="0"/>
              </a:defRPr>
            </a:lvl1pPr>
          </a:lstStyle>
          <a:p>
            <a:r>
              <a:rPr lang="en-US"/>
              <a:t>Lorem ipsum </a:t>
            </a:r>
            <a:r>
              <a:rPr lang="en-US" err="1"/>
              <a:t>nulla</a:t>
            </a:r>
            <a:r>
              <a:rPr lang="en-US"/>
              <a:t> </a:t>
            </a:r>
            <a:r>
              <a:rPr lang="en-US" err="1"/>
              <a:t>primis</a:t>
            </a:r>
            <a:r>
              <a:rPr lang="en-US"/>
              <a:t> eros mi </a:t>
            </a:r>
            <a:r>
              <a:rPr lang="en-US" err="1"/>
              <a:t>maecenas</a:t>
            </a:r>
            <a:r>
              <a:rPr lang="en-US"/>
              <a:t> ligula magna.</a:t>
            </a:r>
          </a:p>
        </p:txBody>
      </p:sp>
      <p:sp>
        <p:nvSpPr>
          <p:cNvPr id="12" name="Text Placeholder 4">
            <a:extLst>
              <a:ext uri="{FF2B5EF4-FFF2-40B4-BE49-F238E27FC236}">
                <a16:creationId xmlns:a16="http://schemas.microsoft.com/office/drawing/2014/main" id="{BFE36997-E074-D0DA-66D5-F4724D23BF52}"/>
              </a:ext>
            </a:extLst>
          </p:cNvPr>
          <p:cNvSpPr>
            <a:spLocks noGrp="1"/>
          </p:cNvSpPr>
          <p:nvPr>
            <p:ph type="body" sz="quarter" idx="29" hasCustomPrompt="1"/>
          </p:nvPr>
        </p:nvSpPr>
        <p:spPr>
          <a:xfrm>
            <a:off x="8150352" y="2698291"/>
            <a:ext cx="3346076" cy="2035109"/>
          </a:xfrm>
          <a:prstGeom prst="rect">
            <a:avLst/>
          </a:prstGeom>
        </p:spPr>
        <p:txBody>
          <a:bodyPr wrap="square" anchor="t" anchorCtr="0">
            <a:spAutoFit/>
          </a:bodyPr>
          <a:lstStyle>
            <a:lvl1pPr marL="0" marR="0" indent="0" algn="l" defTabSz="914400" rtl="0" eaLnBrk="1" fontAlgn="auto" latinLnBrk="0" hangingPunct="1">
              <a:lnSpc>
                <a:spcPts val="2000"/>
              </a:lnSpc>
              <a:spcBef>
                <a:spcPts val="600"/>
              </a:spcBef>
              <a:spcAft>
                <a:spcPts val="0"/>
              </a:spcAft>
              <a:buClrTx/>
              <a:buSzTx/>
              <a:buFont typeface="Arial" panose="020B0604020202020204" pitchFamily="34" charset="0"/>
              <a:buNone/>
              <a:tabLst/>
              <a:defRPr sz="1400" b="0" i="0">
                <a:solidFill>
                  <a:schemeClr val="bg1"/>
                </a:solidFill>
                <a:latin typeface="Calibri Light" panose="020F0302020204030204" pitchFamily="34" charset="0"/>
                <a:cs typeface="Calibri Light" panose="020F0302020204030204" pitchFamily="34" charset="0"/>
              </a:defRPr>
            </a:lvl1pPr>
          </a:lstStyle>
          <a:p>
            <a:r>
              <a:rPr lang="en-US"/>
              <a:t>Lorem ipsum </a:t>
            </a:r>
            <a:r>
              <a:rPr lang="en-US" err="1"/>
              <a:t>nulla</a:t>
            </a:r>
            <a:r>
              <a:rPr lang="en-US"/>
              <a:t> </a:t>
            </a:r>
            <a:r>
              <a:rPr lang="en-US" err="1"/>
              <a:t>primis</a:t>
            </a:r>
            <a:r>
              <a:rPr lang="en-US"/>
              <a:t> eros mi </a:t>
            </a:r>
            <a:r>
              <a:rPr lang="en-US" err="1"/>
              <a:t>maecenas</a:t>
            </a:r>
            <a:r>
              <a:rPr lang="en-US"/>
              <a:t> ligula magna, </a:t>
            </a:r>
            <a:r>
              <a:rPr lang="en-US" err="1"/>
              <a:t>nibh</a:t>
            </a:r>
            <a:r>
              <a:rPr lang="en-US"/>
              <a:t> </a:t>
            </a:r>
            <a:r>
              <a:rPr lang="en-US" err="1"/>
              <a:t>commodo</a:t>
            </a:r>
            <a:r>
              <a:rPr lang="en-US"/>
              <a:t> </a:t>
            </a:r>
            <a:r>
              <a:rPr lang="en-US" err="1"/>
              <a:t>aenean</a:t>
            </a:r>
            <a:r>
              <a:rPr lang="en-US"/>
              <a:t> </a:t>
            </a:r>
            <a:r>
              <a:rPr lang="en-US" err="1"/>
              <a:t>leo</a:t>
            </a:r>
            <a:r>
              <a:rPr lang="en-US"/>
              <a:t> porta </a:t>
            </a:r>
            <a:r>
              <a:rPr lang="en-US" err="1"/>
              <a:t>duis</a:t>
            </a:r>
            <a:r>
              <a:rPr lang="en-US"/>
              <a:t> magna </a:t>
            </a:r>
            <a:r>
              <a:rPr lang="en-US" err="1"/>
              <a:t>felis</a:t>
            </a:r>
            <a:r>
              <a:rPr lang="en-US"/>
              <a:t> </a:t>
            </a:r>
            <a:r>
              <a:rPr lang="en-US" err="1"/>
              <a:t>bibendum</a:t>
            </a:r>
            <a:r>
              <a:rPr lang="en-US"/>
              <a:t> </a:t>
            </a:r>
            <a:r>
              <a:rPr lang="en-US" err="1"/>
              <a:t>tempor</a:t>
            </a:r>
            <a:r>
              <a:rPr lang="en-US"/>
              <a:t> </a:t>
            </a:r>
            <a:r>
              <a:rPr lang="en-US" err="1"/>
              <a:t>cubilia</a:t>
            </a:r>
            <a:r>
              <a:rPr lang="en-US"/>
              <a:t> gravida </a:t>
            </a:r>
            <a:r>
              <a:rPr lang="en-US" err="1"/>
              <a:t>molestie</a:t>
            </a:r>
            <a:r>
              <a:rPr lang="en-US"/>
              <a:t> a </a:t>
            </a:r>
            <a:r>
              <a:rPr lang="en-US" err="1"/>
              <a:t>pretium</a:t>
            </a:r>
            <a:r>
              <a:rPr lang="en-US"/>
              <a:t> </a:t>
            </a:r>
            <a:r>
              <a:rPr lang="en-US" err="1"/>
              <a:t>egestas</a:t>
            </a:r>
            <a:r>
              <a:rPr lang="en-US"/>
              <a:t> </a:t>
            </a:r>
            <a:r>
              <a:rPr lang="en-US" err="1"/>
              <a:t>iaculis</a:t>
            </a:r>
            <a:r>
              <a:rPr lang="en-US"/>
              <a:t> per, eros sit </a:t>
            </a:r>
            <a:r>
              <a:rPr lang="en-US" err="1"/>
              <a:t>leo</a:t>
            </a:r>
            <a:r>
              <a:rPr lang="en-US"/>
              <a:t> </a:t>
            </a:r>
            <a:r>
              <a:rPr lang="en-US" err="1"/>
              <a:t>augue</a:t>
            </a:r>
            <a:r>
              <a:rPr lang="en-US"/>
              <a:t> tempus </a:t>
            </a:r>
            <a:r>
              <a:rPr lang="en-US" err="1"/>
              <a:t>consectetur</a:t>
            </a:r>
            <a:r>
              <a:rPr lang="en-US"/>
              <a:t> </a:t>
            </a:r>
            <a:r>
              <a:rPr lang="en-US" err="1"/>
              <a:t>primis</a:t>
            </a:r>
            <a:r>
              <a:rPr lang="en-US"/>
              <a:t> dolor ac </a:t>
            </a:r>
            <a:r>
              <a:rPr lang="en-US" err="1"/>
              <a:t>euismod</a:t>
            </a:r>
            <a:r>
              <a:rPr lang="en-US"/>
              <a:t> </a:t>
            </a:r>
            <a:r>
              <a:rPr lang="en-US" err="1"/>
              <a:t>accumsan</a:t>
            </a:r>
            <a:r>
              <a:rPr lang="en-US"/>
              <a:t>, </a:t>
            </a:r>
            <a:r>
              <a:rPr lang="en-US" err="1"/>
              <a:t>vivamus</a:t>
            </a:r>
            <a:r>
              <a:rPr lang="en-US"/>
              <a:t> </a:t>
            </a:r>
            <a:r>
              <a:rPr lang="en-US" err="1"/>
              <a:t>feugiat</a:t>
            </a:r>
            <a:r>
              <a:rPr lang="en-US"/>
              <a:t> </a:t>
            </a:r>
            <a:r>
              <a:rPr lang="en-US" err="1"/>
              <a:t>elit</a:t>
            </a:r>
            <a:r>
              <a:rPr lang="en-US"/>
              <a:t> </a:t>
            </a:r>
            <a:r>
              <a:rPr lang="en-US" err="1"/>
              <a:t>luctus</a:t>
            </a:r>
            <a:r>
              <a:rPr lang="en-US"/>
              <a:t> libero </a:t>
            </a:r>
            <a:r>
              <a:rPr lang="en-US" err="1"/>
              <a:t>duis</a:t>
            </a:r>
            <a:r>
              <a:rPr lang="en-US"/>
              <a:t> </a:t>
            </a:r>
            <a:r>
              <a:rPr lang="en-US" err="1"/>
              <a:t>elementum</a:t>
            </a:r>
            <a:r>
              <a:rPr lang="en-US"/>
              <a:t> </a:t>
            </a:r>
            <a:r>
              <a:rPr lang="en-US" err="1"/>
              <a:t>etiam</a:t>
            </a:r>
            <a:r>
              <a:rPr lang="en-US"/>
              <a:t> lorem cursus </a:t>
            </a:r>
            <a:r>
              <a:rPr lang="en-US" err="1"/>
              <a:t>hendrerit</a:t>
            </a:r>
            <a:r>
              <a:rPr lang="en-US"/>
              <a:t> </a:t>
            </a:r>
            <a:r>
              <a:rPr lang="en-US" err="1"/>
              <a:t>curae</a:t>
            </a:r>
            <a:r>
              <a:rPr lang="en-US"/>
              <a:t> </a:t>
            </a:r>
            <a:r>
              <a:rPr lang="en-US" err="1"/>
              <a:t>primis</a:t>
            </a:r>
            <a:r>
              <a:rPr lang="en-US"/>
              <a:t> </a:t>
            </a:r>
            <a:r>
              <a:rPr lang="en-US" err="1"/>
              <a:t>cubilia</a:t>
            </a:r>
            <a:r>
              <a:rPr lang="en-US"/>
              <a:t>.</a:t>
            </a:r>
          </a:p>
        </p:txBody>
      </p:sp>
      <p:sp>
        <p:nvSpPr>
          <p:cNvPr id="13" name="Text Placeholder 4">
            <a:extLst>
              <a:ext uri="{FF2B5EF4-FFF2-40B4-BE49-F238E27FC236}">
                <a16:creationId xmlns:a16="http://schemas.microsoft.com/office/drawing/2014/main" id="{163741EA-6845-0A00-EAE0-5F35986A0EC2}"/>
              </a:ext>
            </a:extLst>
          </p:cNvPr>
          <p:cNvSpPr>
            <a:spLocks noGrp="1"/>
          </p:cNvSpPr>
          <p:nvPr>
            <p:ph type="body" sz="quarter" idx="30" hasCustomPrompt="1"/>
          </p:nvPr>
        </p:nvSpPr>
        <p:spPr>
          <a:xfrm>
            <a:off x="8150352" y="1752600"/>
            <a:ext cx="3346076" cy="553998"/>
          </a:xfrm>
          <a:prstGeom prst="rect">
            <a:avLst/>
          </a:prstGeom>
        </p:spPr>
        <p:txBody>
          <a:bodyPr wrap="square" anchor="t" anchorCtr="0">
            <a:spAutoFit/>
          </a:bodyPr>
          <a:lstStyle>
            <a:lvl1pPr marL="0" marR="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sz="1800" b="1" i="0">
                <a:solidFill>
                  <a:schemeClr val="bg1"/>
                </a:solidFill>
                <a:latin typeface="Calibri" panose="020F0502020204030204" pitchFamily="34" charset="0"/>
                <a:cs typeface="Calibri" panose="020F0502020204030204" pitchFamily="34" charset="0"/>
              </a:defRPr>
            </a:lvl1pPr>
          </a:lstStyle>
          <a:p>
            <a:r>
              <a:rPr lang="en-US"/>
              <a:t>Lorem ipsum </a:t>
            </a:r>
            <a:r>
              <a:rPr lang="en-US" err="1"/>
              <a:t>nulla</a:t>
            </a:r>
            <a:r>
              <a:rPr lang="en-US"/>
              <a:t> </a:t>
            </a:r>
            <a:r>
              <a:rPr lang="en-US" err="1"/>
              <a:t>primis</a:t>
            </a:r>
            <a:r>
              <a:rPr lang="en-US"/>
              <a:t> eros mi </a:t>
            </a:r>
            <a:r>
              <a:rPr lang="en-US" err="1"/>
              <a:t>maecenas</a:t>
            </a:r>
            <a:r>
              <a:rPr lang="en-US"/>
              <a:t> ligula magna.</a:t>
            </a:r>
          </a:p>
        </p:txBody>
      </p:sp>
      <p:sp>
        <p:nvSpPr>
          <p:cNvPr id="2" name="Title 1">
            <a:extLst>
              <a:ext uri="{FF2B5EF4-FFF2-40B4-BE49-F238E27FC236}">
                <a16:creationId xmlns:a16="http://schemas.microsoft.com/office/drawing/2014/main" id="{FB50A04B-6ED7-84B1-A455-59E35403B3DB}"/>
              </a:ext>
            </a:extLst>
          </p:cNvPr>
          <p:cNvSpPr>
            <a:spLocks noGrp="1"/>
          </p:cNvSpPr>
          <p:nvPr>
            <p:ph type="title" hasCustomPrompt="1"/>
          </p:nvPr>
        </p:nvSpPr>
        <p:spPr>
          <a:xfrm>
            <a:off x="633632" y="722843"/>
            <a:ext cx="10963056" cy="338554"/>
          </a:xfrm>
          <a:prstGeom prst="rect">
            <a:avLst/>
          </a:prstGeom>
        </p:spPr>
        <p:txBody>
          <a:bodyPr/>
          <a:lstStyle>
            <a:lvl1pPr>
              <a:defRPr lang="en-US" sz="2200" b="1" i="0" kern="1200" spc="0" dirty="0">
                <a:solidFill>
                  <a:schemeClr val="bg1"/>
                </a:solidFill>
                <a:effectLst/>
                <a:latin typeface="+mj-lt"/>
                <a:ea typeface="Calibri" panose="020F0502020204030204" pitchFamily="34" charset="0"/>
                <a:cs typeface="Calibri" panose="020F0502020204030204" pitchFamily="34" charset="0"/>
              </a:defRPr>
            </a:lvl1pPr>
          </a:lstStyle>
          <a:p>
            <a:pPr marL="0" lvl="0" indent="0" algn="l" defTabSz="914400" rtl="0" eaLnBrk="1" latinLnBrk="0" hangingPunct="1">
              <a:lnSpc>
                <a:spcPct val="100000"/>
              </a:lnSpc>
              <a:spcBef>
                <a:spcPts val="0"/>
              </a:spcBef>
              <a:spcAft>
                <a:spcPts val="0"/>
              </a:spcAft>
              <a:buFont typeface="Arial" panose="020B0604020202020204" pitchFamily="34" charset="0"/>
              <a:buNone/>
            </a:pPr>
            <a:r>
              <a:rPr lang="en-US">
                <a:effectLst/>
              </a:rPr>
              <a:t>Title Goes Here</a:t>
            </a:r>
            <a:endParaRPr lang="en-US"/>
          </a:p>
        </p:txBody>
      </p:sp>
      <p:sp>
        <p:nvSpPr>
          <p:cNvPr id="4" name="Text Placeholder 10">
            <a:extLst>
              <a:ext uri="{FF2B5EF4-FFF2-40B4-BE49-F238E27FC236}">
                <a16:creationId xmlns:a16="http://schemas.microsoft.com/office/drawing/2014/main" id="{CBA07CCD-45C6-E061-58AE-27BDB670ACBE}"/>
              </a:ext>
            </a:extLst>
          </p:cNvPr>
          <p:cNvSpPr>
            <a:spLocks noGrp="1"/>
          </p:cNvSpPr>
          <p:nvPr>
            <p:ph type="body" sz="quarter" idx="31" hasCustomPrompt="1"/>
          </p:nvPr>
        </p:nvSpPr>
        <p:spPr>
          <a:xfrm>
            <a:off x="633632" y="419100"/>
            <a:ext cx="3611880" cy="225706"/>
          </a:xfrm>
          <a:prstGeom prst="rect">
            <a:avLst/>
          </a:prstGeom>
        </p:spPr>
        <p:txBody>
          <a:bodyPr/>
          <a:lstStyle>
            <a:lvl1pPr>
              <a:spcBef>
                <a:spcPts val="0"/>
              </a:spcBef>
              <a:defRPr lang="en-US" sz="1000" b="0" i="0" kern="1200" cap="all" spc="300" baseline="0" dirty="0">
                <a:solidFill>
                  <a:schemeClr val="bg1"/>
                </a:solidFill>
                <a:latin typeface="Calibri" panose="020F0502020204030204" pitchFamily="34" charset="0"/>
                <a:ea typeface="Calibri" panose="020F0502020204030204" pitchFamily="34" charset="0"/>
                <a:cs typeface="Calibri" panose="020F0502020204030204" pitchFamily="34" charset="0"/>
              </a:defRPr>
            </a:lvl1pPr>
          </a:lstStyle>
          <a:p>
            <a:pPr marL="0" lvl="0" indent="0" algn="l" defTabSz="914400" rtl="0" eaLnBrk="1" latinLnBrk="0" hangingPunct="1">
              <a:lnSpc>
                <a:spcPct val="100000"/>
              </a:lnSpc>
              <a:spcBef>
                <a:spcPts val="600"/>
              </a:spcBef>
              <a:spcAft>
                <a:spcPts val="0"/>
              </a:spcAft>
              <a:buFont typeface="Arial" panose="020B0604020202020204" pitchFamily="34" charset="0"/>
              <a:buNone/>
            </a:pPr>
            <a:r>
              <a:rPr lang="en-US"/>
              <a:t>Click to add section title</a:t>
            </a:r>
          </a:p>
        </p:txBody>
      </p:sp>
      <p:grpSp>
        <p:nvGrpSpPr>
          <p:cNvPr id="3" name="Group 2">
            <a:extLst>
              <a:ext uri="{FF2B5EF4-FFF2-40B4-BE49-F238E27FC236}">
                <a16:creationId xmlns:a16="http://schemas.microsoft.com/office/drawing/2014/main" id="{4EE9FC88-DE09-078B-269B-618A5C926052}"/>
              </a:ext>
            </a:extLst>
          </p:cNvPr>
          <p:cNvGrpSpPr/>
          <p:nvPr userDrawn="1"/>
        </p:nvGrpSpPr>
        <p:grpSpPr>
          <a:xfrm>
            <a:off x="610888" y="6472556"/>
            <a:ext cx="372834" cy="131175"/>
            <a:chOff x="14288" y="2035175"/>
            <a:chExt cx="10039350" cy="3532188"/>
          </a:xfrm>
          <a:solidFill>
            <a:schemeClr val="bg1"/>
          </a:solidFill>
        </p:grpSpPr>
        <p:sp>
          <p:nvSpPr>
            <p:cNvPr id="5" name="Freeform 1">
              <a:extLst>
                <a:ext uri="{FF2B5EF4-FFF2-40B4-BE49-F238E27FC236}">
                  <a16:creationId xmlns:a16="http://schemas.microsoft.com/office/drawing/2014/main" id="{AF213018-295B-C9D1-F5FD-20D38B161C72}"/>
                </a:ext>
              </a:extLst>
            </p:cNvPr>
            <p:cNvSpPr>
              <a:spLocks noChangeArrowheads="1"/>
            </p:cNvSpPr>
            <p:nvPr/>
          </p:nvSpPr>
          <p:spPr bwMode="auto">
            <a:xfrm>
              <a:off x="1519238" y="2035175"/>
              <a:ext cx="1336675" cy="2836863"/>
            </a:xfrm>
            <a:custGeom>
              <a:avLst/>
              <a:gdLst>
                <a:gd name="T0" fmla="*/ 390493 w 3714"/>
                <a:gd name="T1" fmla="*/ 1200682 h 7882"/>
                <a:gd name="T2" fmla="*/ 945462 w 3714"/>
                <a:gd name="T3" fmla="*/ 1200682 h 7882"/>
                <a:gd name="T4" fmla="*/ 945462 w 3714"/>
                <a:gd name="T5" fmla="*/ 611498 h 7882"/>
                <a:gd name="T6" fmla="*/ 698929 w 3714"/>
                <a:gd name="T7" fmla="*/ 364596 h 7882"/>
                <a:gd name="T8" fmla="*/ 637386 w 3714"/>
                <a:gd name="T9" fmla="*/ 364596 h 7882"/>
                <a:gd name="T10" fmla="*/ 390493 w 3714"/>
                <a:gd name="T11" fmla="*/ 611498 h 7882"/>
                <a:gd name="T12" fmla="*/ 390493 w 3714"/>
                <a:gd name="T13" fmla="*/ 1200682 h 7882"/>
                <a:gd name="T14" fmla="*/ 389414 w 3714"/>
                <a:gd name="T15" fmla="*/ 1576795 h 7882"/>
                <a:gd name="T16" fmla="*/ 390493 w 3714"/>
                <a:gd name="T17" fmla="*/ 2224645 h 7882"/>
                <a:gd name="T18" fmla="*/ 637386 w 3714"/>
                <a:gd name="T19" fmla="*/ 2471548 h 7882"/>
                <a:gd name="T20" fmla="*/ 709366 w 3714"/>
                <a:gd name="T21" fmla="*/ 2471548 h 7882"/>
                <a:gd name="T22" fmla="*/ 955899 w 3714"/>
                <a:gd name="T23" fmla="*/ 2224645 h 7882"/>
                <a:gd name="T24" fmla="*/ 955899 w 3714"/>
                <a:gd name="T25" fmla="*/ 1906119 h 7882"/>
                <a:gd name="T26" fmla="*/ 1336315 w 3714"/>
                <a:gd name="T27" fmla="*/ 1906119 h 7882"/>
                <a:gd name="T28" fmla="*/ 1336315 w 3714"/>
                <a:gd name="T29" fmla="*/ 2209528 h 7882"/>
                <a:gd name="T30" fmla="*/ 709366 w 3714"/>
                <a:gd name="T31" fmla="*/ 2836503 h 7882"/>
                <a:gd name="T32" fmla="*/ 626949 w 3714"/>
                <a:gd name="T33" fmla="*/ 2836503 h 7882"/>
                <a:gd name="T34" fmla="*/ 0 w 3714"/>
                <a:gd name="T35" fmla="*/ 2258117 h 7882"/>
                <a:gd name="T36" fmla="*/ 0 w 3714"/>
                <a:gd name="T37" fmla="*/ 675564 h 7882"/>
                <a:gd name="T38" fmla="*/ 626949 w 3714"/>
                <a:gd name="T39" fmla="*/ 0 h 7882"/>
                <a:gd name="T40" fmla="*/ 709366 w 3714"/>
                <a:gd name="T41" fmla="*/ 0 h 7882"/>
                <a:gd name="T42" fmla="*/ 1336315 w 3714"/>
                <a:gd name="T43" fmla="*/ 626975 h 7882"/>
                <a:gd name="T44" fmla="*/ 1334875 w 3714"/>
                <a:gd name="T45" fmla="*/ 1576795 h 7882"/>
                <a:gd name="T46" fmla="*/ 389414 w 3714"/>
                <a:gd name="T47" fmla="*/ 1576795 h 7882"/>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3714" h="7882">
                  <a:moveTo>
                    <a:pt x="1085" y="3336"/>
                  </a:moveTo>
                  <a:lnTo>
                    <a:pt x="2627" y="3336"/>
                  </a:lnTo>
                  <a:lnTo>
                    <a:pt x="2627" y="1699"/>
                  </a:lnTo>
                  <a:cubicBezTo>
                    <a:pt x="2627" y="1242"/>
                    <a:pt x="2399" y="1013"/>
                    <a:pt x="1942" y="1013"/>
                  </a:cubicBezTo>
                  <a:lnTo>
                    <a:pt x="1771" y="1013"/>
                  </a:lnTo>
                  <a:cubicBezTo>
                    <a:pt x="1314" y="1013"/>
                    <a:pt x="1085" y="1242"/>
                    <a:pt x="1085" y="1699"/>
                  </a:cubicBezTo>
                  <a:lnTo>
                    <a:pt x="1085" y="3336"/>
                  </a:lnTo>
                  <a:close/>
                  <a:moveTo>
                    <a:pt x="1082" y="4381"/>
                  </a:moveTo>
                  <a:lnTo>
                    <a:pt x="1085" y="6181"/>
                  </a:lnTo>
                  <a:cubicBezTo>
                    <a:pt x="1085" y="6638"/>
                    <a:pt x="1314" y="6867"/>
                    <a:pt x="1771" y="6867"/>
                  </a:cubicBezTo>
                  <a:lnTo>
                    <a:pt x="1971" y="6867"/>
                  </a:lnTo>
                  <a:cubicBezTo>
                    <a:pt x="2428" y="6867"/>
                    <a:pt x="2656" y="6638"/>
                    <a:pt x="2656" y="6181"/>
                  </a:cubicBezTo>
                  <a:lnTo>
                    <a:pt x="2656" y="5296"/>
                  </a:lnTo>
                  <a:lnTo>
                    <a:pt x="3713" y="5296"/>
                  </a:lnTo>
                  <a:lnTo>
                    <a:pt x="3713" y="6139"/>
                  </a:lnTo>
                  <a:cubicBezTo>
                    <a:pt x="3713" y="7295"/>
                    <a:pt x="3127" y="7881"/>
                    <a:pt x="1971" y="7881"/>
                  </a:cubicBezTo>
                  <a:lnTo>
                    <a:pt x="1742" y="7881"/>
                  </a:lnTo>
                  <a:cubicBezTo>
                    <a:pt x="585" y="7881"/>
                    <a:pt x="0" y="7295"/>
                    <a:pt x="0" y="6274"/>
                  </a:cubicBezTo>
                  <a:lnTo>
                    <a:pt x="0" y="1877"/>
                  </a:lnTo>
                  <a:cubicBezTo>
                    <a:pt x="0" y="585"/>
                    <a:pt x="585" y="0"/>
                    <a:pt x="1742" y="0"/>
                  </a:cubicBezTo>
                  <a:lnTo>
                    <a:pt x="1971" y="0"/>
                  </a:lnTo>
                  <a:cubicBezTo>
                    <a:pt x="3127" y="0"/>
                    <a:pt x="3713" y="585"/>
                    <a:pt x="3713" y="1742"/>
                  </a:cubicBezTo>
                  <a:lnTo>
                    <a:pt x="3709" y="4381"/>
                  </a:lnTo>
                  <a:lnTo>
                    <a:pt x="1082" y="4381"/>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endParaRPr lang="en-US"/>
            </a:p>
          </p:txBody>
        </p:sp>
        <p:sp>
          <p:nvSpPr>
            <p:cNvPr id="6" name="Freeform 2">
              <a:extLst>
                <a:ext uri="{FF2B5EF4-FFF2-40B4-BE49-F238E27FC236}">
                  <a16:creationId xmlns:a16="http://schemas.microsoft.com/office/drawing/2014/main" id="{725C692D-036B-54DD-B4D3-EEBC1419462C}"/>
                </a:ext>
              </a:extLst>
            </p:cNvPr>
            <p:cNvSpPr>
              <a:spLocks noChangeArrowheads="1"/>
            </p:cNvSpPr>
            <p:nvPr/>
          </p:nvSpPr>
          <p:spPr bwMode="auto">
            <a:xfrm>
              <a:off x="3109913" y="2035175"/>
              <a:ext cx="1368425" cy="3532188"/>
            </a:xfrm>
            <a:custGeom>
              <a:avLst/>
              <a:gdLst>
                <a:gd name="T0" fmla="*/ 390721 w 3800"/>
                <a:gd name="T1" fmla="*/ 2322993 h 9812"/>
                <a:gd name="T2" fmla="*/ 750833 w 3800"/>
                <a:gd name="T3" fmla="*/ 2466628 h 9812"/>
                <a:gd name="T4" fmla="*/ 976983 w 3800"/>
                <a:gd name="T5" fmla="*/ 2240556 h 9812"/>
                <a:gd name="T6" fmla="*/ 976983 w 3800"/>
                <a:gd name="T7" fmla="*/ 596138 h 9812"/>
                <a:gd name="T8" fmla="*/ 750833 w 3800"/>
                <a:gd name="T9" fmla="*/ 370066 h 9812"/>
                <a:gd name="T10" fmla="*/ 390721 w 3800"/>
                <a:gd name="T11" fmla="*/ 514061 h 9812"/>
                <a:gd name="T12" fmla="*/ 390721 w 3800"/>
                <a:gd name="T13" fmla="*/ 2322993 h 9812"/>
                <a:gd name="T14" fmla="*/ 0 w 3800"/>
                <a:gd name="T15" fmla="*/ 30599 h 9812"/>
                <a:gd name="T16" fmla="*/ 390721 w 3800"/>
                <a:gd name="T17" fmla="*/ 30599 h 9812"/>
                <a:gd name="T18" fmla="*/ 390721 w 3800"/>
                <a:gd name="T19" fmla="*/ 210592 h 9812"/>
                <a:gd name="T20" fmla="*/ 868950 w 3800"/>
                <a:gd name="T21" fmla="*/ 0 h 9812"/>
                <a:gd name="T22" fmla="*/ 1368065 w 3800"/>
                <a:gd name="T23" fmla="*/ 549699 h 9812"/>
                <a:gd name="T24" fmla="*/ 1368065 w 3800"/>
                <a:gd name="T25" fmla="*/ 2286995 h 9812"/>
                <a:gd name="T26" fmla="*/ 868950 w 3800"/>
                <a:gd name="T27" fmla="*/ 2837054 h 9812"/>
                <a:gd name="T28" fmla="*/ 390721 w 3800"/>
                <a:gd name="T29" fmla="*/ 2636541 h 9812"/>
                <a:gd name="T30" fmla="*/ 390721 w 3800"/>
                <a:gd name="T31" fmla="*/ 3531828 h 9812"/>
                <a:gd name="T32" fmla="*/ 0 w 3800"/>
                <a:gd name="T33" fmla="*/ 3531828 h 9812"/>
                <a:gd name="T34" fmla="*/ 0 w 3800"/>
                <a:gd name="T35" fmla="*/ 30599 h 9812"/>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3800" h="9812">
                  <a:moveTo>
                    <a:pt x="1085" y="6453"/>
                  </a:moveTo>
                  <a:cubicBezTo>
                    <a:pt x="1385" y="6710"/>
                    <a:pt x="1728" y="6852"/>
                    <a:pt x="2085" y="6852"/>
                  </a:cubicBezTo>
                  <a:cubicBezTo>
                    <a:pt x="2485" y="6852"/>
                    <a:pt x="2713" y="6667"/>
                    <a:pt x="2713" y="6224"/>
                  </a:cubicBezTo>
                  <a:lnTo>
                    <a:pt x="2713" y="1656"/>
                  </a:lnTo>
                  <a:cubicBezTo>
                    <a:pt x="2713" y="1213"/>
                    <a:pt x="2485" y="1028"/>
                    <a:pt x="2085" y="1028"/>
                  </a:cubicBezTo>
                  <a:cubicBezTo>
                    <a:pt x="1728" y="1028"/>
                    <a:pt x="1385" y="1170"/>
                    <a:pt x="1085" y="1428"/>
                  </a:cubicBezTo>
                  <a:lnTo>
                    <a:pt x="1085" y="6453"/>
                  </a:lnTo>
                  <a:close/>
                  <a:moveTo>
                    <a:pt x="0" y="85"/>
                  </a:moveTo>
                  <a:lnTo>
                    <a:pt x="1085" y="85"/>
                  </a:lnTo>
                  <a:lnTo>
                    <a:pt x="1085" y="585"/>
                  </a:lnTo>
                  <a:cubicBezTo>
                    <a:pt x="1342" y="314"/>
                    <a:pt x="1785" y="0"/>
                    <a:pt x="2413" y="0"/>
                  </a:cubicBezTo>
                  <a:cubicBezTo>
                    <a:pt x="3342" y="0"/>
                    <a:pt x="3799" y="614"/>
                    <a:pt x="3799" y="1527"/>
                  </a:cubicBezTo>
                  <a:lnTo>
                    <a:pt x="3799" y="6353"/>
                  </a:lnTo>
                  <a:cubicBezTo>
                    <a:pt x="3799" y="7267"/>
                    <a:pt x="3342" y="7881"/>
                    <a:pt x="2413" y="7881"/>
                  </a:cubicBezTo>
                  <a:cubicBezTo>
                    <a:pt x="1785" y="7881"/>
                    <a:pt x="1342" y="7581"/>
                    <a:pt x="1085" y="7324"/>
                  </a:cubicBezTo>
                  <a:lnTo>
                    <a:pt x="1085" y="9811"/>
                  </a:lnTo>
                  <a:lnTo>
                    <a:pt x="0" y="9811"/>
                  </a:lnTo>
                  <a:lnTo>
                    <a:pt x="0" y="85"/>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endParaRPr lang="en-US"/>
            </a:p>
          </p:txBody>
        </p:sp>
        <p:sp>
          <p:nvSpPr>
            <p:cNvPr id="8" name="Freeform 3">
              <a:extLst>
                <a:ext uri="{FF2B5EF4-FFF2-40B4-BE49-F238E27FC236}">
                  <a16:creationId xmlns:a16="http://schemas.microsoft.com/office/drawing/2014/main" id="{AF3FA770-C5C3-6571-E8BC-56AC1F8A9BB3}"/>
                </a:ext>
              </a:extLst>
            </p:cNvPr>
            <p:cNvSpPr>
              <a:spLocks noChangeArrowheads="1"/>
            </p:cNvSpPr>
            <p:nvPr/>
          </p:nvSpPr>
          <p:spPr bwMode="auto">
            <a:xfrm>
              <a:off x="4711700" y="2035175"/>
              <a:ext cx="1328738" cy="2836863"/>
            </a:xfrm>
            <a:custGeom>
              <a:avLst/>
              <a:gdLst>
                <a:gd name="T0" fmla="*/ 937679 w 3690"/>
                <a:gd name="T1" fmla="*/ 2338019 h 7882"/>
                <a:gd name="T2" fmla="*/ 937679 w 3690"/>
                <a:gd name="T3" fmla="*/ 1422750 h 7882"/>
                <a:gd name="T4" fmla="*/ 582988 w 3690"/>
                <a:gd name="T5" fmla="*/ 1556999 h 7882"/>
                <a:gd name="T6" fmla="*/ 392500 w 3690"/>
                <a:gd name="T7" fmla="*/ 1844573 h 7882"/>
                <a:gd name="T8" fmla="*/ 392500 w 3690"/>
                <a:gd name="T9" fmla="*/ 2266035 h 7882"/>
                <a:gd name="T10" fmla="*/ 582988 w 3690"/>
                <a:gd name="T11" fmla="*/ 2466149 h 7882"/>
                <a:gd name="T12" fmla="*/ 937679 w 3690"/>
                <a:gd name="T13" fmla="*/ 2338019 h 7882"/>
                <a:gd name="T14" fmla="*/ 2161 w 3690"/>
                <a:gd name="T15" fmla="*/ 1839174 h 7882"/>
                <a:gd name="T16" fmla="*/ 413025 w 3690"/>
                <a:gd name="T17" fmla="*/ 1253950 h 7882"/>
                <a:gd name="T18" fmla="*/ 937679 w 3690"/>
                <a:gd name="T19" fmla="*/ 1073991 h 7882"/>
                <a:gd name="T20" fmla="*/ 937679 w 3690"/>
                <a:gd name="T21" fmla="*/ 611498 h 7882"/>
                <a:gd name="T22" fmla="*/ 690656 w 3690"/>
                <a:gd name="T23" fmla="*/ 359557 h 7882"/>
                <a:gd name="T24" fmla="*/ 627280 w 3690"/>
                <a:gd name="T25" fmla="*/ 359557 h 7882"/>
                <a:gd name="T26" fmla="*/ 380257 w 3690"/>
                <a:gd name="T27" fmla="*/ 611498 h 7882"/>
                <a:gd name="T28" fmla="*/ 380257 w 3690"/>
                <a:gd name="T29" fmla="*/ 1004527 h 7882"/>
                <a:gd name="T30" fmla="*/ 0 w 3690"/>
                <a:gd name="T31" fmla="*/ 1004527 h 7882"/>
                <a:gd name="T32" fmla="*/ 0 w 3690"/>
                <a:gd name="T33" fmla="*/ 626975 h 7882"/>
                <a:gd name="T34" fmla="*/ 627280 w 3690"/>
                <a:gd name="T35" fmla="*/ 0 h 7882"/>
                <a:gd name="T36" fmla="*/ 701098 w 3690"/>
                <a:gd name="T37" fmla="*/ 0 h 7882"/>
                <a:gd name="T38" fmla="*/ 1328378 w 3690"/>
                <a:gd name="T39" fmla="*/ 626975 h 7882"/>
                <a:gd name="T40" fmla="*/ 1328378 w 3690"/>
                <a:gd name="T41" fmla="*/ 2805550 h 7882"/>
                <a:gd name="T42" fmla="*/ 937679 w 3690"/>
                <a:gd name="T43" fmla="*/ 2805550 h 7882"/>
                <a:gd name="T44" fmla="*/ 937679 w 3690"/>
                <a:gd name="T45" fmla="*/ 2630631 h 7882"/>
                <a:gd name="T46" fmla="*/ 459477 w 3690"/>
                <a:gd name="T47" fmla="*/ 2836503 h 7882"/>
                <a:gd name="T48" fmla="*/ 2161 w 3690"/>
                <a:gd name="T49" fmla="*/ 2348096 h 7882"/>
                <a:gd name="T50" fmla="*/ 2161 w 3690"/>
                <a:gd name="T51" fmla="*/ 1839174 h 7882"/>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3690" h="7882">
                  <a:moveTo>
                    <a:pt x="2604" y="6496"/>
                  </a:moveTo>
                  <a:lnTo>
                    <a:pt x="2604" y="3953"/>
                  </a:lnTo>
                  <a:lnTo>
                    <a:pt x="1619" y="4326"/>
                  </a:lnTo>
                  <a:cubicBezTo>
                    <a:pt x="1219" y="4483"/>
                    <a:pt x="1090" y="4683"/>
                    <a:pt x="1090" y="5125"/>
                  </a:cubicBezTo>
                  <a:lnTo>
                    <a:pt x="1090" y="6296"/>
                  </a:lnTo>
                  <a:cubicBezTo>
                    <a:pt x="1090" y="6667"/>
                    <a:pt x="1276" y="6852"/>
                    <a:pt x="1619" y="6852"/>
                  </a:cubicBezTo>
                  <a:cubicBezTo>
                    <a:pt x="1947" y="6852"/>
                    <a:pt x="2247" y="6738"/>
                    <a:pt x="2604" y="6496"/>
                  </a:cubicBezTo>
                  <a:close/>
                  <a:moveTo>
                    <a:pt x="6" y="5110"/>
                  </a:moveTo>
                  <a:cubicBezTo>
                    <a:pt x="6" y="4155"/>
                    <a:pt x="320" y="3769"/>
                    <a:pt x="1147" y="3484"/>
                  </a:cubicBezTo>
                  <a:lnTo>
                    <a:pt x="2604" y="2984"/>
                  </a:lnTo>
                  <a:lnTo>
                    <a:pt x="2604" y="1699"/>
                  </a:lnTo>
                  <a:cubicBezTo>
                    <a:pt x="2604" y="1242"/>
                    <a:pt x="2375" y="999"/>
                    <a:pt x="1918" y="999"/>
                  </a:cubicBezTo>
                  <a:lnTo>
                    <a:pt x="1742" y="999"/>
                  </a:lnTo>
                  <a:cubicBezTo>
                    <a:pt x="1285" y="999"/>
                    <a:pt x="1056" y="1242"/>
                    <a:pt x="1056" y="1699"/>
                  </a:cubicBezTo>
                  <a:lnTo>
                    <a:pt x="1056" y="2791"/>
                  </a:lnTo>
                  <a:lnTo>
                    <a:pt x="0" y="2791"/>
                  </a:lnTo>
                  <a:lnTo>
                    <a:pt x="0" y="1742"/>
                  </a:lnTo>
                  <a:cubicBezTo>
                    <a:pt x="0" y="585"/>
                    <a:pt x="586" y="0"/>
                    <a:pt x="1742" y="0"/>
                  </a:cubicBezTo>
                  <a:lnTo>
                    <a:pt x="1947" y="0"/>
                  </a:lnTo>
                  <a:cubicBezTo>
                    <a:pt x="3104" y="0"/>
                    <a:pt x="3689" y="585"/>
                    <a:pt x="3689" y="1742"/>
                  </a:cubicBezTo>
                  <a:lnTo>
                    <a:pt x="3689" y="7795"/>
                  </a:lnTo>
                  <a:lnTo>
                    <a:pt x="2604" y="7795"/>
                  </a:lnTo>
                  <a:lnTo>
                    <a:pt x="2604" y="7309"/>
                  </a:lnTo>
                  <a:cubicBezTo>
                    <a:pt x="2304" y="7595"/>
                    <a:pt x="1904" y="7881"/>
                    <a:pt x="1276" y="7881"/>
                  </a:cubicBezTo>
                  <a:cubicBezTo>
                    <a:pt x="406" y="7881"/>
                    <a:pt x="6" y="7381"/>
                    <a:pt x="6" y="6524"/>
                  </a:cubicBezTo>
                  <a:lnTo>
                    <a:pt x="6" y="5110"/>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endParaRPr lang="en-US"/>
            </a:p>
          </p:txBody>
        </p:sp>
        <p:sp>
          <p:nvSpPr>
            <p:cNvPr id="14" name="Freeform 4">
              <a:extLst>
                <a:ext uri="{FF2B5EF4-FFF2-40B4-BE49-F238E27FC236}">
                  <a16:creationId xmlns:a16="http://schemas.microsoft.com/office/drawing/2014/main" id="{1F0E52A9-2FCF-090E-DCF8-AF21DF0A12A8}"/>
                </a:ext>
              </a:extLst>
            </p:cNvPr>
            <p:cNvSpPr>
              <a:spLocks noChangeArrowheads="1"/>
            </p:cNvSpPr>
            <p:nvPr/>
          </p:nvSpPr>
          <p:spPr bwMode="auto">
            <a:xfrm>
              <a:off x="6292850" y="2035175"/>
              <a:ext cx="2262188" cy="2806700"/>
            </a:xfrm>
            <a:custGeom>
              <a:avLst/>
              <a:gdLst>
                <a:gd name="T0" fmla="*/ 1326358 w 6285"/>
                <a:gd name="T1" fmla="*/ 2806340 h 7796"/>
                <a:gd name="T2" fmla="*/ 935470 w 6285"/>
                <a:gd name="T3" fmla="*/ 2806340 h 7796"/>
                <a:gd name="T4" fmla="*/ 935470 w 6285"/>
                <a:gd name="T5" fmla="*/ 570628 h 7796"/>
                <a:gd name="T6" fmla="*/ 750463 w 6285"/>
                <a:gd name="T7" fmla="*/ 370098 h 7796"/>
                <a:gd name="T8" fmla="*/ 390889 w 6285"/>
                <a:gd name="T9" fmla="*/ 508705 h 7796"/>
                <a:gd name="T10" fmla="*/ 390889 w 6285"/>
                <a:gd name="T11" fmla="*/ 2806340 h 7796"/>
                <a:gd name="T12" fmla="*/ 0 w 6285"/>
                <a:gd name="T13" fmla="*/ 2806340 h 7796"/>
                <a:gd name="T14" fmla="*/ 0 w 6285"/>
                <a:gd name="T15" fmla="*/ 30602 h 7796"/>
                <a:gd name="T16" fmla="*/ 390889 w 6285"/>
                <a:gd name="T17" fmla="*/ 30602 h 7796"/>
                <a:gd name="T18" fmla="*/ 390889 w 6285"/>
                <a:gd name="T19" fmla="*/ 210611 h 7796"/>
                <a:gd name="T20" fmla="*/ 868882 w 6285"/>
                <a:gd name="T21" fmla="*/ 0 h 7796"/>
                <a:gd name="T22" fmla="*/ 1274888 w 6285"/>
                <a:gd name="T23" fmla="*/ 226091 h 7796"/>
                <a:gd name="T24" fmla="*/ 1804351 w 6285"/>
                <a:gd name="T25" fmla="*/ 0 h 7796"/>
                <a:gd name="T26" fmla="*/ 2261828 w 6285"/>
                <a:gd name="T27" fmla="*/ 488184 h 7796"/>
                <a:gd name="T28" fmla="*/ 2261828 w 6285"/>
                <a:gd name="T29" fmla="*/ 2806340 h 7796"/>
                <a:gd name="T30" fmla="*/ 1870939 w 6285"/>
                <a:gd name="T31" fmla="*/ 2806340 h 7796"/>
                <a:gd name="T32" fmla="*/ 1870939 w 6285"/>
                <a:gd name="T33" fmla="*/ 570628 h 7796"/>
                <a:gd name="T34" fmla="*/ 1685933 w 6285"/>
                <a:gd name="T35" fmla="*/ 370098 h 7796"/>
                <a:gd name="T36" fmla="*/ 1326358 w 6285"/>
                <a:gd name="T37" fmla="*/ 508705 h 7796"/>
                <a:gd name="T38" fmla="*/ 1326358 w 6285"/>
                <a:gd name="T39" fmla="*/ 2806340 h 779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6285" h="7796">
                  <a:moveTo>
                    <a:pt x="3685" y="7795"/>
                  </a:moveTo>
                  <a:lnTo>
                    <a:pt x="2599" y="7795"/>
                  </a:lnTo>
                  <a:lnTo>
                    <a:pt x="2599" y="1585"/>
                  </a:lnTo>
                  <a:cubicBezTo>
                    <a:pt x="2599" y="1199"/>
                    <a:pt x="2414" y="1028"/>
                    <a:pt x="2085" y="1028"/>
                  </a:cubicBezTo>
                  <a:cubicBezTo>
                    <a:pt x="1785" y="1028"/>
                    <a:pt x="1471" y="1142"/>
                    <a:pt x="1086" y="1413"/>
                  </a:cubicBezTo>
                  <a:lnTo>
                    <a:pt x="1086" y="7795"/>
                  </a:lnTo>
                  <a:lnTo>
                    <a:pt x="0" y="7795"/>
                  </a:lnTo>
                  <a:lnTo>
                    <a:pt x="0" y="85"/>
                  </a:lnTo>
                  <a:lnTo>
                    <a:pt x="1086" y="85"/>
                  </a:lnTo>
                  <a:lnTo>
                    <a:pt x="1086" y="585"/>
                  </a:lnTo>
                  <a:cubicBezTo>
                    <a:pt x="1400" y="285"/>
                    <a:pt x="1814" y="0"/>
                    <a:pt x="2414" y="0"/>
                  </a:cubicBezTo>
                  <a:cubicBezTo>
                    <a:pt x="2971" y="0"/>
                    <a:pt x="3342" y="228"/>
                    <a:pt x="3542" y="628"/>
                  </a:cubicBezTo>
                  <a:cubicBezTo>
                    <a:pt x="3928" y="299"/>
                    <a:pt x="4385" y="0"/>
                    <a:pt x="5013" y="0"/>
                  </a:cubicBezTo>
                  <a:cubicBezTo>
                    <a:pt x="5855" y="0"/>
                    <a:pt x="6284" y="514"/>
                    <a:pt x="6284" y="1356"/>
                  </a:cubicBezTo>
                  <a:lnTo>
                    <a:pt x="6284" y="7795"/>
                  </a:lnTo>
                  <a:lnTo>
                    <a:pt x="5198" y="7795"/>
                  </a:lnTo>
                  <a:lnTo>
                    <a:pt x="5198" y="1585"/>
                  </a:lnTo>
                  <a:cubicBezTo>
                    <a:pt x="5198" y="1199"/>
                    <a:pt x="5013" y="1028"/>
                    <a:pt x="4684" y="1028"/>
                  </a:cubicBezTo>
                  <a:cubicBezTo>
                    <a:pt x="4385" y="1028"/>
                    <a:pt x="4070" y="1142"/>
                    <a:pt x="3685" y="1413"/>
                  </a:cubicBezTo>
                  <a:lnTo>
                    <a:pt x="3685" y="7795"/>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endParaRPr lang="en-US"/>
            </a:p>
          </p:txBody>
        </p:sp>
        <p:sp>
          <p:nvSpPr>
            <p:cNvPr id="15" name="Freeform 5">
              <a:extLst>
                <a:ext uri="{FF2B5EF4-FFF2-40B4-BE49-F238E27FC236}">
                  <a16:creationId xmlns:a16="http://schemas.microsoft.com/office/drawing/2014/main" id="{4F51781C-8884-B078-A5FA-DA416B509502}"/>
                </a:ext>
              </a:extLst>
            </p:cNvPr>
            <p:cNvSpPr>
              <a:spLocks noChangeArrowheads="1"/>
            </p:cNvSpPr>
            <p:nvPr/>
          </p:nvSpPr>
          <p:spPr bwMode="auto">
            <a:xfrm>
              <a:off x="14288" y="2322513"/>
              <a:ext cx="1004887" cy="2274887"/>
            </a:xfrm>
            <a:custGeom>
              <a:avLst/>
              <a:gdLst>
                <a:gd name="T0" fmla="*/ 1004527 w 2790"/>
                <a:gd name="T1" fmla="*/ 0 h 6317"/>
                <a:gd name="T2" fmla="*/ 1004527 w 2790"/>
                <a:gd name="T3" fmla="*/ 510652 h 6317"/>
                <a:gd name="T4" fmla="*/ 346488 w 2790"/>
                <a:gd name="T5" fmla="*/ 1137624 h 6317"/>
                <a:gd name="T6" fmla="*/ 1004527 w 2790"/>
                <a:gd name="T7" fmla="*/ 1752711 h 6317"/>
                <a:gd name="T8" fmla="*/ 1004527 w 2790"/>
                <a:gd name="T9" fmla="*/ 2274527 h 6317"/>
                <a:gd name="T10" fmla="*/ 0 w 2790"/>
                <a:gd name="T11" fmla="*/ 1331009 h 6317"/>
                <a:gd name="T12" fmla="*/ 0 w 2790"/>
                <a:gd name="T13" fmla="*/ 955042 h 6317"/>
                <a:gd name="T14" fmla="*/ 1004527 w 2790"/>
                <a:gd name="T15" fmla="*/ 0 h 6317"/>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2790" h="6317">
                  <a:moveTo>
                    <a:pt x="2789" y="0"/>
                  </a:moveTo>
                  <a:lnTo>
                    <a:pt x="2789" y="1418"/>
                  </a:lnTo>
                  <a:lnTo>
                    <a:pt x="962" y="3159"/>
                  </a:lnTo>
                  <a:lnTo>
                    <a:pt x="2789" y="4867"/>
                  </a:lnTo>
                  <a:lnTo>
                    <a:pt x="2789" y="6316"/>
                  </a:lnTo>
                  <a:lnTo>
                    <a:pt x="0" y="3696"/>
                  </a:lnTo>
                  <a:lnTo>
                    <a:pt x="0" y="2652"/>
                  </a:lnTo>
                  <a:lnTo>
                    <a:pt x="2789"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endParaRPr lang="en-US"/>
            </a:p>
          </p:txBody>
        </p:sp>
        <p:sp>
          <p:nvSpPr>
            <p:cNvPr id="16" name="Freeform 6">
              <a:extLst>
                <a:ext uri="{FF2B5EF4-FFF2-40B4-BE49-F238E27FC236}">
                  <a16:creationId xmlns:a16="http://schemas.microsoft.com/office/drawing/2014/main" id="{5CE18227-3981-EFC5-5AA3-BDB3BBE08328}"/>
                </a:ext>
              </a:extLst>
            </p:cNvPr>
            <p:cNvSpPr>
              <a:spLocks noChangeArrowheads="1"/>
            </p:cNvSpPr>
            <p:nvPr/>
          </p:nvSpPr>
          <p:spPr bwMode="auto">
            <a:xfrm>
              <a:off x="9050338" y="2322513"/>
              <a:ext cx="1003300" cy="2274887"/>
            </a:xfrm>
            <a:custGeom>
              <a:avLst/>
              <a:gdLst>
                <a:gd name="T0" fmla="*/ 1002940 w 2789"/>
                <a:gd name="T1" fmla="*/ 955042 h 6317"/>
                <a:gd name="T2" fmla="*/ 1002940 w 2789"/>
                <a:gd name="T3" fmla="*/ 1331009 h 6317"/>
                <a:gd name="T4" fmla="*/ 0 w 2789"/>
                <a:gd name="T5" fmla="*/ 2274527 h 6317"/>
                <a:gd name="T6" fmla="*/ 0 w 2789"/>
                <a:gd name="T7" fmla="*/ 1752711 h 6317"/>
                <a:gd name="T8" fmla="*/ 656876 w 2789"/>
                <a:gd name="T9" fmla="*/ 1137624 h 6317"/>
                <a:gd name="T10" fmla="*/ 0 w 2789"/>
                <a:gd name="T11" fmla="*/ 510652 h 6317"/>
                <a:gd name="T12" fmla="*/ 0 w 2789"/>
                <a:gd name="T13" fmla="*/ 0 h 6317"/>
                <a:gd name="T14" fmla="*/ 1002940 w 2789"/>
                <a:gd name="T15" fmla="*/ 955042 h 6317"/>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2789" h="6317">
                  <a:moveTo>
                    <a:pt x="2788" y="2652"/>
                  </a:moveTo>
                  <a:lnTo>
                    <a:pt x="2788" y="3696"/>
                  </a:lnTo>
                  <a:lnTo>
                    <a:pt x="0" y="6316"/>
                  </a:lnTo>
                  <a:lnTo>
                    <a:pt x="0" y="4867"/>
                  </a:lnTo>
                  <a:lnTo>
                    <a:pt x="1826" y="3159"/>
                  </a:lnTo>
                  <a:lnTo>
                    <a:pt x="0" y="1418"/>
                  </a:lnTo>
                  <a:lnTo>
                    <a:pt x="0" y="0"/>
                  </a:lnTo>
                  <a:lnTo>
                    <a:pt x="2788" y="2652"/>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endParaRPr lang="en-US"/>
            </a:p>
          </p:txBody>
        </p:sp>
      </p:grpSp>
      <p:sp>
        <p:nvSpPr>
          <p:cNvPr id="17" name="Footer Placeholder 14">
            <a:extLst>
              <a:ext uri="{FF2B5EF4-FFF2-40B4-BE49-F238E27FC236}">
                <a16:creationId xmlns:a16="http://schemas.microsoft.com/office/drawing/2014/main" id="{A891170D-969D-09A4-4623-4432841E0A73}"/>
              </a:ext>
            </a:extLst>
          </p:cNvPr>
          <p:cNvSpPr txBox="1">
            <a:spLocks/>
          </p:cNvSpPr>
          <p:nvPr userDrawn="1"/>
        </p:nvSpPr>
        <p:spPr>
          <a:xfrm>
            <a:off x="1206203" y="6411603"/>
            <a:ext cx="2157779" cy="228599"/>
          </a:xfrm>
          <a:prstGeom prst="rect">
            <a:avLst/>
          </a:prstGeom>
        </p:spPr>
        <p:txBody>
          <a:bodyPr vert="horz" lIns="0" tIns="0" rIns="0" bIns="0" rtlCol="0" anchor="ctr"/>
          <a:lstStyle>
            <a:defPPr>
              <a:defRPr lang="en-US"/>
            </a:defPPr>
            <a:lvl1pPr marL="0" algn="r" defTabSz="914400" rtl="0" eaLnBrk="1" latinLnBrk="0" hangingPunct="1">
              <a:defRPr sz="600" b="0" i="0" kern="1200">
                <a:solidFill>
                  <a:schemeClr val="tx1"/>
                </a:solidFill>
                <a:latin typeface="+mn-lt"/>
                <a:ea typeface="Calibri" panose="020F0502020204030204" pitchFamily="34" charset="0"/>
                <a:cs typeface="Calibri" panose="020F050202020403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b="0" i="0">
                <a:solidFill>
                  <a:schemeClr val="bg1"/>
                </a:solidFill>
                <a:latin typeface="+mn-lt"/>
              </a:rPr>
              <a:t>EPAM Proprietary &amp; Confidential</a:t>
            </a:r>
            <a:r>
              <a:rPr lang="ru-RU" b="0" i="0">
                <a:solidFill>
                  <a:schemeClr val="bg1"/>
                </a:solidFill>
                <a:latin typeface="+mn-lt"/>
              </a:rPr>
              <a:t> </a:t>
            </a:r>
            <a:endParaRPr lang="en-US" b="0" i="0">
              <a:solidFill>
                <a:schemeClr val="bg1"/>
              </a:solidFill>
              <a:latin typeface="+mn-lt"/>
            </a:endParaRPr>
          </a:p>
        </p:txBody>
      </p:sp>
      <p:pic>
        <p:nvPicPr>
          <p:cNvPr id="20" name="Graphic 19">
            <a:extLst>
              <a:ext uri="{FF2B5EF4-FFF2-40B4-BE49-F238E27FC236}">
                <a16:creationId xmlns:a16="http://schemas.microsoft.com/office/drawing/2014/main" id="{EBF72C83-E54B-9277-AEBB-9C53863044F2}"/>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820266" y="6419060"/>
            <a:ext cx="762921" cy="205636"/>
          </a:xfrm>
          <a:prstGeom prst="rect">
            <a:avLst/>
          </a:prstGeom>
        </p:spPr>
      </p:pic>
    </p:spTree>
    <p:extLst>
      <p:ext uri="{BB962C8B-B14F-4D97-AF65-F5344CB8AC3E}">
        <p14:creationId xmlns:p14="http://schemas.microsoft.com/office/powerpoint/2010/main" val="1221450337"/>
      </p:ext>
    </p:extLst>
  </p:cSld>
  <p:clrMapOvr>
    <a:masterClrMapping/>
  </p:clrMapOvr>
  <p:extLst>
    <p:ext uri="{DCECCB84-F9BA-43D5-87BE-67443E8EF086}">
      <p15:sldGuideLst xmlns:p15="http://schemas.microsoft.com/office/powerpoint/2012/main"/>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1_Quote+Image">
    <p:bg>
      <p:bgPr>
        <a:solidFill>
          <a:schemeClr val="bg1"/>
        </a:solidFill>
        <a:effectLst/>
      </p:bgPr>
    </p:bg>
    <p:spTree>
      <p:nvGrpSpPr>
        <p:cNvPr id="1" name=""/>
        <p:cNvGrpSpPr/>
        <p:nvPr/>
      </p:nvGrpSpPr>
      <p:grpSpPr>
        <a:xfrm>
          <a:off x="0" y="0"/>
          <a:ext cx="0" cy="0"/>
          <a:chOff x="0" y="0"/>
          <a:chExt cx="0" cy="0"/>
        </a:xfrm>
      </p:grpSpPr>
      <p:sp>
        <p:nvSpPr>
          <p:cNvPr id="2" name="Text Placeholder 4">
            <a:extLst>
              <a:ext uri="{FF2B5EF4-FFF2-40B4-BE49-F238E27FC236}">
                <a16:creationId xmlns:a16="http://schemas.microsoft.com/office/drawing/2014/main" id="{433DDFE8-68E0-F21D-DCE9-D9E38F969DA2}"/>
              </a:ext>
            </a:extLst>
          </p:cNvPr>
          <p:cNvSpPr>
            <a:spLocks noGrp="1"/>
          </p:cNvSpPr>
          <p:nvPr>
            <p:ph type="body" sz="quarter" idx="11" hasCustomPrompt="1"/>
          </p:nvPr>
        </p:nvSpPr>
        <p:spPr>
          <a:xfrm>
            <a:off x="649224" y="420624"/>
            <a:ext cx="3732914" cy="153888"/>
          </a:xfrm>
          <a:prstGeom prst="rect">
            <a:avLst/>
          </a:prstGeom>
        </p:spPr>
        <p:txBody>
          <a:bodyPr wrap="square">
            <a:spAutoFit/>
          </a:bodyPr>
          <a:lstStyle>
            <a:lvl1pPr>
              <a:lnSpc>
                <a:spcPct val="100000"/>
              </a:lnSpc>
              <a:spcBef>
                <a:spcPts val="0"/>
              </a:spcBef>
              <a:defRPr sz="1000" b="0" spc="300">
                <a:solidFill>
                  <a:srgbClr val="000000"/>
                </a:solidFill>
                <a:latin typeface="+mj-lt"/>
                <a:cs typeface="Calibri Light" panose="020F0302020204030204" pitchFamily="34" charset="0"/>
              </a:defRPr>
            </a:lvl1pPr>
            <a:lvl2pPr>
              <a:buNone/>
              <a:defRPr/>
            </a:lvl2pPr>
          </a:lstStyle>
          <a:p>
            <a:pPr lvl="0"/>
            <a:r>
              <a:rPr lang="en-US">
                <a:effectLst/>
              </a:rPr>
              <a:t>SECTION TITLE</a:t>
            </a:r>
            <a:endParaRPr lang="en-US"/>
          </a:p>
        </p:txBody>
      </p:sp>
      <p:sp>
        <p:nvSpPr>
          <p:cNvPr id="11" name="Title 2">
            <a:extLst>
              <a:ext uri="{FF2B5EF4-FFF2-40B4-BE49-F238E27FC236}">
                <a16:creationId xmlns:a16="http://schemas.microsoft.com/office/drawing/2014/main" id="{E4D0B811-ED8A-9D55-BC17-49A3393806F6}"/>
              </a:ext>
            </a:extLst>
          </p:cNvPr>
          <p:cNvSpPr>
            <a:spLocks noGrp="1"/>
          </p:cNvSpPr>
          <p:nvPr>
            <p:ph type="title" hasCustomPrompt="1"/>
          </p:nvPr>
        </p:nvSpPr>
        <p:spPr>
          <a:xfrm>
            <a:off x="5091684" y="1455006"/>
            <a:ext cx="6452616" cy="2215991"/>
          </a:xfrm>
          <a:prstGeom prst="rect">
            <a:avLst/>
          </a:prstGeom>
        </p:spPr>
        <p:txBody>
          <a:bodyPr wrap="square">
            <a:spAutoFit/>
          </a:bodyPr>
          <a:lstStyle>
            <a:lvl1pPr>
              <a:defRPr sz="3600" b="1" i="0">
                <a:solidFill>
                  <a:srgbClr val="000000"/>
                </a:solidFill>
                <a:latin typeface="Calibri" panose="020F0502020204030204" pitchFamily="34" charset="0"/>
                <a:cs typeface="Calibri" panose="020F0502020204030204" pitchFamily="34" charset="0"/>
              </a:defRPr>
            </a:lvl1pPr>
          </a:lstStyle>
          <a:p>
            <a:r>
              <a:rPr lang="en-US"/>
              <a:t>Sometimes you need to add a slightly longer quote. Sometimes you need to add a slightly longer quote.”</a:t>
            </a:r>
          </a:p>
        </p:txBody>
      </p:sp>
      <p:sp>
        <p:nvSpPr>
          <p:cNvPr id="12" name="Text Placeholder 4">
            <a:extLst>
              <a:ext uri="{FF2B5EF4-FFF2-40B4-BE49-F238E27FC236}">
                <a16:creationId xmlns:a16="http://schemas.microsoft.com/office/drawing/2014/main" id="{715767D7-CA92-A238-92D2-5F669365D486}"/>
              </a:ext>
            </a:extLst>
          </p:cNvPr>
          <p:cNvSpPr>
            <a:spLocks noGrp="1"/>
          </p:cNvSpPr>
          <p:nvPr>
            <p:ph type="body" sz="quarter" idx="16" hasCustomPrompt="1"/>
          </p:nvPr>
        </p:nvSpPr>
        <p:spPr>
          <a:xfrm>
            <a:off x="5091683" y="4434840"/>
            <a:ext cx="4554537" cy="507831"/>
          </a:xfrm>
          <a:prstGeom prst="rect">
            <a:avLst/>
          </a:prstGeom>
        </p:spPr>
        <p:txBody>
          <a:bodyPr wrap="square" anchor="t" anchorCtr="0">
            <a:spAutoFit/>
          </a:bodyPr>
          <a:lstStyle>
            <a:lvl1pPr>
              <a:defRPr sz="1400" b="1" i="0">
                <a:solidFill>
                  <a:srgbClr val="000000"/>
                </a:solidFill>
                <a:latin typeface="Calibri" panose="020F0502020204030204" pitchFamily="34" charset="0"/>
                <a:cs typeface="Calibri" panose="020F0502020204030204" pitchFamily="34" charset="0"/>
              </a:defRPr>
            </a:lvl1pPr>
          </a:lstStyle>
          <a:p>
            <a:pPr lvl="0"/>
            <a:r>
              <a:rPr lang="en-US" err="1"/>
              <a:t>Firstname</a:t>
            </a:r>
            <a:r>
              <a:rPr lang="en-US"/>
              <a:t> </a:t>
            </a:r>
            <a:r>
              <a:rPr lang="en-US" err="1"/>
              <a:t>Lastname</a:t>
            </a:r>
            <a:endParaRPr lang="en-US"/>
          </a:p>
          <a:p>
            <a:pPr lvl="0"/>
            <a:r>
              <a:rPr lang="en-US"/>
              <a:t>Job Title, Company</a:t>
            </a:r>
          </a:p>
        </p:txBody>
      </p:sp>
      <p:sp>
        <p:nvSpPr>
          <p:cNvPr id="13" name="Picture Placeholder 8">
            <a:extLst>
              <a:ext uri="{FF2B5EF4-FFF2-40B4-BE49-F238E27FC236}">
                <a16:creationId xmlns:a16="http://schemas.microsoft.com/office/drawing/2014/main" id="{93D416F1-8A75-DCD6-2A1A-B16BE09ABC02}"/>
              </a:ext>
            </a:extLst>
          </p:cNvPr>
          <p:cNvSpPr>
            <a:spLocks noGrp="1"/>
          </p:cNvSpPr>
          <p:nvPr>
            <p:ph type="pic" sz="quarter" idx="26"/>
          </p:nvPr>
        </p:nvSpPr>
        <p:spPr>
          <a:xfrm>
            <a:off x="655449" y="1562100"/>
            <a:ext cx="3726051" cy="4100476"/>
          </a:xfrm>
          <a:prstGeom prst="rect">
            <a:avLst/>
          </a:prstGeom>
        </p:spPr>
        <p:txBody>
          <a:bodyPr/>
          <a:lstStyle>
            <a:lvl1pPr>
              <a:defRPr>
                <a:solidFill>
                  <a:srgbClr val="000000"/>
                </a:solidFill>
              </a:defRPr>
            </a:lvl1pPr>
          </a:lstStyle>
          <a:p>
            <a:endParaRPr lang="en-US"/>
          </a:p>
        </p:txBody>
      </p:sp>
      <p:sp>
        <p:nvSpPr>
          <p:cNvPr id="14" name="Title 2">
            <a:extLst>
              <a:ext uri="{FF2B5EF4-FFF2-40B4-BE49-F238E27FC236}">
                <a16:creationId xmlns:a16="http://schemas.microsoft.com/office/drawing/2014/main" id="{8EB1EBBF-7474-72D1-50C0-54A45DCBFB2E}"/>
              </a:ext>
            </a:extLst>
          </p:cNvPr>
          <p:cNvSpPr txBox="1">
            <a:spLocks/>
          </p:cNvSpPr>
          <p:nvPr userDrawn="1"/>
        </p:nvSpPr>
        <p:spPr>
          <a:xfrm>
            <a:off x="4772719" y="1455006"/>
            <a:ext cx="294582" cy="553998"/>
          </a:xfrm>
          <a:prstGeom prst="rect">
            <a:avLst/>
          </a:prstGeom>
        </p:spPr>
        <p:txBody>
          <a:bodyPr vert="horz" wrap="square" lIns="0" tIns="0" rIns="0" bIns="0" rtlCol="0" anchor="t">
            <a:spAutoFit/>
          </a:bodyPr>
          <a:lstStyle>
            <a:lvl1pPr algn="l" defTabSz="914400" rtl="0" eaLnBrk="1" latinLnBrk="0" hangingPunct="1">
              <a:lnSpc>
                <a:spcPct val="100000"/>
              </a:lnSpc>
              <a:spcBef>
                <a:spcPct val="0"/>
              </a:spcBef>
              <a:buNone/>
              <a:defRPr sz="3600" b="1" i="0" kern="1200">
                <a:solidFill>
                  <a:srgbClr val="000000"/>
                </a:solidFill>
                <a:latin typeface="Calibri" panose="020F0502020204030204" pitchFamily="34" charset="0"/>
                <a:ea typeface="Calibri Light" panose="020F0302020204030204" pitchFamily="34" charset="0"/>
                <a:cs typeface="Calibri" panose="020F0502020204030204" pitchFamily="34" charset="0"/>
              </a:defRPr>
            </a:lvl1pPr>
          </a:lstStyle>
          <a:p>
            <a:r>
              <a:rPr lang="en-US"/>
              <a:t>“</a:t>
            </a:r>
          </a:p>
        </p:txBody>
      </p:sp>
      <p:grpSp>
        <p:nvGrpSpPr>
          <p:cNvPr id="6" name="Group 5">
            <a:extLst>
              <a:ext uri="{FF2B5EF4-FFF2-40B4-BE49-F238E27FC236}">
                <a16:creationId xmlns:a16="http://schemas.microsoft.com/office/drawing/2014/main" id="{7091C008-6948-E4D2-DA17-EB059B8F5916}"/>
              </a:ext>
            </a:extLst>
          </p:cNvPr>
          <p:cNvGrpSpPr/>
          <p:nvPr userDrawn="1"/>
        </p:nvGrpSpPr>
        <p:grpSpPr>
          <a:xfrm>
            <a:off x="611054" y="6471298"/>
            <a:ext cx="372834" cy="131175"/>
            <a:chOff x="14288" y="2035175"/>
            <a:chExt cx="10039350" cy="3532188"/>
          </a:xfrm>
          <a:solidFill>
            <a:schemeClr val="tx1"/>
          </a:solidFill>
        </p:grpSpPr>
        <p:sp>
          <p:nvSpPr>
            <p:cNvPr id="7" name="Freeform 1">
              <a:extLst>
                <a:ext uri="{FF2B5EF4-FFF2-40B4-BE49-F238E27FC236}">
                  <a16:creationId xmlns:a16="http://schemas.microsoft.com/office/drawing/2014/main" id="{CAB917DA-C13C-0F8D-643A-0E084B7361F6}"/>
                </a:ext>
              </a:extLst>
            </p:cNvPr>
            <p:cNvSpPr>
              <a:spLocks noChangeArrowheads="1"/>
            </p:cNvSpPr>
            <p:nvPr/>
          </p:nvSpPr>
          <p:spPr bwMode="auto">
            <a:xfrm>
              <a:off x="1519238" y="2035175"/>
              <a:ext cx="1336675" cy="2836863"/>
            </a:xfrm>
            <a:custGeom>
              <a:avLst/>
              <a:gdLst>
                <a:gd name="T0" fmla="*/ 390493 w 3714"/>
                <a:gd name="T1" fmla="*/ 1200682 h 7882"/>
                <a:gd name="T2" fmla="*/ 945462 w 3714"/>
                <a:gd name="T3" fmla="*/ 1200682 h 7882"/>
                <a:gd name="T4" fmla="*/ 945462 w 3714"/>
                <a:gd name="T5" fmla="*/ 611498 h 7882"/>
                <a:gd name="T6" fmla="*/ 698929 w 3714"/>
                <a:gd name="T7" fmla="*/ 364596 h 7882"/>
                <a:gd name="T8" fmla="*/ 637386 w 3714"/>
                <a:gd name="T9" fmla="*/ 364596 h 7882"/>
                <a:gd name="T10" fmla="*/ 390493 w 3714"/>
                <a:gd name="T11" fmla="*/ 611498 h 7882"/>
                <a:gd name="T12" fmla="*/ 390493 w 3714"/>
                <a:gd name="T13" fmla="*/ 1200682 h 7882"/>
                <a:gd name="T14" fmla="*/ 389414 w 3714"/>
                <a:gd name="T15" fmla="*/ 1576795 h 7882"/>
                <a:gd name="T16" fmla="*/ 390493 w 3714"/>
                <a:gd name="T17" fmla="*/ 2224645 h 7882"/>
                <a:gd name="T18" fmla="*/ 637386 w 3714"/>
                <a:gd name="T19" fmla="*/ 2471548 h 7882"/>
                <a:gd name="T20" fmla="*/ 709366 w 3714"/>
                <a:gd name="T21" fmla="*/ 2471548 h 7882"/>
                <a:gd name="T22" fmla="*/ 955899 w 3714"/>
                <a:gd name="T23" fmla="*/ 2224645 h 7882"/>
                <a:gd name="T24" fmla="*/ 955899 w 3714"/>
                <a:gd name="T25" fmla="*/ 1906119 h 7882"/>
                <a:gd name="T26" fmla="*/ 1336315 w 3714"/>
                <a:gd name="T27" fmla="*/ 1906119 h 7882"/>
                <a:gd name="T28" fmla="*/ 1336315 w 3714"/>
                <a:gd name="T29" fmla="*/ 2209528 h 7882"/>
                <a:gd name="T30" fmla="*/ 709366 w 3714"/>
                <a:gd name="T31" fmla="*/ 2836503 h 7882"/>
                <a:gd name="T32" fmla="*/ 626949 w 3714"/>
                <a:gd name="T33" fmla="*/ 2836503 h 7882"/>
                <a:gd name="T34" fmla="*/ 0 w 3714"/>
                <a:gd name="T35" fmla="*/ 2258117 h 7882"/>
                <a:gd name="T36" fmla="*/ 0 w 3714"/>
                <a:gd name="T37" fmla="*/ 675564 h 7882"/>
                <a:gd name="T38" fmla="*/ 626949 w 3714"/>
                <a:gd name="T39" fmla="*/ 0 h 7882"/>
                <a:gd name="T40" fmla="*/ 709366 w 3714"/>
                <a:gd name="T41" fmla="*/ 0 h 7882"/>
                <a:gd name="T42" fmla="*/ 1336315 w 3714"/>
                <a:gd name="T43" fmla="*/ 626975 h 7882"/>
                <a:gd name="T44" fmla="*/ 1334875 w 3714"/>
                <a:gd name="T45" fmla="*/ 1576795 h 7882"/>
                <a:gd name="T46" fmla="*/ 389414 w 3714"/>
                <a:gd name="T47" fmla="*/ 1576795 h 7882"/>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3714" h="7882">
                  <a:moveTo>
                    <a:pt x="1085" y="3336"/>
                  </a:moveTo>
                  <a:lnTo>
                    <a:pt x="2627" y="3336"/>
                  </a:lnTo>
                  <a:lnTo>
                    <a:pt x="2627" y="1699"/>
                  </a:lnTo>
                  <a:cubicBezTo>
                    <a:pt x="2627" y="1242"/>
                    <a:pt x="2399" y="1013"/>
                    <a:pt x="1942" y="1013"/>
                  </a:cubicBezTo>
                  <a:lnTo>
                    <a:pt x="1771" y="1013"/>
                  </a:lnTo>
                  <a:cubicBezTo>
                    <a:pt x="1314" y="1013"/>
                    <a:pt x="1085" y="1242"/>
                    <a:pt x="1085" y="1699"/>
                  </a:cubicBezTo>
                  <a:lnTo>
                    <a:pt x="1085" y="3336"/>
                  </a:lnTo>
                  <a:close/>
                  <a:moveTo>
                    <a:pt x="1082" y="4381"/>
                  </a:moveTo>
                  <a:lnTo>
                    <a:pt x="1085" y="6181"/>
                  </a:lnTo>
                  <a:cubicBezTo>
                    <a:pt x="1085" y="6638"/>
                    <a:pt x="1314" y="6867"/>
                    <a:pt x="1771" y="6867"/>
                  </a:cubicBezTo>
                  <a:lnTo>
                    <a:pt x="1971" y="6867"/>
                  </a:lnTo>
                  <a:cubicBezTo>
                    <a:pt x="2428" y="6867"/>
                    <a:pt x="2656" y="6638"/>
                    <a:pt x="2656" y="6181"/>
                  </a:cubicBezTo>
                  <a:lnTo>
                    <a:pt x="2656" y="5296"/>
                  </a:lnTo>
                  <a:lnTo>
                    <a:pt x="3713" y="5296"/>
                  </a:lnTo>
                  <a:lnTo>
                    <a:pt x="3713" y="6139"/>
                  </a:lnTo>
                  <a:cubicBezTo>
                    <a:pt x="3713" y="7295"/>
                    <a:pt x="3127" y="7881"/>
                    <a:pt x="1971" y="7881"/>
                  </a:cubicBezTo>
                  <a:lnTo>
                    <a:pt x="1742" y="7881"/>
                  </a:lnTo>
                  <a:cubicBezTo>
                    <a:pt x="585" y="7881"/>
                    <a:pt x="0" y="7295"/>
                    <a:pt x="0" y="6274"/>
                  </a:cubicBezTo>
                  <a:lnTo>
                    <a:pt x="0" y="1877"/>
                  </a:lnTo>
                  <a:cubicBezTo>
                    <a:pt x="0" y="585"/>
                    <a:pt x="585" y="0"/>
                    <a:pt x="1742" y="0"/>
                  </a:cubicBezTo>
                  <a:lnTo>
                    <a:pt x="1971" y="0"/>
                  </a:lnTo>
                  <a:cubicBezTo>
                    <a:pt x="3127" y="0"/>
                    <a:pt x="3713" y="585"/>
                    <a:pt x="3713" y="1742"/>
                  </a:cubicBezTo>
                  <a:lnTo>
                    <a:pt x="3709" y="4381"/>
                  </a:lnTo>
                  <a:lnTo>
                    <a:pt x="1082" y="4381"/>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endParaRPr lang="en-US"/>
            </a:p>
          </p:txBody>
        </p:sp>
        <p:sp>
          <p:nvSpPr>
            <p:cNvPr id="8" name="Freeform 2">
              <a:extLst>
                <a:ext uri="{FF2B5EF4-FFF2-40B4-BE49-F238E27FC236}">
                  <a16:creationId xmlns:a16="http://schemas.microsoft.com/office/drawing/2014/main" id="{4E454772-17C3-3E2C-74BF-F7443A4DC6DF}"/>
                </a:ext>
              </a:extLst>
            </p:cNvPr>
            <p:cNvSpPr>
              <a:spLocks noChangeArrowheads="1"/>
            </p:cNvSpPr>
            <p:nvPr/>
          </p:nvSpPr>
          <p:spPr bwMode="auto">
            <a:xfrm>
              <a:off x="3109913" y="2035175"/>
              <a:ext cx="1368425" cy="3532188"/>
            </a:xfrm>
            <a:custGeom>
              <a:avLst/>
              <a:gdLst>
                <a:gd name="T0" fmla="*/ 390721 w 3800"/>
                <a:gd name="T1" fmla="*/ 2322993 h 9812"/>
                <a:gd name="T2" fmla="*/ 750833 w 3800"/>
                <a:gd name="T3" fmla="*/ 2466628 h 9812"/>
                <a:gd name="T4" fmla="*/ 976983 w 3800"/>
                <a:gd name="T5" fmla="*/ 2240556 h 9812"/>
                <a:gd name="T6" fmla="*/ 976983 w 3800"/>
                <a:gd name="T7" fmla="*/ 596138 h 9812"/>
                <a:gd name="T8" fmla="*/ 750833 w 3800"/>
                <a:gd name="T9" fmla="*/ 370066 h 9812"/>
                <a:gd name="T10" fmla="*/ 390721 w 3800"/>
                <a:gd name="T11" fmla="*/ 514061 h 9812"/>
                <a:gd name="T12" fmla="*/ 390721 w 3800"/>
                <a:gd name="T13" fmla="*/ 2322993 h 9812"/>
                <a:gd name="T14" fmla="*/ 0 w 3800"/>
                <a:gd name="T15" fmla="*/ 30599 h 9812"/>
                <a:gd name="T16" fmla="*/ 390721 w 3800"/>
                <a:gd name="T17" fmla="*/ 30599 h 9812"/>
                <a:gd name="T18" fmla="*/ 390721 w 3800"/>
                <a:gd name="T19" fmla="*/ 210592 h 9812"/>
                <a:gd name="T20" fmla="*/ 868950 w 3800"/>
                <a:gd name="T21" fmla="*/ 0 h 9812"/>
                <a:gd name="T22" fmla="*/ 1368065 w 3800"/>
                <a:gd name="T23" fmla="*/ 549699 h 9812"/>
                <a:gd name="T24" fmla="*/ 1368065 w 3800"/>
                <a:gd name="T25" fmla="*/ 2286995 h 9812"/>
                <a:gd name="T26" fmla="*/ 868950 w 3800"/>
                <a:gd name="T27" fmla="*/ 2837054 h 9812"/>
                <a:gd name="T28" fmla="*/ 390721 w 3800"/>
                <a:gd name="T29" fmla="*/ 2636541 h 9812"/>
                <a:gd name="T30" fmla="*/ 390721 w 3800"/>
                <a:gd name="T31" fmla="*/ 3531828 h 9812"/>
                <a:gd name="T32" fmla="*/ 0 w 3800"/>
                <a:gd name="T33" fmla="*/ 3531828 h 9812"/>
                <a:gd name="T34" fmla="*/ 0 w 3800"/>
                <a:gd name="T35" fmla="*/ 30599 h 9812"/>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3800" h="9812">
                  <a:moveTo>
                    <a:pt x="1085" y="6453"/>
                  </a:moveTo>
                  <a:cubicBezTo>
                    <a:pt x="1385" y="6710"/>
                    <a:pt x="1728" y="6852"/>
                    <a:pt x="2085" y="6852"/>
                  </a:cubicBezTo>
                  <a:cubicBezTo>
                    <a:pt x="2485" y="6852"/>
                    <a:pt x="2713" y="6667"/>
                    <a:pt x="2713" y="6224"/>
                  </a:cubicBezTo>
                  <a:lnTo>
                    <a:pt x="2713" y="1656"/>
                  </a:lnTo>
                  <a:cubicBezTo>
                    <a:pt x="2713" y="1213"/>
                    <a:pt x="2485" y="1028"/>
                    <a:pt x="2085" y="1028"/>
                  </a:cubicBezTo>
                  <a:cubicBezTo>
                    <a:pt x="1728" y="1028"/>
                    <a:pt x="1385" y="1170"/>
                    <a:pt x="1085" y="1428"/>
                  </a:cubicBezTo>
                  <a:lnTo>
                    <a:pt x="1085" y="6453"/>
                  </a:lnTo>
                  <a:close/>
                  <a:moveTo>
                    <a:pt x="0" y="85"/>
                  </a:moveTo>
                  <a:lnTo>
                    <a:pt x="1085" y="85"/>
                  </a:lnTo>
                  <a:lnTo>
                    <a:pt x="1085" y="585"/>
                  </a:lnTo>
                  <a:cubicBezTo>
                    <a:pt x="1342" y="314"/>
                    <a:pt x="1785" y="0"/>
                    <a:pt x="2413" y="0"/>
                  </a:cubicBezTo>
                  <a:cubicBezTo>
                    <a:pt x="3342" y="0"/>
                    <a:pt x="3799" y="614"/>
                    <a:pt x="3799" y="1527"/>
                  </a:cubicBezTo>
                  <a:lnTo>
                    <a:pt x="3799" y="6353"/>
                  </a:lnTo>
                  <a:cubicBezTo>
                    <a:pt x="3799" y="7267"/>
                    <a:pt x="3342" y="7881"/>
                    <a:pt x="2413" y="7881"/>
                  </a:cubicBezTo>
                  <a:cubicBezTo>
                    <a:pt x="1785" y="7881"/>
                    <a:pt x="1342" y="7581"/>
                    <a:pt x="1085" y="7324"/>
                  </a:cubicBezTo>
                  <a:lnTo>
                    <a:pt x="1085" y="9811"/>
                  </a:lnTo>
                  <a:lnTo>
                    <a:pt x="0" y="9811"/>
                  </a:lnTo>
                  <a:lnTo>
                    <a:pt x="0" y="85"/>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endParaRPr lang="en-US"/>
            </a:p>
          </p:txBody>
        </p:sp>
        <p:sp>
          <p:nvSpPr>
            <p:cNvPr id="9" name="Freeform 3">
              <a:extLst>
                <a:ext uri="{FF2B5EF4-FFF2-40B4-BE49-F238E27FC236}">
                  <a16:creationId xmlns:a16="http://schemas.microsoft.com/office/drawing/2014/main" id="{BAF0EE8A-AABC-9E66-4136-F7BAB9A64B40}"/>
                </a:ext>
              </a:extLst>
            </p:cNvPr>
            <p:cNvSpPr>
              <a:spLocks noChangeArrowheads="1"/>
            </p:cNvSpPr>
            <p:nvPr/>
          </p:nvSpPr>
          <p:spPr bwMode="auto">
            <a:xfrm>
              <a:off x="4711700" y="2035175"/>
              <a:ext cx="1328738" cy="2836863"/>
            </a:xfrm>
            <a:custGeom>
              <a:avLst/>
              <a:gdLst>
                <a:gd name="T0" fmla="*/ 937679 w 3690"/>
                <a:gd name="T1" fmla="*/ 2338019 h 7882"/>
                <a:gd name="T2" fmla="*/ 937679 w 3690"/>
                <a:gd name="T3" fmla="*/ 1422750 h 7882"/>
                <a:gd name="T4" fmla="*/ 582988 w 3690"/>
                <a:gd name="T5" fmla="*/ 1556999 h 7882"/>
                <a:gd name="T6" fmla="*/ 392500 w 3690"/>
                <a:gd name="T7" fmla="*/ 1844573 h 7882"/>
                <a:gd name="T8" fmla="*/ 392500 w 3690"/>
                <a:gd name="T9" fmla="*/ 2266035 h 7882"/>
                <a:gd name="T10" fmla="*/ 582988 w 3690"/>
                <a:gd name="T11" fmla="*/ 2466149 h 7882"/>
                <a:gd name="T12" fmla="*/ 937679 w 3690"/>
                <a:gd name="T13" fmla="*/ 2338019 h 7882"/>
                <a:gd name="T14" fmla="*/ 2161 w 3690"/>
                <a:gd name="T15" fmla="*/ 1839174 h 7882"/>
                <a:gd name="T16" fmla="*/ 413025 w 3690"/>
                <a:gd name="T17" fmla="*/ 1253950 h 7882"/>
                <a:gd name="T18" fmla="*/ 937679 w 3690"/>
                <a:gd name="T19" fmla="*/ 1073991 h 7882"/>
                <a:gd name="T20" fmla="*/ 937679 w 3690"/>
                <a:gd name="T21" fmla="*/ 611498 h 7882"/>
                <a:gd name="T22" fmla="*/ 690656 w 3690"/>
                <a:gd name="T23" fmla="*/ 359557 h 7882"/>
                <a:gd name="T24" fmla="*/ 627280 w 3690"/>
                <a:gd name="T25" fmla="*/ 359557 h 7882"/>
                <a:gd name="T26" fmla="*/ 380257 w 3690"/>
                <a:gd name="T27" fmla="*/ 611498 h 7882"/>
                <a:gd name="T28" fmla="*/ 380257 w 3690"/>
                <a:gd name="T29" fmla="*/ 1004527 h 7882"/>
                <a:gd name="T30" fmla="*/ 0 w 3690"/>
                <a:gd name="T31" fmla="*/ 1004527 h 7882"/>
                <a:gd name="T32" fmla="*/ 0 w 3690"/>
                <a:gd name="T33" fmla="*/ 626975 h 7882"/>
                <a:gd name="T34" fmla="*/ 627280 w 3690"/>
                <a:gd name="T35" fmla="*/ 0 h 7882"/>
                <a:gd name="T36" fmla="*/ 701098 w 3690"/>
                <a:gd name="T37" fmla="*/ 0 h 7882"/>
                <a:gd name="T38" fmla="*/ 1328378 w 3690"/>
                <a:gd name="T39" fmla="*/ 626975 h 7882"/>
                <a:gd name="T40" fmla="*/ 1328378 w 3690"/>
                <a:gd name="T41" fmla="*/ 2805550 h 7882"/>
                <a:gd name="T42" fmla="*/ 937679 w 3690"/>
                <a:gd name="T43" fmla="*/ 2805550 h 7882"/>
                <a:gd name="T44" fmla="*/ 937679 w 3690"/>
                <a:gd name="T45" fmla="*/ 2630631 h 7882"/>
                <a:gd name="T46" fmla="*/ 459477 w 3690"/>
                <a:gd name="T47" fmla="*/ 2836503 h 7882"/>
                <a:gd name="T48" fmla="*/ 2161 w 3690"/>
                <a:gd name="T49" fmla="*/ 2348096 h 7882"/>
                <a:gd name="T50" fmla="*/ 2161 w 3690"/>
                <a:gd name="T51" fmla="*/ 1839174 h 7882"/>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3690" h="7882">
                  <a:moveTo>
                    <a:pt x="2604" y="6496"/>
                  </a:moveTo>
                  <a:lnTo>
                    <a:pt x="2604" y="3953"/>
                  </a:lnTo>
                  <a:lnTo>
                    <a:pt x="1619" y="4326"/>
                  </a:lnTo>
                  <a:cubicBezTo>
                    <a:pt x="1219" y="4483"/>
                    <a:pt x="1090" y="4683"/>
                    <a:pt x="1090" y="5125"/>
                  </a:cubicBezTo>
                  <a:lnTo>
                    <a:pt x="1090" y="6296"/>
                  </a:lnTo>
                  <a:cubicBezTo>
                    <a:pt x="1090" y="6667"/>
                    <a:pt x="1276" y="6852"/>
                    <a:pt x="1619" y="6852"/>
                  </a:cubicBezTo>
                  <a:cubicBezTo>
                    <a:pt x="1947" y="6852"/>
                    <a:pt x="2247" y="6738"/>
                    <a:pt x="2604" y="6496"/>
                  </a:cubicBezTo>
                  <a:close/>
                  <a:moveTo>
                    <a:pt x="6" y="5110"/>
                  </a:moveTo>
                  <a:cubicBezTo>
                    <a:pt x="6" y="4155"/>
                    <a:pt x="320" y="3769"/>
                    <a:pt x="1147" y="3484"/>
                  </a:cubicBezTo>
                  <a:lnTo>
                    <a:pt x="2604" y="2984"/>
                  </a:lnTo>
                  <a:lnTo>
                    <a:pt x="2604" y="1699"/>
                  </a:lnTo>
                  <a:cubicBezTo>
                    <a:pt x="2604" y="1242"/>
                    <a:pt x="2375" y="999"/>
                    <a:pt x="1918" y="999"/>
                  </a:cubicBezTo>
                  <a:lnTo>
                    <a:pt x="1742" y="999"/>
                  </a:lnTo>
                  <a:cubicBezTo>
                    <a:pt x="1285" y="999"/>
                    <a:pt x="1056" y="1242"/>
                    <a:pt x="1056" y="1699"/>
                  </a:cubicBezTo>
                  <a:lnTo>
                    <a:pt x="1056" y="2791"/>
                  </a:lnTo>
                  <a:lnTo>
                    <a:pt x="0" y="2791"/>
                  </a:lnTo>
                  <a:lnTo>
                    <a:pt x="0" y="1742"/>
                  </a:lnTo>
                  <a:cubicBezTo>
                    <a:pt x="0" y="585"/>
                    <a:pt x="586" y="0"/>
                    <a:pt x="1742" y="0"/>
                  </a:cubicBezTo>
                  <a:lnTo>
                    <a:pt x="1947" y="0"/>
                  </a:lnTo>
                  <a:cubicBezTo>
                    <a:pt x="3104" y="0"/>
                    <a:pt x="3689" y="585"/>
                    <a:pt x="3689" y="1742"/>
                  </a:cubicBezTo>
                  <a:lnTo>
                    <a:pt x="3689" y="7795"/>
                  </a:lnTo>
                  <a:lnTo>
                    <a:pt x="2604" y="7795"/>
                  </a:lnTo>
                  <a:lnTo>
                    <a:pt x="2604" y="7309"/>
                  </a:lnTo>
                  <a:cubicBezTo>
                    <a:pt x="2304" y="7595"/>
                    <a:pt x="1904" y="7881"/>
                    <a:pt x="1276" y="7881"/>
                  </a:cubicBezTo>
                  <a:cubicBezTo>
                    <a:pt x="406" y="7881"/>
                    <a:pt x="6" y="7381"/>
                    <a:pt x="6" y="6524"/>
                  </a:cubicBezTo>
                  <a:lnTo>
                    <a:pt x="6" y="5110"/>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endParaRPr lang="en-US"/>
            </a:p>
          </p:txBody>
        </p:sp>
        <p:sp>
          <p:nvSpPr>
            <p:cNvPr id="10" name="Freeform 4">
              <a:extLst>
                <a:ext uri="{FF2B5EF4-FFF2-40B4-BE49-F238E27FC236}">
                  <a16:creationId xmlns:a16="http://schemas.microsoft.com/office/drawing/2014/main" id="{E15F5B2E-0FA6-D726-1D87-EA10242E2630}"/>
                </a:ext>
              </a:extLst>
            </p:cNvPr>
            <p:cNvSpPr>
              <a:spLocks noChangeArrowheads="1"/>
            </p:cNvSpPr>
            <p:nvPr/>
          </p:nvSpPr>
          <p:spPr bwMode="auto">
            <a:xfrm>
              <a:off x="6292850" y="2035175"/>
              <a:ext cx="2262188" cy="2806700"/>
            </a:xfrm>
            <a:custGeom>
              <a:avLst/>
              <a:gdLst>
                <a:gd name="T0" fmla="*/ 1326358 w 6285"/>
                <a:gd name="T1" fmla="*/ 2806340 h 7796"/>
                <a:gd name="T2" fmla="*/ 935470 w 6285"/>
                <a:gd name="T3" fmla="*/ 2806340 h 7796"/>
                <a:gd name="T4" fmla="*/ 935470 w 6285"/>
                <a:gd name="T5" fmla="*/ 570628 h 7796"/>
                <a:gd name="T6" fmla="*/ 750463 w 6285"/>
                <a:gd name="T7" fmla="*/ 370098 h 7796"/>
                <a:gd name="T8" fmla="*/ 390889 w 6285"/>
                <a:gd name="T9" fmla="*/ 508705 h 7796"/>
                <a:gd name="T10" fmla="*/ 390889 w 6285"/>
                <a:gd name="T11" fmla="*/ 2806340 h 7796"/>
                <a:gd name="T12" fmla="*/ 0 w 6285"/>
                <a:gd name="T13" fmla="*/ 2806340 h 7796"/>
                <a:gd name="T14" fmla="*/ 0 w 6285"/>
                <a:gd name="T15" fmla="*/ 30602 h 7796"/>
                <a:gd name="T16" fmla="*/ 390889 w 6285"/>
                <a:gd name="T17" fmla="*/ 30602 h 7796"/>
                <a:gd name="T18" fmla="*/ 390889 w 6285"/>
                <a:gd name="T19" fmla="*/ 210611 h 7796"/>
                <a:gd name="T20" fmla="*/ 868882 w 6285"/>
                <a:gd name="T21" fmla="*/ 0 h 7796"/>
                <a:gd name="T22" fmla="*/ 1274888 w 6285"/>
                <a:gd name="T23" fmla="*/ 226091 h 7796"/>
                <a:gd name="T24" fmla="*/ 1804351 w 6285"/>
                <a:gd name="T25" fmla="*/ 0 h 7796"/>
                <a:gd name="T26" fmla="*/ 2261828 w 6285"/>
                <a:gd name="T27" fmla="*/ 488184 h 7796"/>
                <a:gd name="T28" fmla="*/ 2261828 w 6285"/>
                <a:gd name="T29" fmla="*/ 2806340 h 7796"/>
                <a:gd name="T30" fmla="*/ 1870939 w 6285"/>
                <a:gd name="T31" fmla="*/ 2806340 h 7796"/>
                <a:gd name="T32" fmla="*/ 1870939 w 6285"/>
                <a:gd name="T33" fmla="*/ 570628 h 7796"/>
                <a:gd name="T34" fmla="*/ 1685933 w 6285"/>
                <a:gd name="T35" fmla="*/ 370098 h 7796"/>
                <a:gd name="T36" fmla="*/ 1326358 w 6285"/>
                <a:gd name="T37" fmla="*/ 508705 h 7796"/>
                <a:gd name="T38" fmla="*/ 1326358 w 6285"/>
                <a:gd name="T39" fmla="*/ 2806340 h 779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6285" h="7796">
                  <a:moveTo>
                    <a:pt x="3685" y="7795"/>
                  </a:moveTo>
                  <a:lnTo>
                    <a:pt x="2599" y="7795"/>
                  </a:lnTo>
                  <a:lnTo>
                    <a:pt x="2599" y="1585"/>
                  </a:lnTo>
                  <a:cubicBezTo>
                    <a:pt x="2599" y="1199"/>
                    <a:pt x="2414" y="1028"/>
                    <a:pt x="2085" y="1028"/>
                  </a:cubicBezTo>
                  <a:cubicBezTo>
                    <a:pt x="1785" y="1028"/>
                    <a:pt x="1471" y="1142"/>
                    <a:pt x="1086" y="1413"/>
                  </a:cubicBezTo>
                  <a:lnTo>
                    <a:pt x="1086" y="7795"/>
                  </a:lnTo>
                  <a:lnTo>
                    <a:pt x="0" y="7795"/>
                  </a:lnTo>
                  <a:lnTo>
                    <a:pt x="0" y="85"/>
                  </a:lnTo>
                  <a:lnTo>
                    <a:pt x="1086" y="85"/>
                  </a:lnTo>
                  <a:lnTo>
                    <a:pt x="1086" y="585"/>
                  </a:lnTo>
                  <a:cubicBezTo>
                    <a:pt x="1400" y="285"/>
                    <a:pt x="1814" y="0"/>
                    <a:pt x="2414" y="0"/>
                  </a:cubicBezTo>
                  <a:cubicBezTo>
                    <a:pt x="2971" y="0"/>
                    <a:pt x="3342" y="228"/>
                    <a:pt x="3542" y="628"/>
                  </a:cubicBezTo>
                  <a:cubicBezTo>
                    <a:pt x="3928" y="299"/>
                    <a:pt x="4385" y="0"/>
                    <a:pt x="5013" y="0"/>
                  </a:cubicBezTo>
                  <a:cubicBezTo>
                    <a:pt x="5855" y="0"/>
                    <a:pt x="6284" y="514"/>
                    <a:pt x="6284" y="1356"/>
                  </a:cubicBezTo>
                  <a:lnTo>
                    <a:pt x="6284" y="7795"/>
                  </a:lnTo>
                  <a:lnTo>
                    <a:pt x="5198" y="7795"/>
                  </a:lnTo>
                  <a:lnTo>
                    <a:pt x="5198" y="1585"/>
                  </a:lnTo>
                  <a:cubicBezTo>
                    <a:pt x="5198" y="1199"/>
                    <a:pt x="5013" y="1028"/>
                    <a:pt x="4684" y="1028"/>
                  </a:cubicBezTo>
                  <a:cubicBezTo>
                    <a:pt x="4385" y="1028"/>
                    <a:pt x="4070" y="1142"/>
                    <a:pt x="3685" y="1413"/>
                  </a:cubicBezTo>
                  <a:lnTo>
                    <a:pt x="3685" y="7795"/>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endParaRPr lang="en-US"/>
            </a:p>
          </p:txBody>
        </p:sp>
        <p:sp>
          <p:nvSpPr>
            <p:cNvPr id="15" name="Freeform 5">
              <a:extLst>
                <a:ext uri="{FF2B5EF4-FFF2-40B4-BE49-F238E27FC236}">
                  <a16:creationId xmlns:a16="http://schemas.microsoft.com/office/drawing/2014/main" id="{5ECD451E-C56E-05F0-AF02-688D993EDCED}"/>
                </a:ext>
              </a:extLst>
            </p:cNvPr>
            <p:cNvSpPr>
              <a:spLocks noChangeArrowheads="1"/>
            </p:cNvSpPr>
            <p:nvPr/>
          </p:nvSpPr>
          <p:spPr bwMode="auto">
            <a:xfrm>
              <a:off x="14288" y="2322513"/>
              <a:ext cx="1004887" cy="2274887"/>
            </a:xfrm>
            <a:custGeom>
              <a:avLst/>
              <a:gdLst>
                <a:gd name="T0" fmla="*/ 1004527 w 2790"/>
                <a:gd name="T1" fmla="*/ 0 h 6317"/>
                <a:gd name="T2" fmla="*/ 1004527 w 2790"/>
                <a:gd name="T3" fmla="*/ 510652 h 6317"/>
                <a:gd name="T4" fmla="*/ 346488 w 2790"/>
                <a:gd name="T5" fmla="*/ 1137624 h 6317"/>
                <a:gd name="T6" fmla="*/ 1004527 w 2790"/>
                <a:gd name="T7" fmla="*/ 1752711 h 6317"/>
                <a:gd name="T8" fmla="*/ 1004527 w 2790"/>
                <a:gd name="T9" fmla="*/ 2274527 h 6317"/>
                <a:gd name="T10" fmla="*/ 0 w 2790"/>
                <a:gd name="T11" fmla="*/ 1331009 h 6317"/>
                <a:gd name="T12" fmla="*/ 0 w 2790"/>
                <a:gd name="T13" fmla="*/ 955042 h 6317"/>
                <a:gd name="T14" fmla="*/ 1004527 w 2790"/>
                <a:gd name="T15" fmla="*/ 0 h 6317"/>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2790" h="6317">
                  <a:moveTo>
                    <a:pt x="2789" y="0"/>
                  </a:moveTo>
                  <a:lnTo>
                    <a:pt x="2789" y="1418"/>
                  </a:lnTo>
                  <a:lnTo>
                    <a:pt x="962" y="3159"/>
                  </a:lnTo>
                  <a:lnTo>
                    <a:pt x="2789" y="4867"/>
                  </a:lnTo>
                  <a:lnTo>
                    <a:pt x="2789" y="6316"/>
                  </a:lnTo>
                  <a:lnTo>
                    <a:pt x="0" y="3696"/>
                  </a:lnTo>
                  <a:lnTo>
                    <a:pt x="0" y="2652"/>
                  </a:lnTo>
                  <a:lnTo>
                    <a:pt x="2789"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endParaRPr lang="en-US"/>
            </a:p>
          </p:txBody>
        </p:sp>
        <p:sp>
          <p:nvSpPr>
            <p:cNvPr id="16" name="Freeform 6">
              <a:extLst>
                <a:ext uri="{FF2B5EF4-FFF2-40B4-BE49-F238E27FC236}">
                  <a16:creationId xmlns:a16="http://schemas.microsoft.com/office/drawing/2014/main" id="{BD400F32-B75B-DF6E-0D2F-45A177572405}"/>
                </a:ext>
              </a:extLst>
            </p:cNvPr>
            <p:cNvSpPr>
              <a:spLocks noChangeArrowheads="1"/>
            </p:cNvSpPr>
            <p:nvPr/>
          </p:nvSpPr>
          <p:spPr bwMode="auto">
            <a:xfrm>
              <a:off x="9050338" y="2322513"/>
              <a:ext cx="1003300" cy="2274887"/>
            </a:xfrm>
            <a:custGeom>
              <a:avLst/>
              <a:gdLst>
                <a:gd name="T0" fmla="*/ 1002940 w 2789"/>
                <a:gd name="T1" fmla="*/ 955042 h 6317"/>
                <a:gd name="T2" fmla="*/ 1002940 w 2789"/>
                <a:gd name="T3" fmla="*/ 1331009 h 6317"/>
                <a:gd name="T4" fmla="*/ 0 w 2789"/>
                <a:gd name="T5" fmla="*/ 2274527 h 6317"/>
                <a:gd name="T6" fmla="*/ 0 w 2789"/>
                <a:gd name="T7" fmla="*/ 1752711 h 6317"/>
                <a:gd name="T8" fmla="*/ 656876 w 2789"/>
                <a:gd name="T9" fmla="*/ 1137624 h 6317"/>
                <a:gd name="T10" fmla="*/ 0 w 2789"/>
                <a:gd name="T11" fmla="*/ 510652 h 6317"/>
                <a:gd name="T12" fmla="*/ 0 w 2789"/>
                <a:gd name="T13" fmla="*/ 0 h 6317"/>
                <a:gd name="T14" fmla="*/ 1002940 w 2789"/>
                <a:gd name="T15" fmla="*/ 955042 h 6317"/>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2789" h="6317">
                  <a:moveTo>
                    <a:pt x="2788" y="2652"/>
                  </a:moveTo>
                  <a:lnTo>
                    <a:pt x="2788" y="3696"/>
                  </a:lnTo>
                  <a:lnTo>
                    <a:pt x="0" y="6316"/>
                  </a:lnTo>
                  <a:lnTo>
                    <a:pt x="0" y="4867"/>
                  </a:lnTo>
                  <a:lnTo>
                    <a:pt x="1826" y="3159"/>
                  </a:lnTo>
                  <a:lnTo>
                    <a:pt x="0" y="1418"/>
                  </a:lnTo>
                  <a:lnTo>
                    <a:pt x="0" y="0"/>
                  </a:lnTo>
                  <a:lnTo>
                    <a:pt x="2788" y="2652"/>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endParaRPr lang="en-US"/>
            </a:p>
          </p:txBody>
        </p:sp>
      </p:grpSp>
      <p:sp>
        <p:nvSpPr>
          <p:cNvPr id="17" name="Footer Placeholder 14">
            <a:extLst>
              <a:ext uri="{FF2B5EF4-FFF2-40B4-BE49-F238E27FC236}">
                <a16:creationId xmlns:a16="http://schemas.microsoft.com/office/drawing/2014/main" id="{30A72066-E53B-F794-E5C7-D39D7420D224}"/>
              </a:ext>
            </a:extLst>
          </p:cNvPr>
          <p:cNvSpPr txBox="1">
            <a:spLocks/>
          </p:cNvSpPr>
          <p:nvPr userDrawn="1"/>
        </p:nvSpPr>
        <p:spPr>
          <a:xfrm>
            <a:off x="1205299" y="6410231"/>
            <a:ext cx="2157779" cy="228599"/>
          </a:xfrm>
          <a:prstGeom prst="rect">
            <a:avLst/>
          </a:prstGeom>
        </p:spPr>
        <p:txBody>
          <a:bodyPr vert="horz" lIns="0" tIns="0" rIns="0" bIns="0" rtlCol="0" anchor="ctr"/>
          <a:lstStyle>
            <a:defPPr>
              <a:defRPr lang="en-US"/>
            </a:defPPr>
            <a:lvl1pPr marL="0" algn="r" defTabSz="914400" rtl="0" eaLnBrk="1" latinLnBrk="0" hangingPunct="1">
              <a:defRPr sz="600" b="0" i="0" kern="1200">
                <a:solidFill>
                  <a:schemeClr val="tx1"/>
                </a:solidFill>
                <a:latin typeface="+mn-lt"/>
                <a:ea typeface="Calibri" panose="020F0502020204030204" pitchFamily="34" charset="0"/>
                <a:cs typeface="Calibri" panose="020F050202020403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b="0" i="0">
                <a:solidFill>
                  <a:schemeClr val="tx1"/>
                </a:solidFill>
                <a:latin typeface="+mn-lt"/>
              </a:rPr>
              <a:t>EPAM Proprietary &amp; Confidential</a:t>
            </a:r>
            <a:r>
              <a:rPr lang="ru-RU" b="0" i="0">
                <a:solidFill>
                  <a:schemeClr val="tx1"/>
                </a:solidFill>
                <a:latin typeface="+mn-lt"/>
              </a:rPr>
              <a:t> </a:t>
            </a:r>
            <a:endParaRPr lang="en-US" b="0" i="0">
              <a:solidFill>
                <a:schemeClr val="tx1"/>
              </a:solidFill>
              <a:latin typeface="+mn-lt"/>
            </a:endParaRPr>
          </a:p>
        </p:txBody>
      </p:sp>
      <p:pic>
        <p:nvPicPr>
          <p:cNvPr id="4" name="Graphic 3">
            <a:extLst>
              <a:ext uri="{FF2B5EF4-FFF2-40B4-BE49-F238E27FC236}">
                <a16:creationId xmlns:a16="http://schemas.microsoft.com/office/drawing/2014/main" id="{A7801FED-F6F5-E54C-4AA1-1BE7E21F382E}"/>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820265" y="6419060"/>
            <a:ext cx="762923" cy="205636"/>
          </a:xfrm>
          <a:prstGeom prst="rect">
            <a:avLst/>
          </a:prstGeom>
        </p:spPr>
      </p:pic>
    </p:spTree>
    <p:extLst>
      <p:ext uri="{BB962C8B-B14F-4D97-AF65-F5344CB8AC3E}">
        <p14:creationId xmlns:p14="http://schemas.microsoft.com/office/powerpoint/2010/main" val="154200355"/>
      </p:ext>
    </p:extLst>
  </p:cSld>
  <p:clrMapOvr>
    <a:masterClrMapping/>
  </p:clrMapOvr>
  <p:extLst>
    <p:ext uri="{DCECCB84-F9BA-43D5-87BE-67443E8EF086}">
      <p15:sldGuideLst xmlns:p15="http://schemas.microsoft.com/office/powerpoint/2012/main"/>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Quote+Image_Black">
    <p:bg>
      <p:bgPr>
        <a:solidFill>
          <a:schemeClr val="tx1"/>
        </a:solidFill>
        <a:effectLst/>
      </p:bgPr>
    </p:bg>
    <p:spTree>
      <p:nvGrpSpPr>
        <p:cNvPr id="1" name=""/>
        <p:cNvGrpSpPr/>
        <p:nvPr/>
      </p:nvGrpSpPr>
      <p:grpSpPr>
        <a:xfrm>
          <a:off x="0" y="0"/>
          <a:ext cx="0" cy="0"/>
          <a:chOff x="0" y="0"/>
          <a:chExt cx="0" cy="0"/>
        </a:xfrm>
      </p:grpSpPr>
      <p:sp>
        <p:nvSpPr>
          <p:cNvPr id="2" name="Text Placeholder 4">
            <a:extLst>
              <a:ext uri="{FF2B5EF4-FFF2-40B4-BE49-F238E27FC236}">
                <a16:creationId xmlns:a16="http://schemas.microsoft.com/office/drawing/2014/main" id="{433DDFE8-68E0-F21D-DCE9-D9E38F969DA2}"/>
              </a:ext>
            </a:extLst>
          </p:cNvPr>
          <p:cNvSpPr>
            <a:spLocks noGrp="1"/>
          </p:cNvSpPr>
          <p:nvPr>
            <p:ph type="body" sz="quarter" idx="11" hasCustomPrompt="1"/>
          </p:nvPr>
        </p:nvSpPr>
        <p:spPr>
          <a:xfrm>
            <a:off x="625474" y="420624"/>
            <a:ext cx="3732914" cy="153888"/>
          </a:xfrm>
          <a:prstGeom prst="rect">
            <a:avLst/>
          </a:prstGeom>
        </p:spPr>
        <p:txBody>
          <a:bodyPr wrap="square">
            <a:spAutoFit/>
          </a:bodyPr>
          <a:lstStyle>
            <a:lvl1pPr>
              <a:lnSpc>
                <a:spcPct val="100000"/>
              </a:lnSpc>
              <a:spcBef>
                <a:spcPts val="0"/>
              </a:spcBef>
              <a:defRPr sz="1000" b="1" spc="300">
                <a:solidFill>
                  <a:schemeClr val="bg1"/>
                </a:solidFill>
                <a:latin typeface="+mj-lt"/>
                <a:cs typeface="Calibri Light" panose="020F0302020204030204" pitchFamily="34" charset="0"/>
              </a:defRPr>
            </a:lvl1pPr>
            <a:lvl2pPr>
              <a:buNone/>
              <a:defRPr/>
            </a:lvl2pPr>
          </a:lstStyle>
          <a:p>
            <a:pPr lvl="0"/>
            <a:r>
              <a:rPr lang="en-US">
                <a:effectLst/>
              </a:rPr>
              <a:t>SECTION TITLE</a:t>
            </a:r>
            <a:endParaRPr lang="en-US"/>
          </a:p>
        </p:txBody>
      </p:sp>
      <p:sp>
        <p:nvSpPr>
          <p:cNvPr id="11" name="Title 2">
            <a:extLst>
              <a:ext uri="{FF2B5EF4-FFF2-40B4-BE49-F238E27FC236}">
                <a16:creationId xmlns:a16="http://schemas.microsoft.com/office/drawing/2014/main" id="{E4D0B811-ED8A-9D55-BC17-49A3393806F6}"/>
              </a:ext>
            </a:extLst>
          </p:cNvPr>
          <p:cNvSpPr>
            <a:spLocks noGrp="1"/>
          </p:cNvSpPr>
          <p:nvPr>
            <p:ph type="title" hasCustomPrompt="1"/>
          </p:nvPr>
        </p:nvSpPr>
        <p:spPr>
          <a:xfrm>
            <a:off x="5091684" y="1455006"/>
            <a:ext cx="6452616" cy="2215991"/>
          </a:xfrm>
          <a:prstGeom prst="rect">
            <a:avLst/>
          </a:prstGeom>
        </p:spPr>
        <p:txBody>
          <a:bodyPr wrap="square">
            <a:spAutoFit/>
          </a:bodyPr>
          <a:lstStyle>
            <a:lvl1pPr>
              <a:defRPr sz="3600" b="1" i="0">
                <a:solidFill>
                  <a:schemeClr val="bg1"/>
                </a:solidFill>
                <a:latin typeface="Calibri" panose="020F0502020204030204" pitchFamily="34" charset="0"/>
                <a:cs typeface="Calibri" panose="020F0502020204030204" pitchFamily="34" charset="0"/>
              </a:defRPr>
            </a:lvl1pPr>
          </a:lstStyle>
          <a:p>
            <a:r>
              <a:rPr lang="en-US"/>
              <a:t>Sometimes you need to add a slightly longer quote. Sometimes you need to add a slightly longer quote.”</a:t>
            </a:r>
          </a:p>
        </p:txBody>
      </p:sp>
      <p:sp>
        <p:nvSpPr>
          <p:cNvPr id="12" name="Text Placeholder 4">
            <a:extLst>
              <a:ext uri="{FF2B5EF4-FFF2-40B4-BE49-F238E27FC236}">
                <a16:creationId xmlns:a16="http://schemas.microsoft.com/office/drawing/2014/main" id="{715767D7-CA92-A238-92D2-5F669365D486}"/>
              </a:ext>
            </a:extLst>
          </p:cNvPr>
          <p:cNvSpPr>
            <a:spLocks noGrp="1"/>
          </p:cNvSpPr>
          <p:nvPr>
            <p:ph type="body" sz="quarter" idx="16" hasCustomPrompt="1"/>
          </p:nvPr>
        </p:nvSpPr>
        <p:spPr>
          <a:xfrm>
            <a:off x="5091683" y="4434840"/>
            <a:ext cx="4554537" cy="507831"/>
          </a:xfrm>
          <a:prstGeom prst="rect">
            <a:avLst/>
          </a:prstGeom>
        </p:spPr>
        <p:txBody>
          <a:bodyPr wrap="square" anchor="t" anchorCtr="0">
            <a:spAutoFit/>
          </a:bodyPr>
          <a:lstStyle>
            <a:lvl1pPr>
              <a:defRPr sz="1400" b="1" i="0">
                <a:solidFill>
                  <a:schemeClr val="bg1"/>
                </a:solidFill>
                <a:latin typeface="Calibri" panose="020F0502020204030204" pitchFamily="34" charset="0"/>
                <a:cs typeface="Calibri" panose="020F0502020204030204" pitchFamily="34" charset="0"/>
              </a:defRPr>
            </a:lvl1pPr>
          </a:lstStyle>
          <a:p>
            <a:pPr lvl="0"/>
            <a:r>
              <a:rPr lang="en-US" err="1"/>
              <a:t>Firstname</a:t>
            </a:r>
            <a:r>
              <a:rPr lang="en-US"/>
              <a:t> </a:t>
            </a:r>
            <a:r>
              <a:rPr lang="en-US" err="1"/>
              <a:t>Lastname</a:t>
            </a:r>
            <a:endParaRPr lang="en-US"/>
          </a:p>
          <a:p>
            <a:pPr lvl="0"/>
            <a:r>
              <a:rPr lang="en-US"/>
              <a:t>Job Title, Company</a:t>
            </a:r>
          </a:p>
        </p:txBody>
      </p:sp>
      <p:sp>
        <p:nvSpPr>
          <p:cNvPr id="13" name="Picture Placeholder 8">
            <a:extLst>
              <a:ext uri="{FF2B5EF4-FFF2-40B4-BE49-F238E27FC236}">
                <a16:creationId xmlns:a16="http://schemas.microsoft.com/office/drawing/2014/main" id="{93D416F1-8A75-DCD6-2A1A-B16BE09ABC02}"/>
              </a:ext>
            </a:extLst>
          </p:cNvPr>
          <p:cNvSpPr>
            <a:spLocks noGrp="1"/>
          </p:cNvSpPr>
          <p:nvPr>
            <p:ph type="pic" sz="quarter" idx="26"/>
          </p:nvPr>
        </p:nvSpPr>
        <p:spPr>
          <a:xfrm>
            <a:off x="619824" y="1562100"/>
            <a:ext cx="3726051" cy="4100476"/>
          </a:xfrm>
          <a:prstGeom prst="rect">
            <a:avLst/>
          </a:prstGeom>
        </p:spPr>
        <p:txBody>
          <a:bodyPr/>
          <a:lstStyle>
            <a:lvl1pPr>
              <a:defRPr>
                <a:solidFill>
                  <a:schemeClr val="bg1"/>
                </a:solidFill>
              </a:defRPr>
            </a:lvl1pPr>
          </a:lstStyle>
          <a:p>
            <a:endParaRPr lang="en-US"/>
          </a:p>
        </p:txBody>
      </p:sp>
      <p:sp>
        <p:nvSpPr>
          <p:cNvPr id="14" name="Title 2">
            <a:extLst>
              <a:ext uri="{FF2B5EF4-FFF2-40B4-BE49-F238E27FC236}">
                <a16:creationId xmlns:a16="http://schemas.microsoft.com/office/drawing/2014/main" id="{8EB1EBBF-7474-72D1-50C0-54A45DCBFB2E}"/>
              </a:ext>
            </a:extLst>
          </p:cNvPr>
          <p:cNvSpPr txBox="1">
            <a:spLocks/>
          </p:cNvSpPr>
          <p:nvPr userDrawn="1"/>
        </p:nvSpPr>
        <p:spPr>
          <a:xfrm>
            <a:off x="4772719" y="1455006"/>
            <a:ext cx="294582" cy="553998"/>
          </a:xfrm>
          <a:prstGeom prst="rect">
            <a:avLst/>
          </a:prstGeom>
        </p:spPr>
        <p:txBody>
          <a:bodyPr vert="horz" wrap="square" lIns="0" tIns="0" rIns="0" bIns="0" rtlCol="0" anchor="t">
            <a:spAutoFit/>
          </a:bodyPr>
          <a:lstStyle>
            <a:lvl1pPr algn="l" defTabSz="914400" rtl="0" eaLnBrk="1" latinLnBrk="0" hangingPunct="1">
              <a:lnSpc>
                <a:spcPct val="100000"/>
              </a:lnSpc>
              <a:spcBef>
                <a:spcPct val="0"/>
              </a:spcBef>
              <a:buNone/>
              <a:defRPr sz="3600" b="1" i="0" kern="1200">
                <a:solidFill>
                  <a:srgbClr val="000000"/>
                </a:solidFill>
                <a:latin typeface="Calibri" panose="020F0502020204030204" pitchFamily="34" charset="0"/>
                <a:ea typeface="Calibri Light" panose="020F0302020204030204" pitchFamily="34" charset="0"/>
                <a:cs typeface="Calibri" panose="020F0502020204030204" pitchFamily="34" charset="0"/>
              </a:defRPr>
            </a:lvl1pPr>
          </a:lstStyle>
          <a:p>
            <a:r>
              <a:rPr lang="en-US">
                <a:solidFill>
                  <a:schemeClr val="bg1"/>
                </a:solidFill>
              </a:rPr>
              <a:t>“</a:t>
            </a:r>
          </a:p>
        </p:txBody>
      </p:sp>
      <p:grpSp>
        <p:nvGrpSpPr>
          <p:cNvPr id="3" name="Group 2">
            <a:extLst>
              <a:ext uri="{FF2B5EF4-FFF2-40B4-BE49-F238E27FC236}">
                <a16:creationId xmlns:a16="http://schemas.microsoft.com/office/drawing/2014/main" id="{081461AB-B8FC-8BBC-BF3B-547D97DD8C9C}"/>
              </a:ext>
            </a:extLst>
          </p:cNvPr>
          <p:cNvGrpSpPr/>
          <p:nvPr userDrawn="1"/>
        </p:nvGrpSpPr>
        <p:grpSpPr>
          <a:xfrm>
            <a:off x="610888" y="6472556"/>
            <a:ext cx="372834" cy="131175"/>
            <a:chOff x="14288" y="2035175"/>
            <a:chExt cx="10039350" cy="3532188"/>
          </a:xfrm>
          <a:solidFill>
            <a:schemeClr val="bg1"/>
          </a:solidFill>
        </p:grpSpPr>
        <p:sp>
          <p:nvSpPr>
            <p:cNvPr id="4" name="Freeform 1">
              <a:extLst>
                <a:ext uri="{FF2B5EF4-FFF2-40B4-BE49-F238E27FC236}">
                  <a16:creationId xmlns:a16="http://schemas.microsoft.com/office/drawing/2014/main" id="{612BBA0A-B4EF-BC91-91B4-461C7F66D784}"/>
                </a:ext>
              </a:extLst>
            </p:cNvPr>
            <p:cNvSpPr>
              <a:spLocks noChangeArrowheads="1"/>
            </p:cNvSpPr>
            <p:nvPr/>
          </p:nvSpPr>
          <p:spPr bwMode="auto">
            <a:xfrm>
              <a:off x="1519238" y="2035175"/>
              <a:ext cx="1336675" cy="2836863"/>
            </a:xfrm>
            <a:custGeom>
              <a:avLst/>
              <a:gdLst>
                <a:gd name="T0" fmla="*/ 390493 w 3714"/>
                <a:gd name="T1" fmla="*/ 1200682 h 7882"/>
                <a:gd name="T2" fmla="*/ 945462 w 3714"/>
                <a:gd name="T3" fmla="*/ 1200682 h 7882"/>
                <a:gd name="T4" fmla="*/ 945462 w 3714"/>
                <a:gd name="T5" fmla="*/ 611498 h 7882"/>
                <a:gd name="T6" fmla="*/ 698929 w 3714"/>
                <a:gd name="T7" fmla="*/ 364596 h 7882"/>
                <a:gd name="T8" fmla="*/ 637386 w 3714"/>
                <a:gd name="T9" fmla="*/ 364596 h 7882"/>
                <a:gd name="T10" fmla="*/ 390493 w 3714"/>
                <a:gd name="T11" fmla="*/ 611498 h 7882"/>
                <a:gd name="T12" fmla="*/ 390493 w 3714"/>
                <a:gd name="T13" fmla="*/ 1200682 h 7882"/>
                <a:gd name="T14" fmla="*/ 389414 w 3714"/>
                <a:gd name="T15" fmla="*/ 1576795 h 7882"/>
                <a:gd name="T16" fmla="*/ 390493 w 3714"/>
                <a:gd name="T17" fmla="*/ 2224645 h 7882"/>
                <a:gd name="T18" fmla="*/ 637386 w 3714"/>
                <a:gd name="T19" fmla="*/ 2471548 h 7882"/>
                <a:gd name="T20" fmla="*/ 709366 w 3714"/>
                <a:gd name="T21" fmla="*/ 2471548 h 7882"/>
                <a:gd name="T22" fmla="*/ 955899 w 3714"/>
                <a:gd name="T23" fmla="*/ 2224645 h 7882"/>
                <a:gd name="T24" fmla="*/ 955899 w 3714"/>
                <a:gd name="T25" fmla="*/ 1906119 h 7882"/>
                <a:gd name="T26" fmla="*/ 1336315 w 3714"/>
                <a:gd name="T27" fmla="*/ 1906119 h 7882"/>
                <a:gd name="T28" fmla="*/ 1336315 w 3714"/>
                <a:gd name="T29" fmla="*/ 2209528 h 7882"/>
                <a:gd name="T30" fmla="*/ 709366 w 3714"/>
                <a:gd name="T31" fmla="*/ 2836503 h 7882"/>
                <a:gd name="T32" fmla="*/ 626949 w 3714"/>
                <a:gd name="T33" fmla="*/ 2836503 h 7882"/>
                <a:gd name="T34" fmla="*/ 0 w 3714"/>
                <a:gd name="T35" fmla="*/ 2258117 h 7882"/>
                <a:gd name="T36" fmla="*/ 0 w 3714"/>
                <a:gd name="T37" fmla="*/ 675564 h 7882"/>
                <a:gd name="T38" fmla="*/ 626949 w 3714"/>
                <a:gd name="T39" fmla="*/ 0 h 7882"/>
                <a:gd name="T40" fmla="*/ 709366 w 3714"/>
                <a:gd name="T41" fmla="*/ 0 h 7882"/>
                <a:gd name="T42" fmla="*/ 1336315 w 3714"/>
                <a:gd name="T43" fmla="*/ 626975 h 7882"/>
                <a:gd name="T44" fmla="*/ 1334875 w 3714"/>
                <a:gd name="T45" fmla="*/ 1576795 h 7882"/>
                <a:gd name="T46" fmla="*/ 389414 w 3714"/>
                <a:gd name="T47" fmla="*/ 1576795 h 7882"/>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3714" h="7882">
                  <a:moveTo>
                    <a:pt x="1085" y="3336"/>
                  </a:moveTo>
                  <a:lnTo>
                    <a:pt x="2627" y="3336"/>
                  </a:lnTo>
                  <a:lnTo>
                    <a:pt x="2627" y="1699"/>
                  </a:lnTo>
                  <a:cubicBezTo>
                    <a:pt x="2627" y="1242"/>
                    <a:pt x="2399" y="1013"/>
                    <a:pt x="1942" y="1013"/>
                  </a:cubicBezTo>
                  <a:lnTo>
                    <a:pt x="1771" y="1013"/>
                  </a:lnTo>
                  <a:cubicBezTo>
                    <a:pt x="1314" y="1013"/>
                    <a:pt x="1085" y="1242"/>
                    <a:pt x="1085" y="1699"/>
                  </a:cubicBezTo>
                  <a:lnTo>
                    <a:pt x="1085" y="3336"/>
                  </a:lnTo>
                  <a:close/>
                  <a:moveTo>
                    <a:pt x="1082" y="4381"/>
                  </a:moveTo>
                  <a:lnTo>
                    <a:pt x="1085" y="6181"/>
                  </a:lnTo>
                  <a:cubicBezTo>
                    <a:pt x="1085" y="6638"/>
                    <a:pt x="1314" y="6867"/>
                    <a:pt x="1771" y="6867"/>
                  </a:cubicBezTo>
                  <a:lnTo>
                    <a:pt x="1971" y="6867"/>
                  </a:lnTo>
                  <a:cubicBezTo>
                    <a:pt x="2428" y="6867"/>
                    <a:pt x="2656" y="6638"/>
                    <a:pt x="2656" y="6181"/>
                  </a:cubicBezTo>
                  <a:lnTo>
                    <a:pt x="2656" y="5296"/>
                  </a:lnTo>
                  <a:lnTo>
                    <a:pt x="3713" y="5296"/>
                  </a:lnTo>
                  <a:lnTo>
                    <a:pt x="3713" y="6139"/>
                  </a:lnTo>
                  <a:cubicBezTo>
                    <a:pt x="3713" y="7295"/>
                    <a:pt x="3127" y="7881"/>
                    <a:pt x="1971" y="7881"/>
                  </a:cubicBezTo>
                  <a:lnTo>
                    <a:pt x="1742" y="7881"/>
                  </a:lnTo>
                  <a:cubicBezTo>
                    <a:pt x="585" y="7881"/>
                    <a:pt x="0" y="7295"/>
                    <a:pt x="0" y="6274"/>
                  </a:cubicBezTo>
                  <a:lnTo>
                    <a:pt x="0" y="1877"/>
                  </a:lnTo>
                  <a:cubicBezTo>
                    <a:pt x="0" y="585"/>
                    <a:pt x="585" y="0"/>
                    <a:pt x="1742" y="0"/>
                  </a:cubicBezTo>
                  <a:lnTo>
                    <a:pt x="1971" y="0"/>
                  </a:lnTo>
                  <a:cubicBezTo>
                    <a:pt x="3127" y="0"/>
                    <a:pt x="3713" y="585"/>
                    <a:pt x="3713" y="1742"/>
                  </a:cubicBezTo>
                  <a:lnTo>
                    <a:pt x="3709" y="4381"/>
                  </a:lnTo>
                  <a:lnTo>
                    <a:pt x="1082" y="4381"/>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endParaRPr lang="en-US"/>
            </a:p>
          </p:txBody>
        </p:sp>
        <p:sp>
          <p:nvSpPr>
            <p:cNvPr id="5" name="Freeform 2">
              <a:extLst>
                <a:ext uri="{FF2B5EF4-FFF2-40B4-BE49-F238E27FC236}">
                  <a16:creationId xmlns:a16="http://schemas.microsoft.com/office/drawing/2014/main" id="{AC4F0109-4CD9-F0FE-7473-898861550D26}"/>
                </a:ext>
              </a:extLst>
            </p:cNvPr>
            <p:cNvSpPr>
              <a:spLocks noChangeArrowheads="1"/>
            </p:cNvSpPr>
            <p:nvPr/>
          </p:nvSpPr>
          <p:spPr bwMode="auto">
            <a:xfrm>
              <a:off x="3109913" y="2035175"/>
              <a:ext cx="1368425" cy="3532188"/>
            </a:xfrm>
            <a:custGeom>
              <a:avLst/>
              <a:gdLst>
                <a:gd name="T0" fmla="*/ 390721 w 3800"/>
                <a:gd name="T1" fmla="*/ 2322993 h 9812"/>
                <a:gd name="T2" fmla="*/ 750833 w 3800"/>
                <a:gd name="T3" fmla="*/ 2466628 h 9812"/>
                <a:gd name="T4" fmla="*/ 976983 w 3800"/>
                <a:gd name="T5" fmla="*/ 2240556 h 9812"/>
                <a:gd name="T6" fmla="*/ 976983 w 3800"/>
                <a:gd name="T7" fmla="*/ 596138 h 9812"/>
                <a:gd name="T8" fmla="*/ 750833 w 3800"/>
                <a:gd name="T9" fmla="*/ 370066 h 9812"/>
                <a:gd name="T10" fmla="*/ 390721 w 3800"/>
                <a:gd name="T11" fmla="*/ 514061 h 9812"/>
                <a:gd name="T12" fmla="*/ 390721 w 3800"/>
                <a:gd name="T13" fmla="*/ 2322993 h 9812"/>
                <a:gd name="T14" fmla="*/ 0 w 3800"/>
                <a:gd name="T15" fmla="*/ 30599 h 9812"/>
                <a:gd name="T16" fmla="*/ 390721 w 3800"/>
                <a:gd name="T17" fmla="*/ 30599 h 9812"/>
                <a:gd name="T18" fmla="*/ 390721 w 3800"/>
                <a:gd name="T19" fmla="*/ 210592 h 9812"/>
                <a:gd name="T20" fmla="*/ 868950 w 3800"/>
                <a:gd name="T21" fmla="*/ 0 h 9812"/>
                <a:gd name="T22" fmla="*/ 1368065 w 3800"/>
                <a:gd name="T23" fmla="*/ 549699 h 9812"/>
                <a:gd name="T24" fmla="*/ 1368065 w 3800"/>
                <a:gd name="T25" fmla="*/ 2286995 h 9812"/>
                <a:gd name="T26" fmla="*/ 868950 w 3800"/>
                <a:gd name="T27" fmla="*/ 2837054 h 9812"/>
                <a:gd name="T28" fmla="*/ 390721 w 3800"/>
                <a:gd name="T29" fmla="*/ 2636541 h 9812"/>
                <a:gd name="T30" fmla="*/ 390721 w 3800"/>
                <a:gd name="T31" fmla="*/ 3531828 h 9812"/>
                <a:gd name="T32" fmla="*/ 0 w 3800"/>
                <a:gd name="T33" fmla="*/ 3531828 h 9812"/>
                <a:gd name="T34" fmla="*/ 0 w 3800"/>
                <a:gd name="T35" fmla="*/ 30599 h 9812"/>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3800" h="9812">
                  <a:moveTo>
                    <a:pt x="1085" y="6453"/>
                  </a:moveTo>
                  <a:cubicBezTo>
                    <a:pt x="1385" y="6710"/>
                    <a:pt x="1728" y="6852"/>
                    <a:pt x="2085" y="6852"/>
                  </a:cubicBezTo>
                  <a:cubicBezTo>
                    <a:pt x="2485" y="6852"/>
                    <a:pt x="2713" y="6667"/>
                    <a:pt x="2713" y="6224"/>
                  </a:cubicBezTo>
                  <a:lnTo>
                    <a:pt x="2713" y="1656"/>
                  </a:lnTo>
                  <a:cubicBezTo>
                    <a:pt x="2713" y="1213"/>
                    <a:pt x="2485" y="1028"/>
                    <a:pt x="2085" y="1028"/>
                  </a:cubicBezTo>
                  <a:cubicBezTo>
                    <a:pt x="1728" y="1028"/>
                    <a:pt x="1385" y="1170"/>
                    <a:pt x="1085" y="1428"/>
                  </a:cubicBezTo>
                  <a:lnTo>
                    <a:pt x="1085" y="6453"/>
                  </a:lnTo>
                  <a:close/>
                  <a:moveTo>
                    <a:pt x="0" y="85"/>
                  </a:moveTo>
                  <a:lnTo>
                    <a:pt x="1085" y="85"/>
                  </a:lnTo>
                  <a:lnTo>
                    <a:pt x="1085" y="585"/>
                  </a:lnTo>
                  <a:cubicBezTo>
                    <a:pt x="1342" y="314"/>
                    <a:pt x="1785" y="0"/>
                    <a:pt x="2413" y="0"/>
                  </a:cubicBezTo>
                  <a:cubicBezTo>
                    <a:pt x="3342" y="0"/>
                    <a:pt x="3799" y="614"/>
                    <a:pt x="3799" y="1527"/>
                  </a:cubicBezTo>
                  <a:lnTo>
                    <a:pt x="3799" y="6353"/>
                  </a:lnTo>
                  <a:cubicBezTo>
                    <a:pt x="3799" y="7267"/>
                    <a:pt x="3342" y="7881"/>
                    <a:pt x="2413" y="7881"/>
                  </a:cubicBezTo>
                  <a:cubicBezTo>
                    <a:pt x="1785" y="7881"/>
                    <a:pt x="1342" y="7581"/>
                    <a:pt x="1085" y="7324"/>
                  </a:cubicBezTo>
                  <a:lnTo>
                    <a:pt x="1085" y="9811"/>
                  </a:lnTo>
                  <a:lnTo>
                    <a:pt x="0" y="9811"/>
                  </a:lnTo>
                  <a:lnTo>
                    <a:pt x="0" y="85"/>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endParaRPr lang="en-US"/>
            </a:p>
          </p:txBody>
        </p:sp>
        <p:sp>
          <p:nvSpPr>
            <p:cNvPr id="6" name="Freeform 3">
              <a:extLst>
                <a:ext uri="{FF2B5EF4-FFF2-40B4-BE49-F238E27FC236}">
                  <a16:creationId xmlns:a16="http://schemas.microsoft.com/office/drawing/2014/main" id="{E49751BC-AF2A-9987-D301-D47CD4149B74}"/>
                </a:ext>
              </a:extLst>
            </p:cNvPr>
            <p:cNvSpPr>
              <a:spLocks noChangeArrowheads="1"/>
            </p:cNvSpPr>
            <p:nvPr/>
          </p:nvSpPr>
          <p:spPr bwMode="auto">
            <a:xfrm>
              <a:off x="4711700" y="2035175"/>
              <a:ext cx="1328738" cy="2836863"/>
            </a:xfrm>
            <a:custGeom>
              <a:avLst/>
              <a:gdLst>
                <a:gd name="T0" fmla="*/ 937679 w 3690"/>
                <a:gd name="T1" fmla="*/ 2338019 h 7882"/>
                <a:gd name="T2" fmla="*/ 937679 w 3690"/>
                <a:gd name="T3" fmla="*/ 1422750 h 7882"/>
                <a:gd name="T4" fmla="*/ 582988 w 3690"/>
                <a:gd name="T5" fmla="*/ 1556999 h 7882"/>
                <a:gd name="T6" fmla="*/ 392500 w 3690"/>
                <a:gd name="T7" fmla="*/ 1844573 h 7882"/>
                <a:gd name="T8" fmla="*/ 392500 w 3690"/>
                <a:gd name="T9" fmla="*/ 2266035 h 7882"/>
                <a:gd name="T10" fmla="*/ 582988 w 3690"/>
                <a:gd name="T11" fmla="*/ 2466149 h 7882"/>
                <a:gd name="T12" fmla="*/ 937679 w 3690"/>
                <a:gd name="T13" fmla="*/ 2338019 h 7882"/>
                <a:gd name="T14" fmla="*/ 2161 w 3690"/>
                <a:gd name="T15" fmla="*/ 1839174 h 7882"/>
                <a:gd name="T16" fmla="*/ 413025 w 3690"/>
                <a:gd name="T17" fmla="*/ 1253950 h 7882"/>
                <a:gd name="T18" fmla="*/ 937679 w 3690"/>
                <a:gd name="T19" fmla="*/ 1073991 h 7882"/>
                <a:gd name="T20" fmla="*/ 937679 w 3690"/>
                <a:gd name="T21" fmla="*/ 611498 h 7882"/>
                <a:gd name="T22" fmla="*/ 690656 w 3690"/>
                <a:gd name="T23" fmla="*/ 359557 h 7882"/>
                <a:gd name="T24" fmla="*/ 627280 w 3690"/>
                <a:gd name="T25" fmla="*/ 359557 h 7882"/>
                <a:gd name="T26" fmla="*/ 380257 w 3690"/>
                <a:gd name="T27" fmla="*/ 611498 h 7882"/>
                <a:gd name="T28" fmla="*/ 380257 w 3690"/>
                <a:gd name="T29" fmla="*/ 1004527 h 7882"/>
                <a:gd name="T30" fmla="*/ 0 w 3690"/>
                <a:gd name="T31" fmla="*/ 1004527 h 7882"/>
                <a:gd name="T32" fmla="*/ 0 w 3690"/>
                <a:gd name="T33" fmla="*/ 626975 h 7882"/>
                <a:gd name="T34" fmla="*/ 627280 w 3690"/>
                <a:gd name="T35" fmla="*/ 0 h 7882"/>
                <a:gd name="T36" fmla="*/ 701098 w 3690"/>
                <a:gd name="T37" fmla="*/ 0 h 7882"/>
                <a:gd name="T38" fmla="*/ 1328378 w 3690"/>
                <a:gd name="T39" fmla="*/ 626975 h 7882"/>
                <a:gd name="T40" fmla="*/ 1328378 w 3690"/>
                <a:gd name="T41" fmla="*/ 2805550 h 7882"/>
                <a:gd name="T42" fmla="*/ 937679 w 3690"/>
                <a:gd name="T43" fmla="*/ 2805550 h 7882"/>
                <a:gd name="T44" fmla="*/ 937679 w 3690"/>
                <a:gd name="T45" fmla="*/ 2630631 h 7882"/>
                <a:gd name="T46" fmla="*/ 459477 w 3690"/>
                <a:gd name="T47" fmla="*/ 2836503 h 7882"/>
                <a:gd name="T48" fmla="*/ 2161 w 3690"/>
                <a:gd name="T49" fmla="*/ 2348096 h 7882"/>
                <a:gd name="T50" fmla="*/ 2161 w 3690"/>
                <a:gd name="T51" fmla="*/ 1839174 h 7882"/>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3690" h="7882">
                  <a:moveTo>
                    <a:pt x="2604" y="6496"/>
                  </a:moveTo>
                  <a:lnTo>
                    <a:pt x="2604" y="3953"/>
                  </a:lnTo>
                  <a:lnTo>
                    <a:pt x="1619" y="4326"/>
                  </a:lnTo>
                  <a:cubicBezTo>
                    <a:pt x="1219" y="4483"/>
                    <a:pt x="1090" y="4683"/>
                    <a:pt x="1090" y="5125"/>
                  </a:cubicBezTo>
                  <a:lnTo>
                    <a:pt x="1090" y="6296"/>
                  </a:lnTo>
                  <a:cubicBezTo>
                    <a:pt x="1090" y="6667"/>
                    <a:pt x="1276" y="6852"/>
                    <a:pt x="1619" y="6852"/>
                  </a:cubicBezTo>
                  <a:cubicBezTo>
                    <a:pt x="1947" y="6852"/>
                    <a:pt x="2247" y="6738"/>
                    <a:pt x="2604" y="6496"/>
                  </a:cubicBezTo>
                  <a:close/>
                  <a:moveTo>
                    <a:pt x="6" y="5110"/>
                  </a:moveTo>
                  <a:cubicBezTo>
                    <a:pt x="6" y="4155"/>
                    <a:pt x="320" y="3769"/>
                    <a:pt x="1147" y="3484"/>
                  </a:cubicBezTo>
                  <a:lnTo>
                    <a:pt x="2604" y="2984"/>
                  </a:lnTo>
                  <a:lnTo>
                    <a:pt x="2604" y="1699"/>
                  </a:lnTo>
                  <a:cubicBezTo>
                    <a:pt x="2604" y="1242"/>
                    <a:pt x="2375" y="999"/>
                    <a:pt x="1918" y="999"/>
                  </a:cubicBezTo>
                  <a:lnTo>
                    <a:pt x="1742" y="999"/>
                  </a:lnTo>
                  <a:cubicBezTo>
                    <a:pt x="1285" y="999"/>
                    <a:pt x="1056" y="1242"/>
                    <a:pt x="1056" y="1699"/>
                  </a:cubicBezTo>
                  <a:lnTo>
                    <a:pt x="1056" y="2791"/>
                  </a:lnTo>
                  <a:lnTo>
                    <a:pt x="0" y="2791"/>
                  </a:lnTo>
                  <a:lnTo>
                    <a:pt x="0" y="1742"/>
                  </a:lnTo>
                  <a:cubicBezTo>
                    <a:pt x="0" y="585"/>
                    <a:pt x="586" y="0"/>
                    <a:pt x="1742" y="0"/>
                  </a:cubicBezTo>
                  <a:lnTo>
                    <a:pt x="1947" y="0"/>
                  </a:lnTo>
                  <a:cubicBezTo>
                    <a:pt x="3104" y="0"/>
                    <a:pt x="3689" y="585"/>
                    <a:pt x="3689" y="1742"/>
                  </a:cubicBezTo>
                  <a:lnTo>
                    <a:pt x="3689" y="7795"/>
                  </a:lnTo>
                  <a:lnTo>
                    <a:pt x="2604" y="7795"/>
                  </a:lnTo>
                  <a:lnTo>
                    <a:pt x="2604" y="7309"/>
                  </a:lnTo>
                  <a:cubicBezTo>
                    <a:pt x="2304" y="7595"/>
                    <a:pt x="1904" y="7881"/>
                    <a:pt x="1276" y="7881"/>
                  </a:cubicBezTo>
                  <a:cubicBezTo>
                    <a:pt x="406" y="7881"/>
                    <a:pt x="6" y="7381"/>
                    <a:pt x="6" y="6524"/>
                  </a:cubicBezTo>
                  <a:lnTo>
                    <a:pt x="6" y="5110"/>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endParaRPr lang="en-US"/>
            </a:p>
          </p:txBody>
        </p:sp>
        <p:sp>
          <p:nvSpPr>
            <p:cNvPr id="7" name="Freeform 4">
              <a:extLst>
                <a:ext uri="{FF2B5EF4-FFF2-40B4-BE49-F238E27FC236}">
                  <a16:creationId xmlns:a16="http://schemas.microsoft.com/office/drawing/2014/main" id="{25F67BE6-636D-528C-094E-B7919D71EE8E}"/>
                </a:ext>
              </a:extLst>
            </p:cNvPr>
            <p:cNvSpPr>
              <a:spLocks noChangeArrowheads="1"/>
            </p:cNvSpPr>
            <p:nvPr/>
          </p:nvSpPr>
          <p:spPr bwMode="auto">
            <a:xfrm>
              <a:off x="6292850" y="2035175"/>
              <a:ext cx="2262188" cy="2806700"/>
            </a:xfrm>
            <a:custGeom>
              <a:avLst/>
              <a:gdLst>
                <a:gd name="T0" fmla="*/ 1326358 w 6285"/>
                <a:gd name="T1" fmla="*/ 2806340 h 7796"/>
                <a:gd name="T2" fmla="*/ 935470 w 6285"/>
                <a:gd name="T3" fmla="*/ 2806340 h 7796"/>
                <a:gd name="T4" fmla="*/ 935470 w 6285"/>
                <a:gd name="T5" fmla="*/ 570628 h 7796"/>
                <a:gd name="T6" fmla="*/ 750463 w 6285"/>
                <a:gd name="T7" fmla="*/ 370098 h 7796"/>
                <a:gd name="T8" fmla="*/ 390889 w 6285"/>
                <a:gd name="T9" fmla="*/ 508705 h 7796"/>
                <a:gd name="T10" fmla="*/ 390889 w 6285"/>
                <a:gd name="T11" fmla="*/ 2806340 h 7796"/>
                <a:gd name="T12" fmla="*/ 0 w 6285"/>
                <a:gd name="T13" fmla="*/ 2806340 h 7796"/>
                <a:gd name="T14" fmla="*/ 0 w 6285"/>
                <a:gd name="T15" fmla="*/ 30602 h 7796"/>
                <a:gd name="T16" fmla="*/ 390889 w 6285"/>
                <a:gd name="T17" fmla="*/ 30602 h 7796"/>
                <a:gd name="T18" fmla="*/ 390889 w 6285"/>
                <a:gd name="T19" fmla="*/ 210611 h 7796"/>
                <a:gd name="T20" fmla="*/ 868882 w 6285"/>
                <a:gd name="T21" fmla="*/ 0 h 7796"/>
                <a:gd name="T22" fmla="*/ 1274888 w 6285"/>
                <a:gd name="T23" fmla="*/ 226091 h 7796"/>
                <a:gd name="T24" fmla="*/ 1804351 w 6285"/>
                <a:gd name="T25" fmla="*/ 0 h 7796"/>
                <a:gd name="T26" fmla="*/ 2261828 w 6285"/>
                <a:gd name="T27" fmla="*/ 488184 h 7796"/>
                <a:gd name="T28" fmla="*/ 2261828 w 6285"/>
                <a:gd name="T29" fmla="*/ 2806340 h 7796"/>
                <a:gd name="T30" fmla="*/ 1870939 w 6285"/>
                <a:gd name="T31" fmla="*/ 2806340 h 7796"/>
                <a:gd name="T32" fmla="*/ 1870939 w 6285"/>
                <a:gd name="T33" fmla="*/ 570628 h 7796"/>
                <a:gd name="T34" fmla="*/ 1685933 w 6285"/>
                <a:gd name="T35" fmla="*/ 370098 h 7796"/>
                <a:gd name="T36" fmla="*/ 1326358 w 6285"/>
                <a:gd name="T37" fmla="*/ 508705 h 7796"/>
                <a:gd name="T38" fmla="*/ 1326358 w 6285"/>
                <a:gd name="T39" fmla="*/ 2806340 h 779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6285" h="7796">
                  <a:moveTo>
                    <a:pt x="3685" y="7795"/>
                  </a:moveTo>
                  <a:lnTo>
                    <a:pt x="2599" y="7795"/>
                  </a:lnTo>
                  <a:lnTo>
                    <a:pt x="2599" y="1585"/>
                  </a:lnTo>
                  <a:cubicBezTo>
                    <a:pt x="2599" y="1199"/>
                    <a:pt x="2414" y="1028"/>
                    <a:pt x="2085" y="1028"/>
                  </a:cubicBezTo>
                  <a:cubicBezTo>
                    <a:pt x="1785" y="1028"/>
                    <a:pt x="1471" y="1142"/>
                    <a:pt x="1086" y="1413"/>
                  </a:cubicBezTo>
                  <a:lnTo>
                    <a:pt x="1086" y="7795"/>
                  </a:lnTo>
                  <a:lnTo>
                    <a:pt x="0" y="7795"/>
                  </a:lnTo>
                  <a:lnTo>
                    <a:pt x="0" y="85"/>
                  </a:lnTo>
                  <a:lnTo>
                    <a:pt x="1086" y="85"/>
                  </a:lnTo>
                  <a:lnTo>
                    <a:pt x="1086" y="585"/>
                  </a:lnTo>
                  <a:cubicBezTo>
                    <a:pt x="1400" y="285"/>
                    <a:pt x="1814" y="0"/>
                    <a:pt x="2414" y="0"/>
                  </a:cubicBezTo>
                  <a:cubicBezTo>
                    <a:pt x="2971" y="0"/>
                    <a:pt x="3342" y="228"/>
                    <a:pt x="3542" y="628"/>
                  </a:cubicBezTo>
                  <a:cubicBezTo>
                    <a:pt x="3928" y="299"/>
                    <a:pt x="4385" y="0"/>
                    <a:pt x="5013" y="0"/>
                  </a:cubicBezTo>
                  <a:cubicBezTo>
                    <a:pt x="5855" y="0"/>
                    <a:pt x="6284" y="514"/>
                    <a:pt x="6284" y="1356"/>
                  </a:cubicBezTo>
                  <a:lnTo>
                    <a:pt x="6284" y="7795"/>
                  </a:lnTo>
                  <a:lnTo>
                    <a:pt x="5198" y="7795"/>
                  </a:lnTo>
                  <a:lnTo>
                    <a:pt x="5198" y="1585"/>
                  </a:lnTo>
                  <a:cubicBezTo>
                    <a:pt x="5198" y="1199"/>
                    <a:pt x="5013" y="1028"/>
                    <a:pt x="4684" y="1028"/>
                  </a:cubicBezTo>
                  <a:cubicBezTo>
                    <a:pt x="4385" y="1028"/>
                    <a:pt x="4070" y="1142"/>
                    <a:pt x="3685" y="1413"/>
                  </a:cubicBezTo>
                  <a:lnTo>
                    <a:pt x="3685" y="7795"/>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endParaRPr lang="en-US"/>
            </a:p>
          </p:txBody>
        </p:sp>
        <p:sp>
          <p:nvSpPr>
            <p:cNvPr id="8" name="Freeform 5">
              <a:extLst>
                <a:ext uri="{FF2B5EF4-FFF2-40B4-BE49-F238E27FC236}">
                  <a16:creationId xmlns:a16="http://schemas.microsoft.com/office/drawing/2014/main" id="{C7CB1470-D9C6-B437-8323-C7AA68E2E135}"/>
                </a:ext>
              </a:extLst>
            </p:cNvPr>
            <p:cNvSpPr>
              <a:spLocks noChangeArrowheads="1"/>
            </p:cNvSpPr>
            <p:nvPr/>
          </p:nvSpPr>
          <p:spPr bwMode="auto">
            <a:xfrm>
              <a:off x="14288" y="2322513"/>
              <a:ext cx="1004887" cy="2274887"/>
            </a:xfrm>
            <a:custGeom>
              <a:avLst/>
              <a:gdLst>
                <a:gd name="T0" fmla="*/ 1004527 w 2790"/>
                <a:gd name="T1" fmla="*/ 0 h 6317"/>
                <a:gd name="T2" fmla="*/ 1004527 w 2790"/>
                <a:gd name="T3" fmla="*/ 510652 h 6317"/>
                <a:gd name="T4" fmla="*/ 346488 w 2790"/>
                <a:gd name="T5" fmla="*/ 1137624 h 6317"/>
                <a:gd name="T6" fmla="*/ 1004527 w 2790"/>
                <a:gd name="T7" fmla="*/ 1752711 h 6317"/>
                <a:gd name="T8" fmla="*/ 1004527 w 2790"/>
                <a:gd name="T9" fmla="*/ 2274527 h 6317"/>
                <a:gd name="T10" fmla="*/ 0 w 2790"/>
                <a:gd name="T11" fmla="*/ 1331009 h 6317"/>
                <a:gd name="T12" fmla="*/ 0 w 2790"/>
                <a:gd name="T13" fmla="*/ 955042 h 6317"/>
                <a:gd name="T14" fmla="*/ 1004527 w 2790"/>
                <a:gd name="T15" fmla="*/ 0 h 6317"/>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2790" h="6317">
                  <a:moveTo>
                    <a:pt x="2789" y="0"/>
                  </a:moveTo>
                  <a:lnTo>
                    <a:pt x="2789" y="1418"/>
                  </a:lnTo>
                  <a:lnTo>
                    <a:pt x="962" y="3159"/>
                  </a:lnTo>
                  <a:lnTo>
                    <a:pt x="2789" y="4867"/>
                  </a:lnTo>
                  <a:lnTo>
                    <a:pt x="2789" y="6316"/>
                  </a:lnTo>
                  <a:lnTo>
                    <a:pt x="0" y="3696"/>
                  </a:lnTo>
                  <a:lnTo>
                    <a:pt x="0" y="2652"/>
                  </a:lnTo>
                  <a:lnTo>
                    <a:pt x="2789"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endParaRPr lang="en-US"/>
            </a:p>
          </p:txBody>
        </p:sp>
        <p:sp>
          <p:nvSpPr>
            <p:cNvPr id="9" name="Freeform 6">
              <a:extLst>
                <a:ext uri="{FF2B5EF4-FFF2-40B4-BE49-F238E27FC236}">
                  <a16:creationId xmlns:a16="http://schemas.microsoft.com/office/drawing/2014/main" id="{130EC7D6-AFD4-5945-38E9-373B01A18C1A}"/>
                </a:ext>
              </a:extLst>
            </p:cNvPr>
            <p:cNvSpPr>
              <a:spLocks noChangeArrowheads="1"/>
            </p:cNvSpPr>
            <p:nvPr/>
          </p:nvSpPr>
          <p:spPr bwMode="auto">
            <a:xfrm>
              <a:off x="9050338" y="2322513"/>
              <a:ext cx="1003300" cy="2274887"/>
            </a:xfrm>
            <a:custGeom>
              <a:avLst/>
              <a:gdLst>
                <a:gd name="T0" fmla="*/ 1002940 w 2789"/>
                <a:gd name="T1" fmla="*/ 955042 h 6317"/>
                <a:gd name="T2" fmla="*/ 1002940 w 2789"/>
                <a:gd name="T3" fmla="*/ 1331009 h 6317"/>
                <a:gd name="T4" fmla="*/ 0 w 2789"/>
                <a:gd name="T5" fmla="*/ 2274527 h 6317"/>
                <a:gd name="T6" fmla="*/ 0 w 2789"/>
                <a:gd name="T7" fmla="*/ 1752711 h 6317"/>
                <a:gd name="T8" fmla="*/ 656876 w 2789"/>
                <a:gd name="T9" fmla="*/ 1137624 h 6317"/>
                <a:gd name="T10" fmla="*/ 0 w 2789"/>
                <a:gd name="T11" fmla="*/ 510652 h 6317"/>
                <a:gd name="T12" fmla="*/ 0 w 2789"/>
                <a:gd name="T13" fmla="*/ 0 h 6317"/>
                <a:gd name="T14" fmla="*/ 1002940 w 2789"/>
                <a:gd name="T15" fmla="*/ 955042 h 6317"/>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2789" h="6317">
                  <a:moveTo>
                    <a:pt x="2788" y="2652"/>
                  </a:moveTo>
                  <a:lnTo>
                    <a:pt x="2788" y="3696"/>
                  </a:lnTo>
                  <a:lnTo>
                    <a:pt x="0" y="6316"/>
                  </a:lnTo>
                  <a:lnTo>
                    <a:pt x="0" y="4867"/>
                  </a:lnTo>
                  <a:lnTo>
                    <a:pt x="1826" y="3159"/>
                  </a:lnTo>
                  <a:lnTo>
                    <a:pt x="0" y="1418"/>
                  </a:lnTo>
                  <a:lnTo>
                    <a:pt x="0" y="0"/>
                  </a:lnTo>
                  <a:lnTo>
                    <a:pt x="2788" y="2652"/>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endParaRPr lang="en-US"/>
            </a:p>
          </p:txBody>
        </p:sp>
      </p:grpSp>
      <p:sp>
        <p:nvSpPr>
          <p:cNvPr id="10" name="Footer Placeholder 14">
            <a:extLst>
              <a:ext uri="{FF2B5EF4-FFF2-40B4-BE49-F238E27FC236}">
                <a16:creationId xmlns:a16="http://schemas.microsoft.com/office/drawing/2014/main" id="{1A1E9E0A-6366-8302-EC61-FA103EF9DDD8}"/>
              </a:ext>
            </a:extLst>
          </p:cNvPr>
          <p:cNvSpPr txBox="1">
            <a:spLocks/>
          </p:cNvSpPr>
          <p:nvPr userDrawn="1"/>
        </p:nvSpPr>
        <p:spPr>
          <a:xfrm>
            <a:off x="1206203" y="6411603"/>
            <a:ext cx="2157779" cy="228599"/>
          </a:xfrm>
          <a:prstGeom prst="rect">
            <a:avLst/>
          </a:prstGeom>
        </p:spPr>
        <p:txBody>
          <a:bodyPr vert="horz" lIns="0" tIns="0" rIns="0" bIns="0" rtlCol="0" anchor="ctr"/>
          <a:lstStyle>
            <a:defPPr>
              <a:defRPr lang="en-US"/>
            </a:defPPr>
            <a:lvl1pPr marL="0" algn="r" defTabSz="914400" rtl="0" eaLnBrk="1" latinLnBrk="0" hangingPunct="1">
              <a:defRPr sz="600" b="0" i="0" kern="1200">
                <a:solidFill>
                  <a:schemeClr val="tx1"/>
                </a:solidFill>
                <a:latin typeface="+mn-lt"/>
                <a:ea typeface="Calibri" panose="020F0502020204030204" pitchFamily="34" charset="0"/>
                <a:cs typeface="Calibri" panose="020F050202020403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b="0" i="0">
                <a:solidFill>
                  <a:schemeClr val="bg1"/>
                </a:solidFill>
                <a:latin typeface="+mn-lt"/>
              </a:rPr>
              <a:t>EPAM Proprietary &amp; Confidential</a:t>
            </a:r>
            <a:r>
              <a:rPr lang="ru-RU" b="0" i="0">
                <a:solidFill>
                  <a:schemeClr val="bg1"/>
                </a:solidFill>
                <a:latin typeface="+mn-lt"/>
              </a:rPr>
              <a:t> </a:t>
            </a:r>
            <a:endParaRPr lang="en-US" b="0" i="0">
              <a:solidFill>
                <a:schemeClr val="bg1"/>
              </a:solidFill>
              <a:latin typeface="+mn-lt"/>
            </a:endParaRPr>
          </a:p>
        </p:txBody>
      </p:sp>
      <p:pic>
        <p:nvPicPr>
          <p:cNvPr id="17" name="Graphic 16">
            <a:extLst>
              <a:ext uri="{FF2B5EF4-FFF2-40B4-BE49-F238E27FC236}">
                <a16:creationId xmlns:a16="http://schemas.microsoft.com/office/drawing/2014/main" id="{7BD8CAB7-1554-C848-A94F-B0B5FE46B2F5}"/>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820266" y="6419060"/>
            <a:ext cx="762921" cy="205636"/>
          </a:xfrm>
          <a:prstGeom prst="rect">
            <a:avLst/>
          </a:prstGeom>
        </p:spPr>
      </p:pic>
    </p:spTree>
    <p:extLst>
      <p:ext uri="{BB962C8B-B14F-4D97-AF65-F5344CB8AC3E}">
        <p14:creationId xmlns:p14="http://schemas.microsoft.com/office/powerpoint/2010/main" val="518364194"/>
      </p:ext>
    </p:extLst>
  </p:cSld>
  <p:clrMapOvr>
    <a:masterClrMapping/>
  </p:clrMapOvr>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ver-1/2">
    <p:bg>
      <p:bgPr>
        <a:solidFill>
          <a:schemeClr val="bg1"/>
        </a:solidFill>
        <a:effectLst/>
      </p:bgPr>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339377C-8642-441F-BDC6-500DB01AD362}"/>
              </a:ext>
            </a:extLst>
          </p:cNvPr>
          <p:cNvSpPr/>
          <p:nvPr userDrawn="1"/>
        </p:nvSpPr>
        <p:spPr bwMode="auto">
          <a:xfrm>
            <a:off x="0" y="0"/>
            <a:ext cx="12192000" cy="6858000"/>
          </a:xfrm>
          <a:prstGeom prst="rect">
            <a:avLst/>
          </a:prstGeom>
          <a:solidFill>
            <a:schemeClr val="tx1"/>
          </a:solidFill>
          <a:ln>
            <a:noFill/>
          </a:ln>
          <a:effectLst/>
        </p:spPr>
        <p:txBody>
          <a:bodyPr wrap="none" rtlCol="0" anchor="ctr"/>
          <a:lstStyle/>
          <a:p>
            <a:pPr algn="ctr"/>
            <a:endParaRPr lang="en-US" sz="2400" err="1">
              <a:solidFill>
                <a:schemeClr val="bg1"/>
              </a:solidFill>
              <a:latin typeface="Calibri Light" panose="020F0302020204030204" pitchFamily="34" charset="0"/>
              <a:ea typeface="Human Sans ExtraLight" charset="0"/>
              <a:cs typeface="Human Sans ExtraLight" charset="0"/>
            </a:endParaRPr>
          </a:p>
        </p:txBody>
      </p:sp>
      <p:sp>
        <p:nvSpPr>
          <p:cNvPr id="13" name="Text Placeholder 4">
            <a:extLst>
              <a:ext uri="{FF2B5EF4-FFF2-40B4-BE49-F238E27FC236}">
                <a16:creationId xmlns:a16="http://schemas.microsoft.com/office/drawing/2014/main" id="{B8E369A2-FC86-4140-9080-E549260B9180}"/>
              </a:ext>
            </a:extLst>
          </p:cNvPr>
          <p:cNvSpPr>
            <a:spLocks noGrp="1"/>
          </p:cNvSpPr>
          <p:nvPr>
            <p:ph type="body" sz="quarter" idx="11" hasCustomPrompt="1"/>
          </p:nvPr>
        </p:nvSpPr>
        <p:spPr>
          <a:xfrm>
            <a:off x="651058" y="4663440"/>
            <a:ext cx="5040000" cy="276999"/>
          </a:xfrm>
          <a:prstGeom prst="rect">
            <a:avLst/>
          </a:prstGeom>
        </p:spPr>
        <p:txBody>
          <a:bodyPr wrap="square">
            <a:spAutoFit/>
          </a:bodyPr>
          <a:lstStyle>
            <a:lvl1pPr>
              <a:lnSpc>
                <a:spcPct val="100000"/>
              </a:lnSpc>
              <a:spcBef>
                <a:spcPts val="0"/>
              </a:spcBef>
              <a:defRPr sz="1800">
                <a:solidFill>
                  <a:schemeClr val="bg1"/>
                </a:solidFill>
                <a:latin typeface="Calibri Light" panose="020F0302020204030204" pitchFamily="34" charset="0"/>
                <a:cs typeface="Calibri Light" panose="020F0302020204030204" pitchFamily="34" charset="0"/>
              </a:defRPr>
            </a:lvl1pPr>
            <a:lvl2pPr>
              <a:buNone/>
              <a:defRPr/>
            </a:lvl2pPr>
          </a:lstStyle>
          <a:p>
            <a:pPr lvl="0"/>
            <a:r>
              <a:rPr lang="en-US">
                <a:effectLst/>
              </a:rPr>
              <a:t>Sub-description text goes here over one or two lines</a:t>
            </a:r>
            <a:endParaRPr lang="en-US"/>
          </a:p>
        </p:txBody>
      </p:sp>
      <p:sp>
        <p:nvSpPr>
          <p:cNvPr id="14" name="Text Placeholder 4">
            <a:extLst>
              <a:ext uri="{FF2B5EF4-FFF2-40B4-BE49-F238E27FC236}">
                <a16:creationId xmlns:a16="http://schemas.microsoft.com/office/drawing/2014/main" id="{2F6A18E7-9305-4C6B-A5A3-4962D30A22A2}"/>
              </a:ext>
            </a:extLst>
          </p:cNvPr>
          <p:cNvSpPr>
            <a:spLocks noGrp="1"/>
          </p:cNvSpPr>
          <p:nvPr>
            <p:ph type="body" sz="quarter" idx="12" hasCustomPrompt="1"/>
          </p:nvPr>
        </p:nvSpPr>
        <p:spPr>
          <a:xfrm>
            <a:off x="651058" y="5245390"/>
            <a:ext cx="5040000" cy="200055"/>
          </a:xfrm>
          <a:prstGeom prst="rect">
            <a:avLst/>
          </a:prstGeom>
        </p:spPr>
        <p:txBody>
          <a:bodyPr vert="horz" lIns="0" tIns="0" rIns="0" bIns="0" rtlCol="0">
            <a:spAutoFit/>
          </a:bodyPr>
          <a:lstStyle>
            <a:lvl1pPr>
              <a:lnSpc>
                <a:spcPct val="100000"/>
              </a:lnSpc>
              <a:spcBef>
                <a:spcPts val="0"/>
              </a:spcBef>
              <a:defRPr lang="en-US" sz="1300" b="1" i="0" spc="300" dirty="0">
                <a:solidFill>
                  <a:schemeClr val="accent5"/>
                </a:solidFill>
                <a:effectLst/>
                <a:latin typeface="Calibri" panose="020F0502020204030204" pitchFamily="34" charset="0"/>
                <a:cs typeface="Calibri" panose="020F0502020204030204" pitchFamily="34" charset="0"/>
              </a:defRPr>
            </a:lvl1pPr>
            <a:lvl2pPr>
              <a:buNone/>
              <a:defRPr/>
            </a:lvl2pPr>
          </a:lstStyle>
          <a:p>
            <a:pPr lvl="0">
              <a:lnSpc>
                <a:spcPct val="100000"/>
              </a:lnSpc>
              <a:spcBef>
                <a:spcPts val="0"/>
              </a:spcBef>
            </a:pPr>
            <a:r>
              <a:rPr lang="en-US">
                <a:effectLst/>
              </a:rPr>
              <a:t>23 OCTOBER 2023</a:t>
            </a:r>
            <a:endParaRPr lang="en-US"/>
          </a:p>
        </p:txBody>
      </p:sp>
      <p:sp>
        <p:nvSpPr>
          <p:cNvPr id="10" name="Text Placeholder 4">
            <a:extLst>
              <a:ext uri="{FF2B5EF4-FFF2-40B4-BE49-F238E27FC236}">
                <a16:creationId xmlns:a16="http://schemas.microsoft.com/office/drawing/2014/main" id="{D3506A5C-D398-4F6C-BA3C-D23DAEA64409}"/>
              </a:ext>
            </a:extLst>
          </p:cNvPr>
          <p:cNvSpPr>
            <a:spLocks noGrp="1"/>
          </p:cNvSpPr>
          <p:nvPr>
            <p:ph type="body" sz="quarter" idx="10" hasCustomPrompt="1"/>
          </p:nvPr>
        </p:nvSpPr>
        <p:spPr>
          <a:xfrm>
            <a:off x="651058" y="1828800"/>
            <a:ext cx="5040000" cy="1923604"/>
          </a:xfrm>
          <a:prstGeom prst="rect">
            <a:avLst/>
          </a:prstGeom>
        </p:spPr>
        <p:txBody>
          <a:bodyPr wrap="square">
            <a:spAutoFit/>
          </a:bodyPr>
          <a:lstStyle>
            <a:lvl1pPr>
              <a:lnSpc>
                <a:spcPts val="7500"/>
              </a:lnSpc>
              <a:spcBef>
                <a:spcPts val="0"/>
              </a:spcBef>
              <a:defRPr sz="6000" b="0">
                <a:solidFill>
                  <a:schemeClr val="bg1"/>
                </a:solidFill>
                <a:latin typeface="Calibri Light" panose="020F0302020204030204" pitchFamily="34" charset="0"/>
                <a:cs typeface="Calibri Light" panose="020F0302020204030204" pitchFamily="34" charset="0"/>
              </a:defRPr>
            </a:lvl1pPr>
            <a:lvl2pPr>
              <a:buNone/>
              <a:defRPr/>
            </a:lvl2pPr>
          </a:lstStyle>
          <a:p>
            <a:pPr lvl="0"/>
            <a:r>
              <a:rPr lang="en-US"/>
              <a:t>Cover with </a:t>
            </a:r>
            <a:br>
              <a:rPr lang="en-US"/>
            </a:br>
            <a:r>
              <a:rPr lang="en-US"/>
              <a:t>text two lines</a:t>
            </a:r>
          </a:p>
        </p:txBody>
      </p:sp>
      <p:sp>
        <p:nvSpPr>
          <p:cNvPr id="2" name="Picture Placeholder 2">
            <a:extLst>
              <a:ext uri="{FF2B5EF4-FFF2-40B4-BE49-F238E27FC236}">
                <a16:creationId xmlns:a16="http://schemas.microsoft.com/office/drawing/2014/main" id="{612C50EB-13A7-44C1-D9BB-6DAF8DA0F572}"/>
              </a:ext>
            </a:extLst>
          </p:cNvPr>
          <p:cNvSpPr>
            <a:spLocks noGrp="1"/>
          </p:cNvSpPr>
          <p:nvPr>
            <p:ph type="pic" sz="quarter" idx="24"/>
          </p:nvPr>
        </p:nvSpPr>
        <p:spPr>
          <a:xfrm>
            <a:off x="6123008" y="0"/>
            <a:ext cx="6068992" cy="6858000"/>
          </a:xfrm>
          <a:prstGeom prst="rect">
            <a:avLst/>
          </a:prstGeom>
        </p:spPr>
        <p:txBody>
          <a:bodyPr/>
          <a:lstStyle/>
          <a:p>
            <a:endParaRPr lang="en-US"/>
          </a:p>
        </p:txBody>
      </p:sp>
      <p:grpSp>
        <p:nvGrpSpPr>
          <p:cNvPr id="4" name="Group 3">
            <a:extLst>
              <a:ext uri="{FF2B5EF4-FFF2-40B4-BE49-F238E27FC236}">
                <a16:creationId xmlns:a16="http://schemas.microsoft.com/office/drawing/2014/main" id="{8798FEA7-2E15-9C47-602C-1248C9CB82B5}"/>
              </a:ext>
            </a:extLst>
          </p:cNvPr>
          <p:cNvGrpSpPr/>
          <p:nvPr userDrawn="1"/>
        </p:nvGrpSpPr>
        <p:grpSpPr>
          <a:xfrm>
            <a:off x="647699" y="716555"/>
            <a:ext cx="649751" cy="228601"/>
            <a:chOff x="14288" y="2035175"/>
            <a:chExt cx="10039350" cy="3532188"/>
          </a:xfrm>
          <a:solidFill>
            <a:schemeClr val="bg1"/>
          </a:solidFill>
        </p:grpSpPr>
        <p:sp>
          <p:nvSpPr>
            <p:cNvPr id="5" name="Freeform 1">
              <a:extLst>
                <a:ext uri="{FF2B5EF4-FFF2-40B4-BE49-F238E27FC236}">
                  <a16:creationId xmlns:a16="http://schemas.microsoft.com/office/drawing/2014/main" id="{4F162720-C489-0EDC-F693-5401A57BDD57}"/>
                </a:ext>
              </a:extLst>
            </p:cNvPr>
            <p:cNvSpPr>
              <a:spLocks noChangeArrowheads="1"/>
            </p:cNvSpPr>
            <p:nvPr/>
          </p:nvSpPr>
          <p:spPr bwMode="auto">
            <a:xfrm>
              <a:off x="1519238" y="2035175"/>
              <a:ext cx="1336675" cy="2836863"/>
            </a:xfrm>
            <a:custGeom>
              <a:avLst/>
              <a:gdLst>
                <a:gd name="T0" fmla="*/ 390493 w 3714"/>
                <a:gd name="T1" fmla="*/ 1200682 h 7882"/>
                <a:gd name="T2" fmla="*/ 945462 w 3714"/>
                <a:gd name="T3" fmla="*/ 1200682 h 7882"/>
                <a:gd name="T4" fmla="*/ 945462 w 3714"/>
                <a:gd name="T5" fmla="*/ 611498 h 7882"/>
                <a:gd name="T6" fmla="*/ 698929 w 3714"/>
                <a:gd name="T7" fmla="*/ 364596 h 7882"/>
                <a:gd name="T8" fmla="*/ 637386 w 3714"/>
                <a:gd name="T9" fmla="*/ 364596 h 7882"/>
                <a:gd name="T10" fmla="*/ 390493 w 3714"/>
                <a:gd name="T11" fmla="*/ 611498 h 7882"/>
                <a:gd name="T12" fmla="*/ 390493 w 3714"/>
                <a:gd name="T13" fmla="*/ 1200682 h 7882"/>
                <a:gd name="T14" fmla="*/ 389414 w 3714"/>
                <a:gd name="T15" fmla="*/ 1576795 h 7882"/>
                <a:gd name="T16" fmla="*/ 390493 w 3714"/>
                <a:gd name="T17" fmla="*/ 2224645 h 7882"/>
                <a:gd name="T18" fmla="*/ 637386 w 3714"/>
                <a:gd name="T19" fmla="*/ 2471548 h 7882"/>
                <a:gd name="T20" fmla="*/ 709366 w 3714"/>
                <a:gd name="T21" fmla="*/ 2471548 h 7882"/>
                <a:gd name="T22" fmla="*/ 955899 w 3714"/>
                <a:gd name="T23" fmla="*/ 2224645 h 7882"/>
                <a:gd name="T24" fmla="*/ 955899 w 3714"/>
                <a:gd name="T25" fmla="*/ 1906119 h 7882"/>
                <a:gd name="T26" fmla="*/ 1336315 w 3714"/>
                <a:gd name="T27" fmla="*/ 1906119 h 7882"/>
                <a:gd name="T28" fmla="*/ 1336315 w 3714"/>
                <a:gd name="T29" fmla="*/ 2209528 h 7882"/>
                <a:gd name="T30" fmla="*/ 709366 w 3714"/>
                <a:gd name="T31" fmla="*/ 2836503 h 7882"/>
                <a:gd name="T32" fmla="*/ 626949 w 3714"/>
                <a:gd name="T33" fmla="*/ 2836503 h 7882"/>
                <a:gd name="T34" fmla="*/ 0 w 3714"/>
                <a:gd name="T35" fmla="*/ 2258117 h 7882"/>
                <a:gd name="T36" fmla="*/ 0 w 3714"/>
                <a:gd name="T37" fmla="*/ 675564 h 7882"/>
                <a:gd name="T38" fmla="*/ 626949 w 3714"/>
                <a:gd name="T39" fmla="*/ 0 h 7882"/>
                <a:gd name="T40" fmla="*/ 709366 w 3714"/>
                <a:gd name="T41" fmla="*/ 0 h 7882"/>
                <a:gd name="T42" fmla="*/ 1336315 w 3714"/>
                <a:gd name="T43" fmla="*/ 626975 h 7882"/>
                <a:gd name="T44" fmla="*/ 1334875 w 3714"/>
                <a:gd name="T45" fmla="*/ 1576795 h 7882"/>
                <a:gd name="T46" fmla="*/ 389414 w 3714"/>
                <a:gd name="T47" fmla="*/ 1576795 h 7882"/>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3714" h="7882">
                  <a:moveTo>
                    <a:pt x="1085" y="3336"/>
                  </a:moveTo>
                  <a:lnTo>
                    <a:pt x="2627" y="3336"/>
                  </a:lnTo>
                  <a:lnTo>
                    <a:pt x="2627" y="1699"/>
                  </a:lnTo>
                  <a:cubicBezTo>
                    <a:pt x="2627" y="1242"/>
                    <a:pt x="2399" y="1013"/>
                    <a:pt x="1942" y="1013"/>
                  </a:cubicBezTo>
                  <a:lnTo>
                    <a:pt x="1771" y="1013"/>
                  </a:lnTo>
                  <a:cubicBezTo>
                    <a:pt x="1314" y="1013"/>
                    <a:pt x="1085" y="1242"/>
                    <a:pt x="1085" y="1699"/>
                  </a:cubicBezTo>
                  <a:lnTo>
                    <a:pt x="1085" y="3336"/>
                  </a:lnTo>
                  <a:close/>
                  <a:moveTo>
                    <a:pt x="1082" y="4381"/>
                  </a:moveTo>
                  <a:lnTo>
                    <a:pt x="1085" y="6181"/>
                  </a:lnTo>
                  <a:cubicBezTo>
                    <a:pt x="1085" y="6638"/>
                    <a:pt x="1314" y="6867"/>
                    <a:pt x="1771" y="6867"/>
                  </a:cubicBezTo>
                  <a:lnTo>
                    <a:pt x="1971" y="6867"/>
                  </a:lnTo>
                  <a:cubicBezTo>
                    <a:pt x="2428" y="6867"/>
                    <a:pt x="2656" y="6638"/>
                    <a:pt x="2656" y="6181"/>
                  </a:cubicBezTo>
                  <a:lnTo>
                    <a:pt x="2656" y="5296"/>
                  </a:lnTo>
                  <a:lnTo>
                    <a:pt x="3713" y="5296"/>
                  </a:lnTo>
                  <a:lnTo>
                    <a:pt x="3713" y="6139"/>
                  </a:lnTo>
                  <a:cubicBezTo>
                    <a:pt x="3713" y="7295"/>
                    <a:pt x="3127" y="7881"/>
                    <a:pt x="1971" y="7881"/>
                  </a:cubicBezTo>
                  <a:lnTo>
                    <a:pt x="1742" y="7881"/>
                  </a:lnTo>
                  <a:cubicBezTo>
                    <a:pt x="585" y="7881"/>
                    <a:pt x="0" y="7295"/>
                    <a:pt x="0" y="6274"/>
                  </a:cubicBezTo>
                  <a:lnTo>
                    <a:pt x="0" y="1877"/>
                  </a:lnTo>
                  <a:cubicBezTo>
                    <a:pt x="0" y="585"/>
                    <a:pt x="585" y="0"/>
                    <a:pt x="1742" y="0"/>
                  </a:cubicBezTo>
                  <a:lnTo>
                    <a:pt x="1971" y="0"/>
                  </a:lnTo>
                  <a:cubicBezTo>
                    <a:pt x="3127" y="0"/>
                    <a:pt x="3713" y="585"/>
                    <a:pt x="3713" y="1742"/>
                  </a:cubicBezTo>
                  <a:lnTo>
                    <a:pt x="3709" y="4381"/>
                  </a:lnTo>
                  <a:lnTo>
                    <a:pt x="1082" y="4381"/>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endParaRPr lang="en-US" sz="1351"/>
            </a:p>
          </p:txBody>
        </p:sp>
        <p:sp>
          <p:nvSpPr>
            <p:cNvPr id="6" name="Freeform 2">
              <a:extLst>
                <a:ext uri="{FF2B5EF4-FFF2-40B4-BE49-F238E27FC236}">
                  <a16:creationId xmlns:a16="http://schemas.microsoft.com/office/drawing/2014/main" id="{FA5E0037-2556-CCBE-8E5D-61A768BED7FB}"/>
                </a:ext>
              </a:extLst>
            </p:cNvPr>
            <p:cNvSpPr>
              <a:spLocks noChangeArrowheads="1"/>
            </p:cNvSpPr>
            <p:nvPr/>
          </p:nvSpPr>
          <p:spPr bwMode="auto">
            <a:xfrm>
              <a:off x="3109913" y="2035175"/>
              <a:ext cx="1368425" cy="3532188"/>
            </a:xfrm>
            <a:custGeom>
              <a:avLst/>
              <a:gdLst>
                <a:gd name="T0" fmla="*/ 390721 w 3800"/>
                <a:gd name="T1" fmla="*/ 2322993 h 9812"/>
                <a:gd name="T2" fmla="*/ 750833 w 3800"/>
                <a:gd name="T3" fmla="*/ 2466628 h 9812"/>
                <a:gd name="T4" fmla="*/ 976983 w 3800"/>
                <a:gd name="T5" fmla="*/ 2240556 h 9812"/>
                <a:gd name="T6" fmla="*/ 976983 w 3800"/>
                <a:gd name="T7" fmla="*/ 596138 h 9812"/>
                <a:gd name="T8" fmla="*/ 750833 w 3800"/>
                <a:gd name="T9" fmla="*/ 370066 h 9812"/>
                <a:gd name="T10" fmla="*/ 390721 w 3800"/>
                <a:gd name="T11" fmla="*/ 514061 h 9812"/>
                <a:gd name="T12" fmla="*/ 390721 w 3800"/>
                <a:gd name="T13" fmla="*/ 2322993 h 9812"/>
                <a:gd name="T14" fmla="*/ 0 w 3800"/>
                <a:gd name="T15" fmla="*/ 30599 h 9812"/>
                <a:gd name="T16" fmla="*/ 390721 w 3800"/>
                <a:gd name="T17" fmla="*/ 30599 h 9812"/>
                <a:gd name="T18" fmla="*/ 390721 w 3800"/>
                <a:gd name="T19" fmla="*/ 210592 h 9812"/>
                <a:gd name="T20" fmla="*/ 868950 w 3800"/>
                <a:gd name="T21" fmla="*/ 0 h 9812"/>
                <a:gd name="T22" fmla="*/ 1368065 w 3800"/>
                <a:gd name="T23" fmla="*/ 549699 h 9812"/>
                <a:gd name="T24" fmla="*/ 1368065 w 3800"/>
                <a:gd name="T25" fmla="*/ 2286995 h 9812"/>
                <a:gd name="T26" fmla="*/ 868950 w 3800"/>
                <a:gd name="T27" fmla="*/ 2837054 h 9812"/>
                <a:gd name="T28" fmla="*/ 390721 w 3800"/>
                <a:gd name="T29" fmla="*/ 2636541 h 9812"/>
                <a:gd name="T30" fmla="*/ 390721 w 3800"/>
                <a:gd name="T31" fmla="*/ 3531828 h 9812"/>
                <a:gd name="T32" fmla="*/ 0 w 3800"/>
                <a:gd name="T33" fmla="*/ 3531828 h 9812"/>
                <a:gd name="T34" fmla="*/ 0 w 3800"/>
                <a:gd name="T35" fmla="*/ 30599 h 9812"/>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3800" h="9812">
                  <a:moveTo>
                    <a:pt x="1085" y="6453"/>
                  </a:moveTo>
                  <a:cubicBezTo>
                    <a:pt x="1385" y="6710"/>
                    <a:pt x="1728" y="6852"/>
                    <a:pt x="2085" y="6852"/>
                  </a:cubicBezTo>
                  <a:cubicBezTo>
                    <a:pt x="2485" y="6852"/>
                    <a:pt x="2713" y="6667"/>
                    <a:pt x="2713" y="6224"/>
                  </a:cubicBezTo>
                  <a:lnTo>
                    <a:pt x="2713" y="1656"/>
                  </a:lnTo>
                  <a:cubicBezTo>
                    <a:pt x="2713" y="1213"/>
                    <a:pt x="2485" y="1028"/>
                    <a:pt x="2085" y="1028"/>
                  </a:cubicBezTo>
                  <a:cubicBezTo>
                    <a:pt x="1728" y="1028"/>
                    <a:pt x="1385" y="1170"/>
                    <a:pt x="1085" y="1428"/>
                  </a:cubicBezTo>
                  <a:lnTo>
                    <a:pt x="1085" y="6453"/>
                  </a:lnTo>
                  <a:close/>
                  <a:moveTo>
                    <a:pt x="0" y="85"/>
                  </a:moveTo>
                  <a:lnTo>
                    <a:pt x="1085" y="85"/>
                  </a:lnTo>
                  <a:lnTo>
                    <a:pt x="1085" y="585"/>
                  </a:lnTo>
                  <a:cubicBezTo>
                    <a:pt x="1342" y="314"/>
                    <a:pt x="1785" y="0"/>
                    <a:pt x="2413" y="0"/>
                  </a:cubicBezTo>
                  <a:cubicBezTo>
                    <a:pt x="3342" y="0"/>
                    <a:pt x="3799" y="614"/>
                    <a:pt x="3799" y="1527"/>
                  </a:cubicBezTo>
                  <a:lnTo>
                    <a:pt x="3799" y="6353"/>
                  </a:lnTo>
                  <a:cubicBezTo>
                    <a:pt x="3799" y="7267"/>
                    <a:pt x="3342" y="7881"/>
                    <a:pt x="2413" y="7881"/>
                  </a:cubicBezTo>
                  <a:cubicBezTo>
                    <a:pt x="1785" y="7881"/>
                    <a:pt x="1342" y="7581"/>
                    <a:pt x="1085" y="7324"/>
                  </a:cubicBezTo>
                  <a:lnTo>
                    <a:pt x="1085" y="9811"/>
                  </a:lnTo>
                  <a:lnTo>
                    <a:pt x="0" y="9811"/>
                  </a:lnTo>
                  <a:lnTo>
                    <a:pt x="0" y="85"/>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endParaRPr lang="en-US" sz="1351"/>
            </a:p>
          </p:txBody>
        </p:sp>
        <p:sp>
          <p:nvSpPr>
            <p:cNvPr id="7" name="Freeform 3">
              <a:extLst>
                <a:ext uri="{FF2B5EF4-FFF2-40B4-BE49-F238E27FC236}">
                  <a16:creationId xmlns:a16="http://schemas.microsoft.com/office/drawing/2014/main" id="{70C77AF1-80BD-3FF6-8C66-32F2AE3C039A}"/>
                </a:ext>
              </a:extLst>
            </p:cNvPr>
            <p:cNvSpPr>
              <a:spLocks noChangeArrowheads="1"/>
            </p:cNvSpPr>
            <p:nvPr/>
          </p:nvSpPr>
          <p:spPr bwMode="auto">
            <a:xfrm>
              <a:off x="4711700" y="2035175"/>
              <a:ext cx="1328738" cy="2836863"/>
            </a:xfrm>
            <a:custGeom>
              <a:avLst/>
              <a:gdLst>
                <a:gd name="T0" fmla="*/ 937679 w 3690"/>
                <a:gd name="T1" fmla="*/ 2338019 h 7882"/>
                <a:gd name="T2" fmla="*/ 937679 w 3690"/>
                <a:gd name="T3" fmla="*/ 1422750 h 7882"/>
                <a:gd name="T4" fmla="*/ 582988 w 3690"/>
                <a:gd name="T5" fmla="*/ 1556999 h 7882"/>
                <a:gd name="T6" fmla="*/ 392500 w 3690"/>
                <a:gd name="T7" fmla="*/ 1844573 h 7882"/>
                <a:gd name="T8" fmla="*/ 392500 w 3690"/>
                <a:gd name="T9" fmla="*/ 2266035 h 7882"/>
                <a:gd name="T10" fmla="*/ 582988 w 3690"/>
                <a:gd name="T11" fmla="*/ 2466149 h 7882"/>
                <a:gd name="T12" fmla="*/ 937679 w 3690"/>
                <a:gd name="T13" fmla="*/ 2338019 h 7882"/>
                <a:gd name="T14" fmla="*/ 2161 w 3690"/>
                <a:gd name="T15" fmla="*/ 1839174 h 7882"/>
                <a:gd name="T16" fmla="*/ 413025 w 3690"/>
                <a:gd name="T17" fmla="*/ 1253950 h 7882"/>
                <a:gd name="T18" fmla="*/ 937679 w 3690"/>
                <a:gd name="T19" fmla="*/ 1073991 h 7882"/>
                <a:gd name="T20" fmla="*/ 937679 w 3690"/>
                <a:gd name="T21" fmla="*/ 611498 h 7882"/>
                <a:gd name="T22" fmla="*/ 690656 w 3690"/>
                <a:gd name="T23" fmla="*/ 359557 h 7882"/>
                <a:gd name="T24" fmla="*/ 627280 w 3690"/>
                <a:gd name="T25" fmla="*/ 359557 h 7882"/>
                <a:gd name="T26" fmla="*/ 380257 w 3690"/>
                <a:gd name="T27" fmla="*/ 611498 h 7882"/>
                <a:gd name="T28" fmla="*/ 380257 w 3690"/>
                <a:gd name="T29" fmla="*/ 1004527 h 7882"/>
                <a:gd name="T30" fmla="*/ 0 w 3690"/>
                <a:gd name="T31" fmla="*/ 1004527 h 7882"/>
                <a:gd name="T32" fmla="*/ 0 w 3690"/>
                <a:gd name="T33" fmla="*/ 626975 h 7882"/>
                <a:gd name="T34" fmla="*/ 627280 w 3690"/>
                <a:gd name="T35" fmla="*/ 0 h 7882"/>
                <a:gd name="T36" fmla="*/ 701098 w 3690"/>
                <a:gd name="T37" fmla="*/ 0 h 7882"/>
                <a:gd name="T38" fmla="*/ 1328378 w 3690"/>
                <a:gd name="T39" fmla="*/ 626975 h 7882"/>
                <a:gd name="T40" fmla="*/ 1328378 w 3690"/>
                <a:gd name="T41" fmla="*/ 2805550 h 7882"/>
                <a:gd name="T42" fmla="*/ 937679 w 3690"/>
                <a:gd name="T43" fmla="*/ 2805550 h 7882"/>
                <a:gd name="T44" fmla="*/ 937679 w 3690"/>
                <a:gd name="T45" fmla="*/ 2630631 h 7882"/>
                <a:gd name="T46" fmla="*/ 459477 w 3690"/>
                <a:gd name="T47" fmla="*/ 2836503 h 7882"/>
                <a:gd name="T48" fmla="*/ 2161 w 3690"/>
                <a:gd name="T49" fmla="*/ 2348096 h 7882"/>
                <a:gd name="T50" fmla="*/ 2161 w 3690"/>
                <a:gd name="T51" fmla="*/ 1839174 h 7882"/>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3690" h="7882">
                  <a:moveTo>
                    <a:pt x="2604" y="6496"/>
                  </a:moveTo>
                  <a:lnTo>
                    <a:pt x="2604" y="3953"/>
                  </a:lnTo>
                  <a:lnTo>
                    <a:pt x="1619" y="4326"/>
                  </a:lnTo>
                  <a:cubicBezTo>
                    <a:pt x="1219" y="4483"/>
                    <a:pt x="1090" y="4683"/>
                    <a:pt x="1090" y="5125"/>
                  </a:cubicBezTo>
                  <a:lnTo>
                    <a:pt x="1090" y="6296"/>
                  </a:lnTo>
                  <a:cubicBezTo>
                    <a:pt x="1090" y="6667"/>
                    <a:pt x="1276" y="6852"/>
                    <a:pt x="1619" y="6852"/>
                  </a:cubicBezTo>
                  <a:cubicBezTo>
                    <a:pt x="1947" y="6852"/>
                    <a:pt x="2247" y="6738"/>
                    <a:pt x="2604" y="6496"/>
                  </a:cubicBezTo>
                  <a:close/>
                  <a:moveTo>
                    <a:pt x="6" y="5110"/>
                  </a:moveTo>
                  <a:cubicBezTo>
                    <a:pt x="6" y="4155"/>
                    <a:pt x="320" y="3769"/>
                    <a:pt x="1147" y="3484"/>
                  </a:cubicBezTo>
                  <a:lnTo>
                    <a:pt x="2604" y="2984"/>
                  </a:lnTo>
                  <a:lnTo>
                    <a:pt x="2604" y="1699"/>
                  </a:lnTo>
                  <a:cubicBezTo>
                    <a:pt x="2604" y="1242"/>
                    <a:pt x="2375" y="999"/>
                    <a:pt x="1918" y="999"/>
                  </a:cubicBezTo>
                  <a:lnTo>
                    <a:pt x="1742" y="999"/>
                  </a:lnTo>
                  <a:cubicBezTo>
                    <a:pt x="1285" y="999"/>
                    <a:pt x="1056" y="1242"/>
                    <a:pt x="1056" y="1699"/>
                  </a:cubicBezTo>
                  <a:lnTo>
                    <a:pt x="1056" y="2791"/>
                  </a:lnTo>
                  <a:lnTo>
                    <a:pt x="0" y="2791"/>
                  </a:lnTo>
                  <a:lnTo>
                    <a:pt x="0" y="1742"/>
                  </a:lnTo>
                  <a:cubicBezTo>
                    <a:pt x="0" y="585"/>
                    <a:pt x="586" y="0"/>
                    <a:pt x="1742" y="0"/>
                  </a:cubicBezTo>
                  <a:lnTo>
                    <a:pt x="1947" y="0"/>
                  </a:lnTo>
                  <a:cubicBezTo>
                    <a:pt x="3104" y="0"/>
                    <a:pt x="3689" y="585"/>
                    <a:pt x="3689" y="1742"/>
                  </a:cubicBezTo>
                  <a:lnTo>
                    <a:pt x="3689" y="7795"/>
                  </a:lnTo>
                  <a:lnTo>
                    <a:pt x="2604" y="7795"/>
                  </a:lnTo>
                  <a:lnTo>
                    <a:pt x="2604" y="7309"/>
                  </a:lnTo>
                  <a:cubicBezTo>
                    <a:pt x="2304" y="7595"/>
                    <a:pt x="1904" y="7881"/>
                    <a:pt x="1276" y="7881"/>
                  </a:cubicBezTo>
                  <a:cubicBezTo>
                    <a:pt x="406" y="7881"/>
                    <a:pt x="6" y="7381"/>
                    <a:pt x="6" y="6524"/>
                  </a:cubicBezTo>
                  <a:lnTo>
                    <a:pt x="6" y="5110"/>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endParaRPr lang="en-US" sz="1351"/>
            </a:p>
          </p:txBody>
        </p:sp>
        <p:sp>
          <p:nvSpPr>
            <p:cNvPr id="8" name="Freeform 4">
              <a:extLst>
                <a:ext uri="{FF2B5EF4-FFF2-40B4-BE49-F238E27FC236}">
                  <a16:creationId xmlns:a16="http://schemas.microsoft.com/office/drawing/2014/main" id="{AE69E928-2023-24F2-4D32-EAE80C4DB65F}"/>
                </a:ext>
              </a:extLst>
            </p:cNvPr>
            <p:cNvSpPr>
              <a:spLocks noChangeArrowheads="1"/>
            </p:cNvSpPr>
            <p:nvPr/>
          </p:nvSpPr>
          <p:spPr bwMode="auto">
            <a:xfrm>
              <a:off x="6292850" y="2035175"/>
              <a:ext cx="2262188" cy="2806700"/>
            </a:xfrm>
            <a:custGeom>
              <a:avLst/>
              <a:gdLst>
                <a:gd name="T0" fmla="*/ 1326358 w 6285"/>
                <a:gd name="T1" fmla="*/ 2806340 h 7796"/>
                <a:gd name="T2" fmla="*/ 935470 w 6285"/>
                <a:gd name="T3" fmla="*/ 2806340 h 7796"/>
                <a:gd name="T4" fmla="*/ 935470 w 6285"/>
                <a:gd name="T5" fmla="*/ 570628 h 7796"/>
                <a:gd name="T6" fmla="*/ 750463 w 6285"/>
                <a:gd name="T7" fmla="*/ 370098 h 7796"/>
                <a:gd name="T8" fmla="*/ 390889 w 6285"/>
                <a:gd name="T9" fmla="*/ 508705 h 7796"/>
                <a:gd name="T10" fmla="*/ 390889 w 6285"/>
                <a:gd name="T11" fmla="*/ 2806340 h 7796"/>
                <a:gd name="T12" fmla="*/ 0 w 6285"/>
                <a:gd name="T13" fmla="*/ 2806340 h 7796"/>
                <a:gd name="T14" fmla="*/ 0 w 6285"/>
                <a:gd name="T15" fmla="*/ 30602 h 7796"/>
                <a:gd name="T16" fmla="*/ 390889 w 6285"/>
                <a:gd name="T17" fmla="*/ 30602 h 7796"/>
                <a:gd name="T18" fmla="*/ 390889 w 6285"/>
                <a:gd name="T19" fmla="*/ 210611 h 7796"/>
                <a:gd name="T20" fmla="*/ 868882 w 6285"/>
                <a:gd name="T21" fmla="*/ 0 h 7796"/>
                <a:gd name="T22" fmla="*/ 1274888 w 6285"/>
                <a:gd name="T23" fmla="*/ 226091 h 7796"/>
                <a:gd name="T24" fmla="*/ 1804351 w 6285"/>
                <a:gd name="T25" fmla="*/ 0 h 7796"/>
                <a:gd name="T26" fmla="*/ 2261828 w 6285"/>
                <a:gd name="T27" fmla="*/ 488184 h 7796"/>
                <a:gd name="T28" fmla="*/ 2261828 w 6285"/>
                <a:gd name="T29" fmla="*/ 2806340 h 7796"/>
                <a:gd name="T30" fmla="*/ 1870939 w 6285"/>
                <a:gd name="T31" fmla="*/ 2806340 h 7796"/>
                <a:gd name="T32" fmla="*/ 1870939 w 6285"/>
                <a:gd name="T33" fmla="*/ 570628 h 7796"/>
                <a:gd name="T34" fmla="*/ 1685933 w 6285"/>
                <a:gd name="T35" fmla="*/ 370098 h 7796"/>
                <a:gd name="T36" fmla="*/ 1326358 w 6285"/>
                <a:gd name="T37" fmla="*/ 508705 h 7796"/>
                <a:gd name="T38" fmla="*/ 1326358 w 6285"/>
                <a:gd name="T39" fmla="*/ 2806340 h 779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6285" h="7796">
                  <a:moveTo>
                    <a:pt x="3685" y="7795"/>
                  </a:moveTo>
                  <a:lnTo>
                    <a:pt x="2599" y="7795"/>
                  </a:lnTo>
                  <a:lnTo>
                    <a:pt x="2599" y="1585"/>
                  </a:lnTo>
                  <a:cubicBezTo>
                    <a:pt x="2599" y="1199"/>
                    <a:pt x="2414" y="1028"/>
                    <a:pt x="2085" y="1028"/>
                  </a:cubicBezTo>
                  <a:cubicBezTo>
                    <a:pt x="1785" y="1028"/>
                    <a:pt x="1471" y="1142"/>
                    <a:pt x="1086" y="1413"/>
                  </a:cubicBezTo>
                  <a:lnTo>
                    <a:pt x="1086" y="7795"/>
                  </a:lnTo>
                  <a:lnTo>
                    <a:pt x="0" y="7795"/>
                  </a:lnTo>
                  <a:lnTo>
                    <a:pt x="0" y="85"/>
                  </a:lnTo>
                  <a:lnTo>
                    <a:pt x="1086" y="85"/>
                  </a:lnTo>
                  <a:lnTo>
                    <a:pt x="1086" y="585"/>
                  </a:lnTo>
                  <a:cubicBezTo>
                    <a:pt x="1400" y="285"/>
                    <a:pt x="1814" y="0"/>
                    <a:pt x="2414" y="0"/>
                  </a:cubicBezTo>
                  <a:cubicBezTo>
                    <a:pt x="2971" y="0"/>
                    <a:pt x="3342" y="228"/>
                    <a:pt x="3542" y="628"/>
                  </a:cubicBezTo>
                  <a:cubicBezTo>
                    <a:pt x="3928" y="299"/>
                    <a:pt x="4385" y="0"/>
                    <a:pt x="5013" y="0"/>
                  </a:cubicBezTo>
                  <a:cubicBezTo>
                    <a:pt x="5855" y="0"/>
                    <a:pt x="6284" y="514"/>
                    <a:pt x="6284" y="1356"/>
                  </a:cubicBezTo>
                  <a:lnTo>
                    <a:pt x="6284" y="7795"/>
                  </a:lnTo>
                  <a:lnTo>
                    <a:pt x="5198" y="7795"/>
                  </a:lnTo>
                  <a:lnTo>
                    <a:pt x="5198" y="1585"/>
                  </a:lnTo>
                  <a:cubicBezTo>
                    <a:pt x="5198" y="1199"/>
                    <a:pt x="5013" y="1028"/>
                    <a:pt x="4684" y="1028"/>
                  </a:cubicBezTo>
                  <a:cubicBezTo>
                    <a:pt x="4385" y="1028"/>
                    <a:pt x="4070" y="1142"/>
                    <a:pt x="3685" y="1413"/>
                  </a:cubicBezTo>
                  <a:lnTo>
                    <a:pt x="3685" y="7795"/>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endParaRPr lang="en-US" sz="1351"/>
            </a:p>
          </p:txBody>
        </p:sp>
        <p:sp>
          <p:nvSpPr>
            <p:cNvPr id="21" name="Freeform 5">
              <a:extLst>
                <a:ext uri="{FF2B5EF4-FFF2-40B4-BE49-F238E27FC236}">
                  <a16:creationId xmlns:a16="http://schemas.microsoft.com/office/drawing/2014/main" id="{50085C55-CFDE-25D7-6E07-E5A9F3557B09}"/>
                </a:ext>
              </a:extLst>
            </p:cNvPr>
            <p:cNvSpPr>
              <a:spLocks noChangeArrowheads="1"/>
            </p:cNvSpPr>
            <p:nvPr/>
          </p:nvSpPr>
          <p:spPr bwMode="auto">
            <a:xfrm>
              <a:off x="14288" y="2322513"/>
              <a:ext cx="1004887" cy="2274887"/>
            </a:xfrm>
            <a:custGeom>
              <a:avLst/>
              <a:gdLst>
                <a:gd name="T0" fmla="*/ 1004527 w 2790"/>
                <a:gd name="T1" fmla="*/ 0 h 6317"/>
                <a:gd name="T2" fmla="*/ 1004527 w 2790"/>
                <a:gd name="T3" fmla="*/ 510652 h 6317"/>
                <a:gd name="T4" fmla="*/ 346488 w 2790"/>
                <a:gd name="T5" fmla="*/ 1137624 h 6317"/>
                <a:gd name="T6" fmla="*/ 1004527 w 2790"/>
                <a:gd name="T7" fmla="*/ 1752711 h 6317"/>
                <a:gd name="T8" fmla="*/ 1004527 w 2790"/>
                <a:gd name="T9" fmla="*/ 2274527 h 6317"/>
                <a:gd name="T10" fmla="*/ 0 w 2790"/>
                <a:gd name="T11" fmla="*/ 1331009 h 6317"/>
                <a:gd name="T12" fmla="*/ 0 w 2790"/>
                <a:gd name="T13" fmla="*/ 955042 h 6317"/>
                <a:gd name="T14" fmla="*/ 1004527 w 2790"/>
                <a:gd name="T15" fmla="*/ 0 h 6317"/>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2790" h="6317">
                  <a:moveTo>
                    <a:pt x="2789" y="0"/>
                  </a:moveTo>
                  <a:lnTo>
                    <a:pt x="2789" y="1418"/>
                  </a:lnTo>
                  <a:lnTo>
                    <a:pt x="962" y="3159"/>
                  </a:lnTo>
                  <a:lnTo>
                    <a:pt x="2789" y="4867"/>
                  </a:lnTo>
                  <a:lnTo>
                    <a:pt x="2789" y="6316"/>
                  </a:lnTo>
                  <a:lnTo>
                    <a:pt x="0" y="3696"/>
                  </a:lnTo>
                  <a:lnTo>
                    <a:pt x="0" y="2652"/>
                  </a:lnTo>
                  <a:lnTo>
                    <a:pt x="2789"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endParaRPr lang="en-US" sz="1351"/>
            </a:p>
          </p:txBody>
        </p:sp>
        <p:sp>
          <p:nvSpPr>
            <p:cNvPr id="22" name="Freeform 6">
              <a:extLst>
                <a:ext uri="{FF2B5EF4-FFF2-40B4-BE49-F238E27FC236}">
                  <a16:creationId xmlns:a16="http://schemas.microsoft.com/office/drawing/2014/main" id="{EE554360-5576-477C-C827-24EE736385E8}"/>
                </a:ext>
              </a:extLst>
            </p:cNvPr>
            <p:cNvSpPr>
              <a:spLocks noChangeArrowheads="1"/>
            </p:cNvSpPr>
            <p:nvPr/>
          </p:nvSpPr>
          <p:spPr bwMode="auto">
            <a:xfrm>
              <a:off x="9050338" y="2322513"/>
              <a:ext cx="1003300" cy="2274887"/>
            </a:xfrm>
            <a:custGeom>
              <a:avLst/>
              <a:gdLst>
                <a:gd name="T0" fmla="*/ 1002940 w 2789"/>
                <a:gd name="T1" fmla="*/ 955042 h 6317"/>
                <a:gd name="T2" fmla="*/ 1002940 w 2789"/>
                <a:gd name="T3" fmla="*/ 1331009 h 6317"/>
                <a:gd name="T4" fmla="*/ 0 w 2789"/>
                <a:gd name="T5" fmla="*/ 2274527 h 6317"/>
                <a:gd name="T6" fmla="*/ 0 w 2789"/>
                <a:gd name="T7" fmla="*/ 1752711 h 6317"/>
                <a:gd name="T8" fmla="*/ 656876 w 2789"/>
                <a:gd name="T9" fmla="*/ 1137624 h 6317"/>
                <a:gd name="T10" fmla="*/ 0 w 2789"/>
                <a:gd name="T11" fmla="*/ 510652 h 6317"/>
                <a:gd name="T12" fmla="*/ 0 w 2789"/>
                <a:gd name="T13" fmla="*/ 0 h 6317"/>
                <a:gd name="T14" fmla="*/ 1002940 w 2789"/>
                <a:gd name="T15" fmla="*/ 955042 h 6317"/>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2789" h="6317">
                  <a:moveTo>
                    <a:pt x="2788" y="2652"/>
                  </a:moveTo>
                  <a:lnTo>
                    <a:pt x="2788" y="3696"/>
                  </a:lnTo>
                  <a:lnTo>
                    <a:pt x="0" y="6316"/>
                  </a:lnTo>
                  <a:lnTo>
                    <a:pt x="0" y="4867"/>
                  </a:lnTo>
                  <a:lnTo>
                    <a:pt x="1826" y="3159"/>
                  </a:lnTo>
                  <a:lnTo>
                    <a:pt x="0" y="1418"/>
                  </a:lnTo>
                  <a:lnTo>
                    <a:pt x="0" y="0"/>
                  </a:lnTo>
                  <a:lnTo>
                    <a:pt x="2788" y="2652"/>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endParaRPr lang="en-US" sz="1351"/>
            </a:p>
          </p:txBody>
        </p:sp>
      </p:grpSp>
      <p:pic>
        <p:nvPicPr>
          <p:cNvPr id="11" name="Graphic 2">
            <a:extLst>
              <a:ext uri="{FF2B5EF4-FFF2-40B4-BE49-F238E27FC236}">
                <a16:creationId xmlns:a16="http://schemas.microsoft.com/office/drawing/2014/main" id="{5F1D832C-F085-20C7-3936-4FFAA32EEEC3}"/>
              </a:ext>
            </a:extLst>
          </p:cNvPr>
          <p:cNvPicPr>
            <a:picLocks noChangeAspect="1"/>
          </p:cNvPicPr>
          <p:nvPr userDrawn="1"/>
        </p:nvPicPr>
        <p:blipFill>
          <a:blip r:embed="rId2"/>
          <a:srcRect/>
          <a:stretch/>
        </p:blipFill>
        <p:spPr>
          <a:xfrm>
            <a:off x="1677513" y="692958"/>
            <a:ext cx="908029" cy="245472"/>
          </a:xfrm>
          <a:prstGeom prst="rect">
            <a:avLst/>
          </a:prstGeom>
        </p:spPr>
      </p:pic>
    </p:spTree>
    <p:extLst>
      <p:ext uri="{BB962C8B-B14F-4D97-AF65-F5344CB8AC3E}">
        <p14:creationId xmlns:p14="http://schemas.microsoft.com/office/powerpoint/2010/main" val="3979260328"/>
      </p:ext>
    </p:extLst>
  </p:cSld>
  <p:clrMapOvr>
    <a:masterClrMapping/>
  </p:clrMapOvr>
  <p:extLst>
    <p:ext uri="{DCECCB84-F9BA-43D5-87BE-67443E8EF086}">
      <p15:sldGuideLst xmlns:p15="http://schemas.microsoft.com/office/powerpoint/2012/main"/>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Chart">
    <p:bg>
      <p:bgPr>
        <a:solidFill>
          <a:schemeClr val="tx1"/>
        </a:solidFill>
        <a:effectLst/>
      </p:bgPr>
    </p:bg>
    <p:spTree>
      <p:nvGrpSpPr>
        <p:cNvPr id="1" name=""/>
        <p:cNvGrpSpPr/>
        <p:nvPr/>
      </p:nvGrpSpPr>
      <p:grpSpPr>
        <a:xfrm>
          <a:off x="0" y="0"/>
          <a:ext cx="0" cy="0"/>
          <a:chOff x="0" y="0"/>
          <a:chExt cx="0" cy="0"/>
        </a:xfrm>
      </p:grpSpPr>
      <p:sp>
        <p:nvSpPr>
          <p:cNvPr id="7" name="Text Placeholder 3">
            <a:extLst>
              <a:ext uri="{FF2B5EF4-FFF2-40B4-BE49-F238E27FC236}">
                <a16:creationId xmlns:a16="http://schemas.microsoft.com/office/drawing/2014/main" id="{A959DAE7-B533-7C26-06A9-299565EE084B}"/>
              </a:ext>
            </a:extLst>
          </p:cNvPr>
          <p:cNvSpPr>
            <a:spLocks noGrp="1"/>
          </p:cNvSpPr>
          <p:nvPr>
            <p:ph type="body" sz="quarter" idx="27" hasCustomPrompt="1"/>
          </p:nvPr>
        </p:nvSpPr>
        <p:spPr>
          <a:xfrm>
            <a:off x="647700" y="1448687"/>
            <a:ext cx="10877993" cy="480060"/>
          </a:xfrm>
          <a:prstGeom prst="rect">
            <a:avLst/>
          </a:prstGeom>
        </p:spPr>
        <p:txBody>
          <a:bodyPr/>
          <a:lstStyle>
            <a:lvl1pPr>
              <a:defRPr sz="1800" b="1" i="0">
                <a:solidFill>
                  <a:schemeClr val="bg1"/>
                </a:solidFill>
                <a:latin typeface="Calibri" panose="020F0502020204030204" pitchFamily="34" charset="0"/>
                <a:cs typeface="Calibri" panose="020F0502020204030204" pitchFamily="34" charset="0"/>
              </a:defRPr>
            </a:lvl1pPr>
          </a:lstStyle>
          <a:p>
            <a:r>
              <a:rPr lang="en-US"/>
              <a:t>Lorem ipsum </a:t>
            </a:r>
            <a:r>
              <a:rPr lang="en-US" err="1"/>
              <a:t>nibh</a:t>
            </a:r>
            <a:r>
              <a:rPr lang="en-US"/>
              <a:t> </a:t>
            </a:r>
            <a:r>
              <a:rPr lang="en-US" err="1"/>
              <a:t>commodo</a:t>
            </a:r>
            <a:r>
              <a:rPr lang="en-US"/>
              <a:t> </a:t>
            </a:r>
            <a:r>
              <a:rPr lang="en-US" err="1"/>
              <a:t>aenean</a:t>
            </a:r>
            <a:r>
              <a:rPr lang="en-US"/>
              <a:t> </a:t>
            </a:r>
            <a:r>
              <a:rPr lang="en-US" err="1"/>
              <a:t>leo</a:t>
            </a:r>
            <a:r>
              <a:rPr lang="en-US"/>
              <a:t> porta </a:t>
            </a:r>
            <a:r>
              <a:rPr lang="en-US" err="1"/>
              <a:t>duis</a:t>
            </a:r>
            <a:r>
              <a:rPr lang="en-US"/>
              <a:t> magna </a:t>
            </a:r>
            <a:r>
              <a:rPr lang="en-US" err="1"/>
              <a:t>felis</a:t>
            </a:r>
            <a:r>
              <a:rPr lang="en-US"/>
              <a:t> </a:t>
            </a:r>
            <a:r>
              <a:rPr lang="en-US" err="1"/>
              <a:t>bibendum</a:t>
            </a:r>
            <a:r>
              <a:rPr lang="en-US"/>
              <a:t> </a:t>
            </a:r>
            <a:r>
              <a:rPr lang="en-US" err="1"/>
              <a:t>tempor</a:t>
            </a:r>
            <a:r>
              <a:rPr lang="en-US"/>
              <a:t>.</a:t>
            </a:r>
          </a:p>
        </p:txBody>
      </p:sp>
      <p:sp>
        <p:nvSpPr>
          <p:cNvPr id="2" name="Title 1">
            <a:extLst>
              <a:ext uri="{FF2B5EF4-FFF2-40B4-BE49-F238E27FC236}">
                <a16:creationId xmlns:a16="http://schemas.microsoft.com/office/drawing/2014/main" id="{E89CA500-D370-52E9-7C84-63911723C774}"/>
              </a:ext>
            </a:extLst>
          </p:cNvPr>
          <p:cNvSpPr>
            <a:spLocks noGrp="1"/>
          </p:cNvSpPr>
          <p:nvPr>
            <p:ph type="title" hasCustomPrompt="1"/>
          </p:nvPr>
        </p:nvSpPr>
        <p:spPr>
          <a:xfrm>
            <a:off x="633632" y="722843"/>
            <a:ext cx="10963056" cy="338554"/>
          </a:xfrm>
          <a:prstGeom prst="rect">
            <a:avLst/>
          </a:prstGeom>
        </p:spPr>
        <p:txBody>
          <a:bodyPr/>
          <a:lstStyle>
            <a:lvl1pPr>
              <a:defRPr lang="en-US" sz="2200" b="1" i="0" kern="1200" spc="0" dirty="0">
                <a:solidFill>
                  <a:schemeClr val="bg1"/>
                </a:solidFill>
                <a:effectLst/>
                <a:latin typeface="+mj-lt"/>
                <a:ea typeface="Calibri" panose="020F0502020204030204" pitchFamily="34" charset="0"/>
                <a:cs typeface="Calibri" panose="020F0502020204030204" pitchFamily="34" charset="0"/>
              </a:defRPr>
            </a:lvl1pPr>
          </a:lstStyle>
          <a:p>
            <a:pPr marL="0" lvl="0" indent="0" algn="l" defTabSz="914400" rtl="0" eaLnBrk="1" latinLnBrk="0" hangingPunct="1">
              <a:lnSpc>
                <a:spcPct val="100000"/>
              </a:lnSpc>
              <a:spcBef>
                <a:spcPts val="0"/>
              </a:spcBef>
              <a:spcAft>
                <a:spcPts val="0"/>
              </a:spcAft>
              <a:buFont typeface="Arial" panose="020B0604020202020204" pitchFamily="34" charset="0"/>
              <a:buNone/>
            </a:pPr>
            <a:r>
              <a:rPr lang="en-US">
                <a:effectLst/>
              </a:rPr>
              <a:t>Title Goes Here</a:t>
            </a:r>
            <a:endParaRPr lang="en-US"/>
          </a:p>
        </p:txBody>
      </p:sp>
      <p:sp>
        <p:nvSpPr>
          <p:cNvPr id="4" name="Text Placeholder 10">
            <a:extLst>
              <a:ext uri="{FF2B5EF4-FFF2-40B4-BE49-F238E27FC236}">
                <a16:creationId xmlns:a16="http://schemas.microsoft.com/office/drawing/2014/main" id="{8500256B-E87B-3621-CB3B-AAAFA7AD9F8F}"/>
              </a:ext>
            </a:extLst>
          </p:cNvPr>
          <p:cNvSpPr>
            <a:spLocks noGrp="1"/>
          </p:cNvSpPr>
          <p:nvPr>
            <p:ph type="body" sz="quarter" idx="28" hasCustomPrompt="1"/>
          </p:nvPr>
        </p:nvSpPr>
        <p:spPr>
          <a:xfrm>
            <a:off x="633632" y="419100"/>
            <a:ext cx="3611880" cy="225706"/>
          </a:xfrm>
          <a:prstGeom prst="rect">
            <a:avLst/>
          </a:prstGeom>
        </p:spPr>
        <p:txBody>
          <a:bodyPr/>
          <a:lstStyle>
            <a:lvl1pPr>
              <a:spcBef>
                <a:spcPts val="0"/>
              </a:spcBef>
              <a:defRPr lang="en-US" sz="1000" b="0" i="0" kern="1200" cap="all" spc="300" baseline="0" dirty="0">
                <a:solidFill>
                  <a:schemeClr val="bg1"/>
                </a:solidFill>
                <a:latin typeface="Calibri" panose="020F0502020204030204" pitchFamily="34" charset="0"/>
                <a:ea typeface="Calibri" panose="020F0502020204030204" pitchFamily="34" charset="0"/>
                <a:cs typeface="Calibri" panose="020F0502020204030204" pitchFamily="34" charset="0"/>
              </a:defRPr>
            </a:lvl1pPr>
          </a:lstStyle>
          <a:p>
            <a:pPr marL="0" lvl="0" indent="0" algn="l" defTabSz="914400" rtl="0" eaLnBrk="1" latinLnBrk="0" hangingPunct="1">
              <a:lnSpc>
                <a:spcPct val="100000"/>
              </a:lnSpc>
              <a:spcBef>
                <a:spcPts val="600"/>
              </a:spcBef>
              <a:spcAft>
                <a:spcPts val="0"/>
              </a:spcAft>
              <a:buFont typeface="Arial" panose="020B0604020202020204" pitchFamily="34" charset="0"/>
              <a:buNone/>
            </a:pPr>
            <a:r>
              <a:rPr lang="en-US"/>
              <a:t>Click to add section title</a:t>
            </a:r>
          </a:p>
        </p:txBody>
      </p:sp>
      <p:grpSp>
        <p:nvGrpSpPr>
          <p:cNvPr id="3" name="Group 2">
            <a:extLst>
              <a:ext uri="{FF2B5EF4-FFF2-40B4-BE49-F238E27FC236}">
                <a16:creationId xmlns:a16="http://schemas.microsoft.com/office/drawing/2014/main" id="{81C0CBC4-1AC6-BFD8-1409-629859F7A228}"/>
              </a:ext>
            </a:extLst>
          </p:cNvPr>
          <p:cNvGrpSpPr/>
          <p:nvPr userDrawn="1"/>
        </p:nvGrpSpPr>
        <p:grpSpPr>
          <a:xfrm>
            <a:off x="610888" y="6472556"/>
            <a:ext cx="372834" cy="131175"/>
            <a:chOff x="14288" y="2035175"/>
            <a:chExt cx="10039350" cy="3532188"/>
          </a:xfrm>
          <a:solidFill>
            <a:schemeClr val="bg1"/>
          </a:solidFill>
        </p:grpSpPr>
        <p:sp>
          <p:nvSpPr>
            <p:cNvPr id="5" name="Freeform 1">
              <a:extLst>
                <a:ext uri="{FF2B5EF4-FFF2-40B4-BE49-F238E27FC236}">
                  <a16:creationId xmlns:a16="http://schemas.microsoft.com/office/drawing/2014/main" id="{66ACA554-C1C5-67D5-57B2-F595A1C563D2}"/>
                </a:ext>
              </a:extLst>
            </p:cNvPr>
            <p:cNvSpPr>
              <a:spLocks noChangeArrowheads="1"/>
            </p:cNvSpPr>
            <p:nvPr/>
          </p:nvSpPr>
          <p:spPr bwMode="auto">
            <a:xfrm>
              <a:off x="1519238" y="2035175"/>
              <a:ext cx="1336675" cy="2836863"/>
            </a:xfrm>
            <a:custGeom>
              <a:avLst/>
              <a:gdLst>
                <a:gd name="T0" fmla="*/ 390493 w 3714"/>
                <a:gd name="T1" fmla="*/ 1200682 h 7882"/>
                <a:gd name="T2" fmla="*/ 945462 w 3714"/>
                <a:gd name="T3" fmla="*/ 1200682 h 7882"/>
                <a:gd name="T4" fmla="*/ 945462 w 3714"/>
                <a:gd name="T5" fmla="*/ 611498 h 7882"/>
                <a:gd name="T6" fmla="*/ 698929 w 3714"/>
                <a:gd name="T7" fmla="*/ 364596 h 7882"/>
                <a:gd name="T8" fmla="*/ 637386 w 3714"/>
                <a:gd name="T9" fmla="*/ 364596 h 7882"/>
                <a:gd name="T10" fmla="*/ 390493 w 3714"/>
                <a:gd name="T11" fmla="*/ 611498 h 7882"/>
                <a:gd name="T12" fmla="*/ 390493 w 3714"/>
                <a:gd name="T13" fmla="*/ 1200682 h 7882"/>
                <a:gd name="T14" fmla="*/ 389414 w 3714"/>
                <a:gd name="T15" fmla="*/ 1576795 h 7882"/>
                <a:gd name="T16" fmla="*/ 390493 w 3714"/>
                <a:gd name="T17" fmla="*/ 2224645 h 7882"/>
                <a:gd name="T18" fmla="*/ 637386 w 3714"/>
                <a:gd name="T19" fmla="*/ 2471548 h 7882"/>
                <a:gd name="T20" fmla="*/ 709366 w 3714"/>
                <a:gd name="T21" fmla="*/ 2471548 h 7882"/>
                <a:gd name="T22" fmla="*/ 955899 w 3714"/>
                <a:gd name="T23" fmla="*/ 2224645 h 7882"/>
                <a:gd name="T24" fmla="*/ 955899 w 3714"/>
                <a:gd name="T25" fmla="*/ 1906119 h 7882"/>
                <a:gd name="T26" fmla="*/ 1336315 w 3714"/>
                <a:gd name="T27" fmla="*/ 1906119 h 7882"/>
                <a:gd name="T28" fmla="*/ 1336315 w 3714"/>
                <a:gd name="T29" fmla="*/ 2209528 h 7882"/>
                <a:gd name="T30" fmla="*/ 709366 w 3714"/>
                <a:gd name="T31" fmla="*/ 2836503 h 7882"/>
                <a:gd name="T32" fmla="*/ 626949 w 3714"/>
                <a:gd name="T33" fmla="*/ 2836503 h 7882"/>
                <a:gd name="T34" fmla="*/ 0 w 3714"/>
                <a:gd name="T35" fmla="*/ 2258117 h 7882"/>
                <a:gd name="T36" fmla="*/ 0 w 3714"/>
                <a:gd name="T37" fmla="*/ 675564 h 7882"/>
                <a:gd name="T38" fmla="*/ 626949 w 3714"/>
                <a:gd name="T39" fmla="*/ 0 h 7882"/>
                <a:gd name="T40" fmla="*/ 709366 w 3714"/>
                <a:gd name="T41" fmla="*/ 0 h 7882"/>
                <a:gd name="T42" fmla="*/ 1336315 w 3714"/>
                <a:gd name="T43" fmla="*/ 626975 h 7882"/>
                <a:gd name="T44" fmla="*/ 1334875 w 3714"/>
                <a:gd name="T45" fmla="*/ 1576795 h 7882"/>
                <a:gd name="T46" fmla="*/ 389414 w 3714"/>
                <a:gd name="T47" fmla="*/ 1576795 h 7882"/>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3714" h="7882">
                  <a:moveTo>
                    <a:pt x="1085" y="3336"/>
                  </a:moveTo>
                  <a:lnTo>
                    <a:pt x="2627" y="3336"/>
                  </a:lnTo>
                  <a:lnTo>
                    <a:pt x="2627" y="1699"/>
                  </a:lnTo>
                  <a:cubicBezTo>
                    <a:pt x="2627" y="1242"/>
                    <a:pt x="2399" y="1013"/>
                    <a:pt x="1942" y="1013"/>
                  </a:cubicBezTo>
                  <a:lnTo>
                    <a:pt x="1771" y="1013"/>
                  </a:lnTo>
                  <a:cubicBezTo>
                    <a:pt x="1314" y="1013"/>
                    <a:pt x="1085" y="1242"/>
                    <a:pt x="1085" y="1699"/>
                  </a:cubicBezTo>
                  <a:lnTo>
                    <a:pt x="1085" y="3336"/>
                  </a:lnTo>
                  <a:close/>
                  <a:moveTo>
                    <a:pt x="1082" y="4381"/>
                  </a:moveTo>
                  <a:lnTo>
                    <a:pt x="1085" y="6181"/>
                  </a:lnTo>
                  <a:cubicBezTo>
                    <a:pt x="1085" y="6638"/>
                    <a:pt x="1314" y="6867"/>
                    <a:pt x="1771" y="6867"/>
                  </a:cubicBezTo>
                  <a:lnTo>
                    <a:pt x="1971" y="6867"/>
                  </a:lnTo>
                  <a:cubicBezTo>
                    <a:pt x="2428" y="6867"/>
                    <a:pt x="2656" y="6638"/>
                    <a:pt x="2656" y="6181"/>
                  </a:cubicBezTo>
                  <a:lnTo>
                    <a:pt x="2656" y="5296"/>
                  </a:lnTo>
                  <a:lnTo>
                    <a:pt x="3713" y="5296"/>
                  </a:lnTo>
                  <a:lnTo>
                    <a:pt x="3713" y="6139"/>
                  </a:lnTo>
                  <a:cubicBezTo>
                    <a:pt x="3713" y="7295"/>
                    <a:pt x="3127" y="7881"/>
                    <a:pt x="1971" y="7881"/>
                  </a:cubicBezTo>
                  <a:lnTo>
                    <a:pt x="1742" y="7881"/>
                  </a:lnTo>
                  <a:cubicBezTo>
                    <a:pt x="585" y="7881"/>
                    <a:pt x="0" y="7295"/>
                    <a:pt x="0" y="6274"/>
                  </a:cubicBezTo>
                  <a:lnTo>
                    <a:pt x="0" y="1877"/>
                  </a:lnTo>
                  <a:cubicBezTo>
                    <a:pt x="0" y="585"/>
                    <a:pt x="585" y="0"/>
                    <a:pt x="1742" y="0"/>
                  </a:cubicBezTo>
                  <a:lnTo>
                    <a:pt x="1971" y="0"/>
                  </a:lnTo>
                  <a:cubicBezTo>
                    <a:pt x="3127" y="0"/>
                    <a:pt x="3713" y="585"/>
                    <a:pt x="3713" y="1742"/>
                  </a:cubicBezTo>
                  <a:lnTo>
                    <a:pt x="3709" y="4381"/>
                  </a:lnTo>
                  <a:lnTo>
                    <a:pt x="1082" y="4381"/>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endParaRPr lang="en-US"/>
            </a:p>
          </p:txBody>
        </p:sp>
        <p:sp>
          <p:nvSpPr>
            <p:cNvPr id="6" name="Freeform 2">
              <a:extLst>
                <a:ext uri="{FF2B5EF4-FFF2-40B4-BE49-F238E27FC236}">
                  <a16:creationId xmlns:a16="http://schemas.microsoft.com/office/drawing/2014/main" id="{3DF39D14-7782-1A2A-5247-9C8CA2E041D5}"/>
                </a:ext>
              </a:extLst>
            </p:cNvPr>
            <p:cNvSpPr>
              <a:spLocks noChangeArrowheads="1"/>
            </p:cNvSpPr>
            <p:nvPr/>
          </p:nvSpPr>
          <p:spPr bwMode="auto">
            <a:xfrm>
              <a:off x="3109913" y="2035175"/>
              <a:ext cx="1368425" cy="3532188"/>
            </a:xfrm>
            <a:custGeom>
              <a:avLst/>
              <a:gdLst>
                <a:gd name="T0" fmla="*/ 390721 w 3800"/>
                <a:gd name="T1" fmla="*/ 2322993 h 9812"/>
                <a:gd name="T2" fmla="*/ 750833 w 3800"/>
                <a:gd name="T3" fmla="*/ 2466628 h 9812"/>
                <a:gd name="T4" fmla="*/ 976983 w 3800"/>
                <a:gd name="T5" fmla="*/ 2240556 h 9812"/>
                <a:gd name="T6" fmla="*/ 976983 w 3800"/>
                <a:gd name="T7" fmla="*/ 596138 h 9812"/>
                <a:gd name="T8" fmla="*/ 750833 w 3800"/>
                <a:gd name="T9" fmla="*/ 370066 h 9812"/>
                <a:gd name="T10" fmla="*/ 390721 w 3800"/>
                <a:gd name="T11" fmla="*/ 514061 h 9812"/>
                <a:gd name="T12" fmla="*/ 390721 w 3800"/>
                <a:gd name="T13" fmla="*/ 2322993 h 9812"/>
                <a:gd name="T14" fmla="*/ 0 w 3800"/>
                <a:gd name="T15" fmla="*/ 30599 h 9812"/>
                <a:gd name="T16" fmla="*/ 390721 w 3800"/>
                <a:gd name="T17" fmla="*/ 30599 h 9812"/>
                <a:gd name="T18" fmla="*/ 390721 w 3800"/>
                <a:gd name="T19" fmla="*/ 210592 h 9812"/>
                <a:gd name="T20" fmla="*/ 868950 w 3800"/>
                <a:gd name="T21" fmla="*/ 0 h 9812"/>
                <a:gd name="T22" fmla="*/ 1368065 w 3800"/>
                <a:gd name="T23" fmla="*/ 549699 h 9812"/>
                <a:gd name="T24" fmla="*/ 1368065 w 3800"/>
                <a:gd name="T25" fmla="*/ 2286995 h 9812"/>
                <a:gd name="T26" fmla="*/ 868950 w 3800"/>
                <a:gd name="T27" fmla="*/ 2837054 h 9812"/>
                <a:gd name="T28" fmla="*/ 390721 w 3800"/>
                <a:gd name="T29" fmla="*/ 2636541 h 9812"/>
                <a:gd name="T30" fmla="*/ 390721 w 3800"/>
                <a:gd name="T31" fmla="*/ 3531828 h 9812"/>
                <a:gd name="T32" fmla="*/ 0 w 3800"/>
                <a:gd name="T33" fmla="*/ 3531828 h 9812"/>
                <a:gd name="T34" fmla="*/ 0 w 3800"/>
                <a:gd name="T35" fmla="*/ 30599 h 9812"/>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3800" h="9812">
                  <a:moveTo>
                    <a:pt x="1085" y="6453"/>
                  </a:moveTo>
                  <a:cubicBezTo>
                    <a:pt x="1385" y="6710"/>
                    <a:pt x="1728" y="6852"/>
                    <a:pt x="2085" y="6852"/>
                  </a:cubicBezTo>
                  <a:cubicBezTo>
                    <a:pt x="2485" y="6852"/>
                    <a:pt x="2713" y="6667"/>
                    <a:pt x="2713" y="6224"/>
                  </a:cubicBezTo>
                  <a:lnTo>
                    <a:pt x="2713" y="1656"/>
                  </a:lnTo>
                  <a:cubicBezTo>
                    <a:pt x="2713" y="1213"/>
                    <a:pt x="2485" y="1028"/>
                    <a:pt x="2085" y="1028"/>
                  </a:cubicBezTo>
                  <a:cubicBezTo>
                    <a:pt x="1728" y="1028"/>
                    <a:pt x="1385" y="1170"/>
                    <a:pt x="1085" y="1428"/>
                  </a:cubicBezTo>
                  <a:lnTo>
                    <a:pt x="1085" y="6453"/>
                  </a:lnTo>
                  <a:close/>
                  <a:moveTo>
                    <a:pt x="0" y="85"/>
                  </a:moveTo>
                  <a:lnTo>
                    <a:pt x="1085" y="85"/>
                  </a:lnTo>
                  <a:lnTo>
                    <a:pt x="1085" y="585"/>
                  </a:lnTo>
                  <a:cubicBezTo>
                    <a:pt x="1342" y="314"/>
                    <a:pt x="1785" y="0"/>
                    <a:pt x="2413" y="0"/>
                  </a:cubicBezTo>
                  <a:cubicBezTo>
                    <a:pt x="3342" y="0"/>
                    <a:pt x="3799" y="614"/>
                    <a:pt x="3799" y="1527"/>
                  </a:cubicBezTo>
                  <a:lnTo>
                    <a:pt x="3799" y="6353"/>
                  </a:lnTo>
                  <a:cubicBezTo>
                    <a:pt x="3799" y="7267"/>
                    <a:pt x="3342" y="7881"/>
                    <a:pt x="2413" y="7881"/>
                  </a:cubicBezTo>
                  <a:cubicBezTo>
                    <a:pt x="1785" y="7881"/>
                    <a:pt x="1342" y="7581"/>
                    <a:pt x="1085" y="7324"/>
                  </a:cubicBezTo>
                  <a:lnTo>
                    <a:pt x="1085" y="9811"/>
                  </a:lnTo>
                  <a:lnTo>
                    <a:pt x="0" y="9811"/>
                  </a:lnTo>
                  <a:lnTo>
                    <a:pt x="0" y="85"/>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endParaRPr lang="en-US"/>
            </a:p>
          </p:txBody>
        </p:sp>
        <p:sp>
          <p:nvSpPr>
            <p:cNvPr id="8" name="Freeform 3">
              <a:extLst>
                <a:ext uri="{FF2B5EF4-FFF2-40B4-BE49-F238E27FC236}">
                  <a16:creationId xmlns:a16="http://schemas.microsoft.com/office/drawing/2014/main" id="{A87D05A3-DEA1-7407-3651-E72D1EADC562}"/>
                </a:ext>
              </a:extLst>
            </p:cNvPr>
            <p:cNvSpPr>
              <a:spLocks noChangeArrowheads="1"/>
            </p:cNvSpPr>
            <p:nvPr/>
          </p:nvSpPr>
          <p:spPr bwMode="auto">
            <a:xfrm>
              <a:off x="4711700" y="2035175"/>
              <a:ext cx="1328738" cy="2836863"/>
            </a:xfrm>
            <a:custGeom>
              <a:avLst/>
              <a:gdLst>
                <a:gd name="T0" fmla="*/ 937679 w 3690"/>
                <a:gd name="T1" fmla="*/ 2338019 h 7882"/>
                <a:gd name="T2" fmla="*/ 937679 w 3690"/>
                <a:gd name="T3" fmla="*/ 1422750 h 7882"/>
                <a:gd name="T4" fmla="*/ 582988 w 3690"/>
                <a:gd name="T5" fmla="*/ 1556999 h 7882"/>
                <a:gd name="T6" fmla="*/ 392500 w 3690"/>
                <a:gd name="T7" fmla="*/ 1844573 h 7882"/>
                <a:gd name="T8" fmla="*/ 392500 w 3690"/>
                <a:gd name="T9" fmla="*/ 2266035 h 7882"/>
                <a:gd name="T10" fmla="*/ 582988 w 3690"/>
                <a:gd name="T11" fmla="*/ 2466149 h 7882"/>
                <a:gd name="T12" fmla="*/ 937679 w 3690"/>
                <a:gd name="T13" fmla="*/ 2338019 h 7882"/>
                <a:gd name="T14" fmla="*/ 2161 w 3690"/>
                <a:gd name="T15" fmla="*/ 1839174 h 7882"/>
                <a:gd name="T16" fmla="*/ 413025 w 3690"/>
                <a:gd name="T17" fmla="*/ 1253950 h 7882"/>
                <a:gd name="T18" fmla="*/ 937679 w 3690"/>
                <a:gd name="T19" fmla="*/ 1073991 h 7882"/>
                <a:gd name="T20" fmla="*/ 937679 w 3690"/>
                <a:gd name="T21" fmla="*/ 611498 h 7882"/>
                <a:gd name="T22" fmla="*/ 690656 w 3690"/>
                <a:gd name="T23" fmla="*/ 359557 h 7882"/>
                <a:gd name="T24" fmla="*/ 627280 w 3690"/>
                <a:gd name="T25" fmla="*/ 359557 h 7882"/>
                <a:gd name="T26" fmla="*/ 380257 w 3690"/>
                <a:gd name="T27" fmla="*/ 611498 h 7882"/>
                <a:gd name="T28" fmla="*/ 380257 w 3690"/>
                <a:gd name="T29" fmla="*/ 1004527 h 7882"/>
                <a:gd name="T30" fmla="*/ 0 w 3690"/>
                <a:gd name="T31" fmla="*/ 1004527 h 7882"/>
                <a:gd name="T32" fmla="*/ 0 w 3690"/>
                <a:gd name="T33" fmla="*/ 626975 h 7882"/>
                <a:gd name="T34" fmla="*/ 627280 w 3690"/>
                <a:gd name="T35" fmla="*/ 0 h 7882"/>
                <a:gd name="T36" fmla="*/ 701098 w 3690"/>
                <a:gd name="T37" fmla="*/ 0 h 7882"/>
                <a:gd name="T38" fmla="*/ 1328378 w 3690"/>
                <a:gd name="T39" fmla="*/ 626975 h 7882"/>
                <a:gd name="T40" fmla="*/ 1328378 w 3690"/>
                <a:gd name="T41" fmla="*/ 2805550 h 7882"/>
                <a:gd name="T42" fmla="*/ 937679 w 3690"/>
                <a:gd name="T43" fmla="*/ 2805550 h 7882"/>
                <a:gd name="T44" fmla="*/ 937679 w 3690"/>
                <a:gd name="T45" fmla="*/ 2630631 h 7882"/>
                <a:gd name="T46" fmla="*/ 459477 w 3690"/>
                <a:gd name="T47" fmla="*/ 2836503 h 7882"/>
                <a:gd name="T48" fmla="*/ 2161 w 3690"/>
                <a:gd name="T49" fmla="*/ 2348096 h 7882"/>
                <a:gd name="T50" fmla="*/ 2161 w 3690"/>
                <a:gd name="T51" fmla="*/ 1839174 h 7882"/>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3690" h="7882">
                  <a:moveTo>
                    <a:pt x="2604" y="6496"/>
                  </a:moveTo>
                  <a:lnTo>
                    <a:pt x="2604" y="3953"/>
                  </a:lnTo>
                  <a:lnTo>
                    <a:pt x="1619" y="4326"/>
                  </a:lnTo>
                  <a:cubicBezTo>
                    <a:pt x="1219" y="4483"/>
                    <a:pt x="1090" y="4683"/>
                    <a:pt x="1090" y="5125"/>
                  </a:cubicBezTo>
                  <a:lnTo>
                    <a:pt x="1090" y="6296"/>
                  </a:lnTo>
                  <a:cubicBezTo>
                    <a:pt x="1090" y="6667"/>
                    <a:pt x="1276" y="6852"/>
                    <a:pt x="1619" y="6852"/>
                  </a:cubicBezTo>
                  <a:cubicBezTo>
                    <a:pt x="1947" y="6852"/>
                    <a:pt x="2247" y="6738"/>
                    <a:pt x="2604" y="6496"/>
                  </a:cubicBezTo>
                  <a:close/>
                  <a:moveTo>
                    <a:pt x="6" y="5110"/>
                  </a:moveTo>
                  <a:cubicBezTo>
                    <a:pt x="6" y="4155"/>
                    <a:pt x="320" y="3769"/>
                    <a:pt x="1147" y="3484"/>
                  </a:cubicBezTo>
                  <a:lnTo>
                    <a:pt x="2604" y="2984"/>
                  </a:lnTo>
                  <a:lnTo>
                    <a:pt x="2604" y="1699"/>
                  </a:lnTo>
                  <a:cubicBezTo>
                    <a:pt x="2604" y="1242"/>
                    <a:pt x="2375" y="999"/>
                    <a:pt x="1918" y="999"/>
                  </a:cubicBezTo>
                  <a:lnTo>
                    <a:pt x="1742" y="999"/>
                  </a:lnTo>
                  <a:cubicBezTo>
                    <a:pt x="1285" y="999"/>
                    <a:pt x="1056" y="1242"/>
                    <a:pt x="1056" y="1699"/>
                  </a:cubicBezTo>
                  <a:lnTo>
                    <a:pt x="1056" y="2791"/>
                  </a:lnTo>
                  <a:lnTo>
                    <a:pt x="0" y="2791"/>
                  </a:lnTo>
                  <a:lnTo>
                    <a:pt x="0" y="1742"/>
                  </a:lnTo>
                  <a:cubicBezTo>
                    <a:pt x="0" y="585"/>
                    <a:pt x="586" y="0"/>
                    <a:pt x="1742" y="0"/>
                  </a:cubicBezTo>
                  <a:lnTo>
                    <a:pt x="1947" y="0"/>
                  </a:lnTo>
                  <a:cubicBezTo>
                    <a:pt x="3104" y="0"/>
                    <a:pt x="3689" y="585"/>
                    <a:pt x="3689" y="1742"/>
                  </a:cubicBezTo>
                  <a:lnTo>
                    <a:pt x="3689" y="7795"/>
                  </a:lnTo>
                  <a:lnTo>
                    <a:pt x="2604" y="7795"/>
                  </a:lnTo>
                  <a:lnTo>
                    <a:pt x="2604" y="7309"/>
                  </a:lnTo>
                  <a:cubicBezTo>
                    <a:pt x="2304" y="7595"/>
                    <a:pt x="1904" y="7881"/>
                    <a:pt x="1276" y="7881"/>
                  </a:cubicBezTo>
                  <a:cubicBezTo>
                    <a:pt x="406" y="7881"/>
                    <a:pt x="6" y="7381"/>
                    <a:pt x="6" y="6524"/>
                  </a:cubicBezTo>
                  <a:lnTo>
                    <a:pt x="6" y="5110"/>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endParaRPr lang="en-US"/>
            </a:p>
          </p:txBody>
        </p:sp>
        <p:sp>
          <p:nvSpPr>
            <p:cNvPr id="9" name="Freeform 4">
              <a:extLst>
                <a:ext uri="{FF2B5EF4-FFF2-40B4-BE49-F238E27FC236}">
                  <a16:creationId xmlns:a16="http://schemas.microsoft.com/office/drawing/2014/main" id="{C2BFF9DC-8FB6-EFA9-E0C4-9024B4EBD6FE}"/>
                </a:ext>
              </a:extLst>
            </p:cNvPr>
            <p:cNvSpPr>
              <a:spLocks noChangeArrowheads="1"/>
            </p:cNvSpPr>
            <p:nvPr/>
          </p:nvSpPr>
          <p:spPr bwMode="auto">
            <a:xfrm>
              <a:off x="6292850" y="2035175"/>
              <a:ext cx="2262188" cy="2806700"/>
            </a:xfrm>
            <a:custGeom>
              <a:avLst/>
              <a:gdLst>
                <a:gd name="T0" fmla="*/ 1326358 w 6285"/>
                <a:gd name="T1" fmla="*/ 2806340 h 7796"/>
                <a:gd name="T2" fmla="*/ 935470 w 6285"/>
                <a:gd name="T3" fmla="*/ 2806340 h 7796"/>
                <a:gd name="T4" fmla="*/ 935470 w 6285"/>
                <a:gd name="T5" fmla="*/ 570628 h 7796"/>
                <a:gd name="T6" fmla="*/ 750463 w 6285"/>
                <a:gd name="T7" fmla="*/ 370098 h 7796"/>
                <a:gd name="T8" fmla="*/ 390889 w 6285"/>
                <a:gd name="T9" fmla="*/ 508705 h 7796"/>
                <a:gd name="T10" fmla="*/ 390889 w 6285"/>
                <a:gd name="T11" fmla="*/ 2806340 h 7796"/>
                <a:gd name="T12" fmla="*/ 0 w 6285"/>
                <a:gd name="T13" fmla="*/ 2806340 h 7796"/>
                <a:gd name="T14" fmla="*/ 0 w 6285"/>
                <a:gd name="T15" fmla="*/ 30602 h 7796"/>
                <a:gd name="T16" fmla="*/ 390889 w 6285"/>
                <a:gd name="T17" fmla="*/ 30602 h 7796"/>
                <a:gd name="T18" fmla="*/ 390889 w 6285"/>
                <a:gd name="T19" fmla="*/ 210611 h 7796"/>
                <a:gd name="T20" fmla="*/ 868882 w 6285"/>
                <a:gd name="T21" fmla="*/ 0 h 7796"/>
                <a:gd name="T22" fmla="*/ 1274888 w 6285"/>
                <a:gd name="T23" fmla="*/ 226091 h 7796"/>
                <a:gd name="T24" fmla="*/ 1804351 w 6285"/>
                <a:gd name="T25" fmla="*/ 0 h 7796"/>
                <a:gd name="T26" fmla="*/ 2261828 w 6285"/>
                <a:gd name="T27" fmla="*/ 488184 h 7796"/>
                <a:gd name="T28" fmla="*/ 2261828 w 6285"/>
                <a:gd name="T29" fmla="*/ 2806340 h 7796"/>
                <a:gd name="T30" fmla="*/ 1870939 w 6285"/>
                <a:gd name="T31" fmla="*/ 2806340 h 7796"/>
                <a:gd name="T32" fmla="*/ 1870939 w 6285"/>
                <a:gd name="T33" fmla="*/ 570628 h 7796"/>
                <a:gd name="T34" fmla="*/ 1685933 w 6285"/>
                <a:gd name="T35" fmla="*/ 370098 h 7796"/>
                <a:gd name="T36" fmla="*/ 1326358 w 6285"/>
                <a:gd name="T37" fmla="*/ 508705 h 7796"/>
                <a:gd name="T38" fmla="*/ 1326358 w 6285"/>
                <a:gd name="T39" fmla="*/ 2806340 h 779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6285" h="7796">
                  <a:moveTo>
                    <a:pt x="3685" y="7795"/>
                  </a:moveTo>
                  <a:lnTo>
                    <a:pt x="2599" y="7795"/>
                  </a:lnTo>
                  <a:lnTo>
                    <a:pt x="2599" y="1585"/>
                  </a:lnTo>
                  <a:cubicBezTo>
                    <a:pt x="2599" y="1199"/>
                    <a:pt x="2414" y="1028"/>
                    <a:pt x="2085" y="1028"/>
                  </a:cubicBezTo>
                  <a:cubicBezTo>
                    <a:pt x="1785" y="1028"/>
                    <a:pt x="1471" y="1142"/>
                    <a:pt x="1086" y="1413"/>
                  </a:cubicBezTo>
                  <a:lnTo>
                    <a:pt x="1086" y="7795"/>
                  </a:lnTo>
                  <a:lnTo>
                    <a:pt x="0" y="7795"/>
                  </a:lnTo>
                  <a:lnTo>
                    <a:pt x="0" y="85"/>
                  </a:lnTo>
                  <a:lnTo>
                    <a:pt x="1086" y="85"/>
                  </a:lnTo>
                  <a:lnTo>
                    <a:pt x="1086" y="585"/>
                  </a:lnTo>
                  <a:cubicBezTo>
                    <a:pt x="1400" y="285"/>
                    <a:pt x="1814" y="0"/>
                    <a:pt x="2414" y="0"/>
                  </a:cubicBezTo>
                  <a:cubicBezTo>
                    <a:pt x="2971" y="0"/>
                    <a:pt x="3342" y="228"/>
                    <a:pt x="3542" y="628"/>
                  </a:cubicBezTo>
                  <a:cubicBezTo>
                    <a:pt x="3928" y="299"/>
                    <a:pt x="4385" y="0"/>
                    <a:pt x="5013" y="0"/>
                  </a:cubicBezTo>
                  <a:cubicBezTo>
                    <a:pt x="5855" y="0"/>
                    <a:pt x="6284" y="514"/>
                    <a:pt x="6284" y="1356"/>
                  </a:cubicBezTo>
                  <a:lnTo>
                    <a:pt x="6284" y="7795"/>
                  </a:lnTo>
                  <a:lnTo>
                    <a:pt x="5198" y="7795"/>
                  </a:lnTo>
                  <a:lnTo>
                    <a:pt x="5198" y="1585"/>
                  </a:lnTo>
                  <a:cubicBezTo>
                    <a:pt x="5198" y="1199"/>
                    <a:pt x="5013" y="1028"/>
                    <a:pt x="4684" y="1028"/>
                  </a:cubicBezTo>
                  <a:cubicBezTo>
                    <a:pt x="4385" y="1028"/>
                    <a:pt x="4070" y="1142"/>
                    <a:pt x="3685" y="1413"/>
                  </a:cubicBezTo>
                  <a:lnTo>
                    <a:pt x="3685" y="7795"/>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endParaRPr lang="en-US"/>
            </a:p>
          </p:txBody>
        </p:sp>
        <p:sp>
          <p:nvSpPr>
            <p:cNvPr id="10" name="Freeform 5">
              <a:extLst>
                <a:ext uri="{FF2B5EF4-FFF2-40B4-BE49-F238E27FC236}">
                  <a16:creationId xmlns:a16="http://schemas.microsoft.com/office/drawing/2014/main" id="{59D5AB19-68B8-D023-D549-BD20EE3747CD}"/>
                </a:ext>
              </a:extLst>
            </p:cNvPr>
            <p:cNvSpPr>
              <a:spLocks noChangeArrowheads="1"/>
            </p:cNvSpPr>
            <p:nvPr/>
          </p:nvSpPr>
          <p:spPr bwMode="auto">
            <a:xfrm>
              <a:off x="14288" y="2322513"/>
              <a:ext cx="1004887" cy="2274887"/>
            </a:xfrm>
            <a:custGeom>
              <a:avLst/>
              <a:gdLst>
                <a:gd name="T0" fmla="*/ 1004527 w 2790"/>
                <a:gd name="T1" fmla="*/ 0 h 6317"/>
                <a:gd name="T2" fmla="*/ 1004527 w 2790"/>
                <a:gd name="T3" fmla="*/ 510652 h 6317"/>
                <a:gd name="T4" fmla="*/ 346488 w 2790"/>
                <a:gd name="T5" fmla="*/ 1137624 h 6317"/>
                <a:gd name="T6" fmla="*/ 1004527 w 2790"/>
                <a:gd name="T7" fmla="*/ 1752711 h 6317"/>
                <a:gd name="T8" fmla="*/ 1004527 w 2790"/>
                <a:gd name="T9" fmla="*/ 2274527 h 6317"/>
                <a:gd name="T10" fmla="*/ 0 w 2790"/>
                <a:gd name="T11" fmla="*/ 1331009 h 6317"/>
                <a:gd name="T12" fmla="*/ 0 w 2790"/>
                <a:gd name="T13" fmla="*/ 955042 h 6317"/>
                <a:gd name="T14" fmla="*/ 1004527 w 2790"/>
                <a:gd name="T15" fmla="*/ 0 h 6317"/>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2790" h="6317">
                  <a:moveTo>
                    <a:pt x="2789" y="0"/>
                  </a:moveTo>
                  <a:lnTo>
                    <a:pt x="2789" y="1418"/>
                  </a:lnTo>
                  <a:lnTo>
                    <a:pt x="962" y="3159"/>
                  </a:lnTo>
                  <a:lnTo>
                    <a:pt x="2789" y="4867"/>
                  </a:lnTo>
                  <a:lnTo>
                    <a:pt x="2789" y="6316"/>
                  </a:lnTo>
                  <a:lnTo>
                    <a:pt x="0" y="3696"/>
                  </a:lnTo>
                  <a:lnTo>
                    <a:pt x="0" y="2652"/>
                  </a:lnTo>
                  <a:lnTo>
                    <a:pt x="2789"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endParaRPr lang="en-US"/>
            </a:p>
          </p:txBody>
        </p:sp>
        <p:sp>
          <p:nvSpPr>
            <p:cNvPr id="11" name="Freeform 6">
              <a:extLst>
                <a:ext uri="{FF2B5EF4-FFF2-40B4-BE49-F238E27FC236}">
                  <a16:creationId xmlns:a16="http://schemas.microsoft.com/office/drawing/2014/main" id="{82D7ED6D-1BA1-A656-A62E-673BDB4A11B5}"/>
                </a:ext>
              </a:extLst>
            </p:cNvPr>
            <p:cNvSpPr>
              <a:spLocks noChangeArrowheads="1"/>
            </p:cNvSpPr>
            <p:nvPr/>
          </p:nvSpPr>
          <p:spPr bwMode="auto">
            <a:xfrm>
              <a:off x="9050338" y="2322513"/>
              <a:ext cx="1003300" cy="2274887"/>
            </a:xfrm>
            <a:custGeom>
              <a:avLst/>
              <a:gdLst>
                <a:gd name="T0" fmla="*/ 1002940 w 2789"/>
                <a:gd name="T1" fmla="*/ 955042 h 6317"/>
                <a:gd name="T2" fmla="*/ 1002940 w 2789"/>
                <a:gd name="T3" fmla="*/ 1331009 h 6317"/>
                <a:gd name="T4" fmla="*/ 0 w 2789"/>
                <a:gd name="T5" fmla="*/ 2274527 h 6317"/>
                <a:gd name="T6" fmla="*/ 0 w 2789"/>
                <a:gd name="T7" fmla="*/ 1752711 h 6317"/>
                <a:gd name="T8" fmla="*/ 656876 w 2789"/>
                <a:gd name="T9" fmla="*/ 1137624 h 6317"/>
                <a:gd name="T10" fmla="*/ 0 w 2789"/>
                <a:gd name="T11" fmla="*/ 510652 h 6317"/>
                <a:gd name="T12" fmla="*/ 0 w 2789"/>
                <a:gd name="T13" fmla="*/ 0 h 6317"/>
                <a:gd name="T14" fmla="*/ 1002940 w 2789"/>
                <a:gd name="T15" fmla="*/ 955042 h 6317"/>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2789" h="6317">
                  <a:moveTo>
                    <a:pt x="2788" y="2652"/>
                  </a:moveTo>
                  <a:lnTo>
                    <a:pt x="2788" y="3696"/>
                  </a:lnTo>
                  <a:lnTo>
                    <a:pt x="0" y="6316"/>
                  </a:lnTo>
                  <a:lnTo>
                    <a:pt x="0" y="4867"/>
                  </a:lnTo>
                  <a:lnTo>
                    <a:pt x="1826" y="3159"/>
                  </a:lnTo>
                  <a:lnTo>
                    <a:pt x="0" y="1418"/>
                  </a:lnTo>
                  <a:lnTo>
                    <a:pt x="0" y="0"/>
                  </a:lnTo>
                  <a:lnTo>
                    <a:pt x="2788" y="2652"/>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endParaRPr lang="en-US"/>
            </a:p>
          </p:txBody>
        </p:sp>
      </p:grpSp>
      <p:sp>
        <p:nvSpPr>
          <p:cNvPr id="12" name="Footer Placeholder 14">
            <a:extLst>
              <a:ext uri="{FF2B5EF4-FFF2-40B4-BE49-F238E27FC236}">
                <a16:creationId xmlns:a16="http://schemas.microsoft.com/office/drawing/2014/main" id="{01AE70F9-C57B-971B-81B5-20B8C811D816}"/>
              </a:ext>
            </a:extLst>
          </p:cNvPr>
          <p:cNvSpPr txBox="1">
            <a:spLocks/>
          </p:cNvSpPr>
          <p:nvPr userDrawn="1"/>
        </p:nvSpPr>
        <p:spPr>
          <a:xfrm>
            <a:off x="1206203" y="6411603"/>
            <a:ext cx="2157779" cy="228599"/>
          </a:xfrm>
          <a:prstGeom prst="rect">
            <a:avLst/>
          </a:prstGeom>
        </p:spPr>
        <p:txBody>
          <a:bodyPr vert="horz" lIns="0" tIns="0" rIns="0" bIns="0" rtlCol="0" anchor="ctr"/>
          <a:lstStyle>
            <a:defPPr>
              <a:defRPr lang="en-US"/>
            </a:defPPr>
            <a:lvl1pPr marL="0" algn="r" defTabSz="914400" rtl="0" eaLnBrk="1" latinLnBrk="0" hangingPunct="1">
              <a:defRPr sz="600" b="0" i="0" kern="1200">
                <a:solidFill>
                  <a:schemeClr val="tx1"/>
                </a:solidFill>
                <a:latin typeface="+mn-lt"/>
                <a:ea typeface="Calibri" panose="020F0502020204030204" pitchFamily="34" charset="0"/>
                <a:cs typeface="Calibri" panose="020F050202020403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b="0" i="0">
                <a:solidFill>
                  <a:schemeClr val="bg1"/>
                </a:solidFill>
                <a:latin typeface="+mn-lt"/>
              </a:rPr>
              <a:t>EPAM Proprietary &amp; Confidential</a:t>
            </a:r>
            <a:r>
              <a:rPr lang="ru-RU" b="0" i="0">
                <a:solidFill>
                  <a:schemeClr val="bg1"/>
                </a:solidFill>
                <a:latin typeface="+mn-lt"/>
              </a:rPr>
              <a:t> </a:t>
            </a:r>
            <a:endParaRPr lang="en-US" b="0" i="0">
              <a:solidFill>
                <a:schemeClr val="bg1"/>
              </a:solidFill>
              <a:latin typeface="+mn-lt"/>
            </a:endParaRPr>
          </a:p>
        </p:txBody>
      </p:sp>
      <p:pic>
        <p:nvPicPr>
          <p:cNvPr id="15" name="Graphic 14">
            <a:extLst>
              <a:ext uri="{FF2B5EF4-FFF2-40B4-BE49-F238E27FC236}">
                <a16:creationId xmlns:a16="http://schemas.microsoft.com/office/drawing/2014/main" id="{381A1AA8-407F-EDB5-0A3F-9BF6E3861713}"/>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820266" y="6419060"/>
            <a:ext cx="762921" cy="205636"/>
          </a:xfrm>
          <a:prstGeom prst="rect">
            <a:avLst/>
          </a:prstGeom>
        </p:spPr>
      </p:pic>
    </p:spTree>
    <p:extLst>
      <p:ext uri="{BB962C8B-B14F-4D97-AF65-F5344CB8AC3E}">
        <p14:creationId xmlns:p14="http://schemas.microsoft.com/office/powerpoint/2010/main" val="1245336968"/>
      </p:ext>
    </p:extLst>
  </p:cSld>
  <p:clrMapOvr>
    <a:masterClrMapping/>
  </p:clrMapOvr>
  <p:extLst>
    <p:ext uri="{DCECCB84-F9BA-43D5-87BE-67443E8EF086}">
      <p15:sldGuideLst xmlns:p15="http://schemas.microsoft.com/office/powerpoint/2012/main"/>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Small_Text">
    <p:bg>
      <p:bgPr>
        <a:solidFill>
          <a:schemeClr val="tx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F1455701-65C9-97B2-64E0-82F53FA37756}"/>
              </a:ext>
            </a:extLst>
          </p:cNvPr>
          <p:cNvSpPr>
            <a:spLocks noGrp="1"/>
          </p:cNvSpPr>
          <p:nvPr>
            <p:ph type="body" sz="quarter" idx="26" hasCustomPrompt="1"/>
          </p:nvPr>
        </p:nvSpPr>
        <p:spPr>
          <a:xfrm>
            <a:off x="623950" y="1714501"/>
            <a:ext cx="10896600" cy="480060"/>
          </a:xfrm>
          <a:prstGeom prst="rect">
            <a:avLst/>
          </a:prstGeom>
        </p:spPr>
        <p:txBody>
          <a:bodyPr/>
          <a:lstStyle>
            <a:lvl1pPr>
              <a:defRPr sz="1800" b="1" i="0">
                <a:solidFill>
                  <a:schemeClr val="bg1"/>
                </a:solidFill>
                <a:latin typeface="Calibri" panose="020F0502020204030204" pitchFamily="34" charset="0"/>
                <a:cs typeface="Calibri" panose="020F0502020204030204" pitchFamily="34" charset="0"/>
              </a:defRPr>
            </a:lvl1pPr>
          </a:lstStyle>
          <a:p>
            <a:r>
              <a:rPr lang="en-US"/>
              <a:t>Lorem ipsum </a:t>
            </a:r>
            <a:r>
              <a:rPr lang="en-US" err="1"/>
              <a:t>nibh</a:t>
            </a:r>
            <a:r>
              <a:rPr lang="en-US"/>
              <a:t> </a:t>
            </a:r>
            <a:r>
              <a:rPr lang="en-US" err="1"/>
              <a:t>commodo</a:t>
            </a:r>
            <a:r>
              <a:rPr lang="en-US"/>
              <a:t> </a:t>
            </a:r>
            <a:r>
              <a:rPr lang="en-US" err="1"/>
              <a:t>aenean</a:t>
            </a:r>
            <a:r>
              <a:rPr lang="en-US"/>
              <a:t> </a:t>
            </a:r>
            <a:r>
              <a:rPr lang="en-US" err="1"/>
              <a:t>leo</a:t>
            </a:r>
            <a:r>
              <a:rPr lang="en-US"/>
              <a:t> porta </a:t>
            </a:r>
            <a:r>
              <a:rPr lang="en-US" err="1"/>
              <a:t>duis</a:t>
            </a:r>
            <a:r>
              <a:rPr lang="en-US"/>
              <a:t> magna </a:t>
            </a:r>
            <a:r>
              <a:rPr lang="en-US" err="1"/>
              <a:t>felis</a:t>
            </a:r>
            <a:r>
              <a:rPr lang="en-US"/>
              <a:t> </a:t>
            </a:r>
            <a:r>
              <a:rPr lang="en-US" err="1"/>
              <a:t>bibendum</a:t>
            </a:r>
            <a:r>
              <a:rPr lang="en-US"/>
              <a:t> </a:t>
            </a:r>
            <a:r>
              <a:rPr lang="en-US" err="1"/>
              <a:t>tempor</a:t>
            </a:r>
            <a:r>
              <a:rPr lang="en-US"/>
              <a:t>.</a:t>
            </a:r>
          </a:p>
        </p:txBody>
      </p:sp>
      <p:sp>
        <p:nvSpPr>
          <p:cNvPr id="5" name="Text Placeholder 3">
            <a:extLst>
              <a:ext uri="{FF2B5EF4-FFF2-40B4-BE49-F238E27FC236}">
                <a16:creationId xmlns:a16="http://schemas.microsoft.com/office/drawing/2014/main" id="{7F93B36D-BA2E-1899-D9F4-FEAD1083B619}"/>
              </a:ext>
            </a:extLst>
          </p:cNvPr>
          <p:cNvSpPr>
            <a:spLocks noGrp="1"/>
          </p:cNvSpPr>
          <p:nvPr>
            <p:ph type="body" sz="quarter" idx="27" hasCustomPrompt="1"/>
          </p:nvPr>
        </p:nvSpPr>
        <p:spPr>
          <a:xfrm>
            <a:off x="623950" y="2252472"/>
            <a:ext cx="10896600" cy="1136904"/>
          </a:xfrm>
          <a:prstGeom prst="rect">
            <a:avLst/>
          </a:prstGeom>
        </p:spPr>
        <p:txBody>
          <a:bodyPr/>
          <a:lstStyle>
            <a:lvl1pPr>
              <a:defRPr sz="1400" b="0" i="0">
                <a:solidFill>
                  <a:schemeClr val="bg1"/>
                </a:solidFill>
                <a:latin typeface="Calibri Light" panose="020F0302020204030204" pitchFamily="34" charset="0"/>
                <a:cs typeface="Calibri Light" panose="020F0302020204030204" pitchFamily="34" charset="0"/>
              </a:defRPr>
            </a:lvl1pPr>
          </a:lstStyle>
          <a:p>
            <a:r>
              <a:rPr lang="en-US"/>
              <a:t>When you just have a bunch of type and don’t want to try too hard. Lorem ipsum diam fames </a:t>
            </a:r>
            <a:r>
              <a:rPr lang="en-US" err="1"/>
              <a:t>augue</a:t>
            </a:r>
            <a:r>
              <a:rPr lang="en-US"/>
              <a:t> in </a:t>
            </a:r>
            <a:r>
              <a:rPr lang="en-US" err="1"/>
              <a:t>habitasse</a:t>
            </a:r>
            <a:r>
              <a:rPr lang="en-US"/>
              <a:t> </a:t>
            </a:r>
            <a:r>
              <a:rPr lang="en-US" err="1"/>
              <a:t>tempor</a:t>
            </a:r>
            <a:r>
              <a:rPr lang="en-US"/>
              <a:t> porta, </a:t>
            </a:r>
            <a:r>
              <a:rPr lang="en-US" err="1"/>
              <a:t>eleifend</a:t>
            </a:r>
            <a:r>
              <a:rPr lang="en-US"/>
              <a:t> </a:t>
            </a:r>
            <a:r>
              <a:rPr lang="en-US" err="1"/>
              <a:t>nulla</a:t>
            </a:r>
            <a:r>
              <a:rPr lang="en-US"/>
              <a:t> </a:t>
            </a:r>
            <a:r>
              <a:rPr lang="en-US" err="1"/>
              <a:t>primis</a:t>
            </a:r>
            <a:r>
              <a:rPr lang="en-US"/>
              <a:t> eros mi </a:t>
            </a:r>
            <a:r>
              <a:rPr lang="en-US" err="1"/>
              <a:t>maecenas</a:t>
            </a:r>
            <a:r>
              <a:rPr lang="en-US"/>
              <a:t> ligula magna, </a:t>
            </a:r>
            <a:r>
              <a:rPr lang="en-US" err="1"/>
              <a:t>nibh</a:t>
            </a:r>
            <a:r>
              <a:rPr lang="en-US"/>
              <a:t> </a:t>
            </a:r>
            <a:r>
              <a:rPr lang="en-US" err="1"/>
              <a:t>commodo</a:t>
            </a:r>
            <a:r>
              <a:rPr lang="en-US"/>
              <a:t> </a:t>
            </a:r>
            <a:r>
              <a:rPr lang="en-US" err="1"/>
              <a:t>aenean</a:t>
            </a:r>
            <a:r>
              <a:rPr lang="en-US"/>
              <a:t> </a:t>
            </a:r>
            <a:r>
              <a:rPr lang="en-US" err="1"/>
              <a:t>leo</a:t>
            </a:r>
            <a:r>
              <a:rPr lang="en-US"/>
              <a:t> porta </a:t>
            </a:r>
            <a:r>
              <a:rPr lang="en-US" err="1"/>
              <a:t>duis</a:t>
            </a:r>
            <a:r>
              <a:rPr lang="en-US"/>
              <a:t> magna </a:t>
            </a:r>
            <a:r>
              <a:rPr lang="en-US" err="1"/>
              <a:t>felis</a:t>
            </a:r>
            <a:r>
              <a:rPr lang="en-US"/>
              <a:t> </a:t>
            </a:r>
            <a:r>
              <a:rPr lang="en-US" err="1"/>
              <a:t>bibendum</a:t>
            </a:r>
            <a:r>
              <a:rPr lang="en-US"/>
              <a:t> </a:t>
            </a:r>
            <a:r>
              <a:rPr lang="en-US" err="1"/>
              <a:t>tempor</a:t>
            </a:r>
            <a:r>
              <a:rPr lang="en-US"/>
              <a:t> </a:t>
            </a:r>
            <a:r>
              <a:rPr lang="en-US" err="1"/>
              <a:t>cubilia</a:t>
            </a:r>
            <a:r>
              <a:rPr lang="en-US"/>
              <a:t> gravida </a:t>
            </a:r>
            <a:r>
              <a:rPr lang="en-US" err="1"/>
              <a:t>molestie</a:t>
            </a:r>
            <a:r>
              <a:rPr lang="en-US"/>
              <a:t> a </a:t>
            </a:r>
            <a:r>
              <a:rPr lang="en-US" err="1"/>
              <a:t>pretium</a:t>
            </a:r>
            <a:r>
              <a:rPr lang="en-US"/>
              <a:t> </a:t>
            </a:r>
            <a:r>
              <a:rPr lang="en-US" err="1"/>
              <a:t>egestas</a:t>
            </a:r>
            <a:r>
              <a:rPr lang="en-US"/>
              <a:t> </a:t>
            </a:r>
            <a:r>
              <a:rPr lang="en-US" err="1"/>
              <a:t>iaculis</a:t>
            </a:r>
            <a:r>
              <a:rPr lang="en-US"/>
              <a:t> per, eros sit </a:t>
            </a:r>
            <a:r>
              <a:rPr lang="en-US" err="1"/>
              <a:t>leo</a:t>
            </a:r>
            <a:r>
              <a:rPr lang="en-US"/>
              <a:t> </a:t>
            </a:r>
            <a:r>
              <a:rPr lang="en-US" err="1"/>
              <a:t>augue</a:t>
            </a:r>
            <a:r>
              <a:rPr lang="en-US"/>
              <a:t> tempus </a:t>
            </a:r>
            <a:r>
              <a:rPr lang="en-US" err="1"/>
              <a:t>consectetur</a:t>
            </a:r>
            <a:r>
              <a:rPr lang="en-US"/>
              <a:t> </a:t>
            </a:r>
            <a:r>
              <a:rPr lang="en-US" err="1"/>
              <a:t>primis</a:t>
            </a:r>
            <a:r>
              <a:rPr lang="en-US"/>
              <a:t> dolor ac </a:t>
            </a:r>
            <a:r>
              <a:rPr lang="en-US" err="1"/>
              <a:t>euismod</a:t>
            </a:r>
            <a:r>
              <a:rPr lang="en-US"/>
              <a:t> </a:t>
            </a:r>
            <a:r>
              <a:rPr lang="en-US" err="1"/>
              <a:t>accumsan</a:t>
            </a:r>
            <a:r>
              <a:rPr lang="en-US"/>
              <a:t>, </a:t>
            </a:r>
            <a:r>
              <a:rPr lang="en-US" err="1"/>
              <a:t>vivamus</a:t>
            </a:r>
            <a:r>
              <a:rPr lang="en-US"/>
              <a:t> </a:t>
            </a:r>
            <a:r>
              <a:rPr lang="en-US" err="1"/>
              <a:t>feugiat</a:t>
            </a:r>
            <a:r>
              <a:rPr lang="en-US"/>
              <a:t> </a:t>
            </a:r>
            <a:r>
              <a:rPr lang="en-US" err="1"/>
              <a:t>elit</a:t>
            </a:r>
            <a:r>
              <a:rPr lang="en-US"/>
              <a:t> </a:t>
            </a:r>
            <a:r>
              <a:rPr lang="en-US" err="1"/>
              <a:t>luctus</a:t>
            </a:r>
            <a:r>
              <a:rPr lang="en-US"/>
              <a:t> libero </a:t>
            </a:r>
            <a:r>
              <a:rPr lang="en-US" err="1"/>
              <a:t>duis</a:t>
            </a:r>
            <a:r>
              <a:rPr lang="en-US"/>
              <a:t> </a:t>
            </a:r>
            <a:r>
              <a:rPr lang="en-US" err="1"/>
              <a:t>elementum</a:t>
            </a:r>
            <a:r>
              <a:rPr lang="en-US"/>
              <a:t> </a:t>
            </a:r>
            <a:r>
              <a:rPr lang="en-US" err="1"/>
              <a:t>etiam</a:t>
            </a:r>
            <a:r>
              <a:rPr lang="en-US"/>
              <a:t> lorem cursus </a:t>
            </a:r>
            <a:r>
              <a:rPr lang="en-US" err="1"/>
              <a:t>hendrerit</a:t>
            </a:r>
            <a:r>
              <a:rPr lang="en-US"/>
              <a:t> </a:t>
            </a:r>
            <a:r>
              <a:rPr lang="en-US" err="1"/>
              <a:t>curae</a:t>
            </a:r>
            <a:r>
              <a:rPr lang="en-US"/>
              <a:t> </a:t>
            </a:r>
            <a:r>
              <a:rPr lang="en-US" err="1"/>
              <a:t>primis</a:t>
            </a:r>
            <a:r>
              <a:rPr lang="en-US"/>
              <a:t> </a:t>
            </a:r>
            <a:r>
              <a:rPr lang="en-US" err="1"/>
              <a:t>cubilia</a:t>
            </a:r>
            <a:r>
              <a:rPr lang="en-US"/>
              <a:t> vestibulum </a:t>
            </a:r>
            <a:r>
              <a:rPr lang="en-US" err="1"/>
              <a:t>eu</a:t>
            </a:r>
            <a:r>
              <a:rPr lang="en-US"/>
              <a:t> ac integer, </a:t>
            </a:r>
            <a:r>
              <a:rPr lang="en-US" err="1"/>
              <a:t>tellus</a:t>
            </a:r>
            <a:r>
              <a:rPr lang="en-US"/>
              <a:t> pharetra </a:t>
            </a:r>
            <a:r>
              <a:rPr lang="en-US" err="1"/>
              <a:t>dictumst</a:t>
            </a:r>
            <a:r>
              <a:rPr lang="en-US"/>
              <a:t> </a:t>
            </a:r>
            <a:r>
              <a:rPr lang="en-US" err="1"/>
              <a:t>fusce</a:t>
            </a:r>
            <a:r>
              <a:rPr lang="en-US"/>
              <a:t> </a:t>
            </a:r>
            <a:r>
              <a:rPr lang="en-US" err="1"/>
              <a:t>condimentum</a:t>
            </a:r>
            <a:r>
              <a:rPr lang="en-US"/>
              <a:t> ad </a:t>
            </a:r>
            <a:r>
              <a:rPr lang="en-US" err="1"/>
              <a:t>facilisis</a:t>
            </a:r>
            <a:r>
              <a:rPr lang="en-US"/>
              <a:t>.</a:t>
            </a:r>
          </a:p>
        </p:txBody>
      </p:sp>
      <p:sp>
        <p:nvSpPr>
          <p:cNvPr id="2" name="Title 1">
            <a:extLst>
              <a:ext uri="{FF2B5EF4-FFF2-40B4-BE49-F238E27FC236}">
                <a16:creationId xmlns:a16="http://schemas.microsoft.com/office/drawing/2014/main" id="{4CF63D28-0E5E-0062-2D58-0DFB24370CFB}"/>
              </a:ext>
            </a:extLst>
          </p:cNvPr>
          <p:cNvSpPr>
            <a:spLocks noGrp="1"/>
          </p:cNvSpPr>
          <p:nvPr>
            <p:ph type="title" hasCustomPrompt="1"/>
          </p:nvPr>
        </p:nvSpPr>
        <p:spPr>
          <a:xfrm>
            <a:off x="633632" y="722843"/>
            <a:ext cx="10963056" cy="338554"/>
          </a:xfrm>
          <a:prstGeom prst="rect">
            <a:avLst/>
          </a:prstGeom>
        </p:spPr>
        <p:txBody>
          <a:bodyPr/>
          <a:lstStyle>
            <a:lvl1pPr>
              <a:defRPr lang="en-US" sz="2200" b="1" i="0" kern="1200" spc="0" dirty="0">
                <a:solidFill>
                  <a:schemeClr val="bg1"/>
                </a:solidFill>
                <a:effectLst/>
                <a:latin typeface="+mj-lt"/>
                <a:ea typeface="Calibri" panose="020F0502020204030204" pitchFamily="34" charset="0"/>
                <a:cs typeface="Calibri" panose="020F0502020204030204" pitchFamily="34" charset="0"/>
              </a:defRPr>
            </a:lvl1pPr>
          </a:lstStyle>
          <a:p>
            <a:pPr marL="0" lvl="0" indent="0" algn="l" defTabSz="914400" rtl="0" eaLnBrk="1" latinLnBrk="0" hangingPunct="1">
              <a:lnSpc>
                <a:spcPct val="100000"/>
              </a:lnSpc>
              <a:spcBef>
                <a:spcPts val="0"/>
              </a:spcBef>
              <a:spcAft>
                <a:spcPts val="0"/>
              </a:spcAft>
              <a:buFont typeface="Arial" panose="020B0604020202020204" pitchFamily="34" charset="0"/>
              <a:buNone/>
            </a:pPr>
            <a:r>
              <a:rPr lang="en-US">
                <a:effectLst/>
              </a:rPr>
              <a:t>Title Goes Here</a:t>
            </a:r>
            <a:endParaRPr lang="en-US"/>
          </a:p>
        </p:txBody>
      </p:sp>
      <p:sp>
        <p:nvSpPr>
          <p:cNvPr id="7" name="Text Placeholder 10">
            <a:extLst>
              <a:ext uri="{FF2B5EF4-FFF2-40B4-BE49-F238E27FC236}">
                <a16:creationId xmlns:a16="http://schemas.microsoft.com/office/drawing/2014/main" id="{ED30C1D1-EF63-DCB9-32C1-35C115A05511}"/>
              </a:ext>
            </a:extLst>
          </p:cNvPr>
          <p:cNvSpPr>
            <a:spLocks noGrp="1"/>
          </p:cNvSpPr>
          <p:nvPr>
            <p:ph type="body" sz="quarter" idx="28" hasCustomPrompt="1"/>
          </p:nvPr>
        </p:nvSpPr>
        <p:spPr>
          <a:xfrm>
            <a:off x="633632" y="419100"/>
            <a:ext cx="3611880" cy="225706"/>
          </a:xfrm>
          <a:prstGeom prst="rect">
            <a:avLst/>
          </a:prstGeom>
        </p:spPr>
        <p:txBody>
          <a:bodyPr/>
          <a:lstStyle>
            <a:lvl1pPr>
              <a:spcBef>
                <a:spcPts val="0"/>
              </a:spcBef>
              <a:defRPr lang="en-US" sz="1000" b="0" i="0" kern="1200" cap="all" spc="300" baseline="0" dirty="0">
                <a:solidFill>
                  <a:schemeClr val="bg1"/>
                </a:solidFill>
                <a:latin typeface="Calibri" panose="020F0502020204030204" pitchFamily="34" charset="0"/>
                <a:ea typeface="Calibri" panose="020F0502020204030204" pitchFamily="34" charset="0"/>
                <a:cs typeface="Calibri" panose="020F0502020204030204" pitchFamily="34" charset="0"/>
              </a:defRPr>
            </a:lvl1pPr>
          </a:lstStyle>
          <a:p>
            <a:pPr marL="0" lvl="0" indent="0" algn="l" defTabSz="914400" rtl="0" eaLnBrk="1" latinLnBrk="0" hangingPunct="1">
              <a:lnSpc>
                <a:spcPct val="100000"/>
              </a:lnSpc>
              <a:spcBef>
                <a:spcPts val="600"/>
              </a:spcBef>
              <a:spcAft>
                <a:spcPts val="0"/>
              </a:spcAft>
              <a:buFont typeface="Arial" panose="020B0604020202020204" pitchFamily="34" charset="0"/>
              <a:buNone/>
            </a:pPr>
            <a:r>
              <a:rPr lang="en-US"/>
              <a:t>Click to add section title</a:t>
            </a:r>
          </a:p>
        </p:txBody>
      </p:sp>
      <p:grpSp>
        <p:nvGrpSpPr>
          <p:cNvPr id="3" name="Group 2">
            <a:extLst>
              <a:ext uri="{FF2B5EF4-FFF2-40B4-BE49-F238E27FC236}">
                <a16:creationId xmlns:a16="http://schemas.microsoft.com/office/drawing/2014/main" id="{94B82A39-EAB6-D2C1-A0A4-FE437D2FA45B}"/>
              </a:ext>
            </a:extLst>
          </p:cNvPr>
          <p:cNvGrpSpPr/>
          <p:nvPr userDrawn="1"/>
        </p:nvGrpSpPr>
        <p:grpSpPr>
          <a:xfrm>
            <a:off x="610888" y="6472556"/>
            <a:ext cx="372834" cy="131175"/>
            <a:chOff x="14288" y="2035175"/>
            <a:chExt cx="10039350" cy="3532188"/>
          </a:xfrm>
          <a:solidFill>
            <a:schemeClr val="bg1"/>
          </a:solidFill>
        </p:grpSpPr>
        <p:sp>
          <p:nvSpPr>
            <p:cNvPr id="6" name="Freeform 1">
              <a:extLst>
                <a:ext uri="{FF2B5EF4-FFF2-40B4-BE49-F238E27FC236}">
                  <a16:creationId xmlns:a16="http://schemas.microsoft.com/office/drawing/2014/main" id="{91AD9C15-C81F-D06C-ED84-5439735CEE89}"/>
                </a:ext>
              </a:extLst>
            </p:cNvPr>
            <p:cNvSpPr>
              <a:spLocks noChangeArrowheads="1"/>
            </p:cNvSpPr>
            <p:nvPr/>
          </p:nvSpPr>
          <p:spPr bwMode="auto">
            <a:xfrm>
              <a:off x="1519238" y="2035175"/>
              <a:ext cx="1336675" cy="2836863"/>
            </a:xfrm>
            <a:custGeom>
              <a:avLst/>
              <a:gdLst>
                <a:gd name="T0" fmla="*/ 390493 w 3714"/>
                <a:gd name="T1" fmla="*/ 1200682 h 7882"/>
                <a:gd name="T2" fmla="*/ 945462 w 3714"/>
                <a:gd name="T3" fmla="*/ 1200682 h 7882"/>
                <a:gd name="T4" fmla="*/ 945462 w 3714"/>
                <a:gd name="T5" fmla="*/ 611498 h 7882"/>
                <a:gd name="T6" fmla="*/ 698929 w 3714"/>
                <a:gd name="T7" fmla="*/ 364596 h 7882"/>
                <a:gd name="T8" fmla="*/ 637386 w 3714"/>
                <a:gd name="T9" fmla="*/ 364596 h 7882"/>
                <a:gd name="T10" fmla="*/ 390493 w 3714"/>
                <a:gd name="T11" fmla="*/ 611498 h 7882"/>
                <a:gd name="T12" fmla="*/ 390493 w 3714"/>
                <a:gd name="T13" fmla="*/ 1200682 h 7882"/>
                <a:gd name="T14" fmla="*/ 389414 w 3714"/>
                <a:gd name="T15" fmla="*/ 1576795 h 7882"/>
                <a:gd name="T16" fmla="*/ 390493 w 3714"/>
                <a:gd name="T17" fmla="*/ 2224645 h 7882"/>
                <a:gd name="T18" fmla="*/ 637386 w 3714"/>
                <a:gd name="T19" fmla="*/ 2471548 h 7882"/>
                <a:gd name="T20" fmla="*/ 709366 w 3714"/>
                <a:gd name="T21" fmla="*/ 2471548 h 7882"/>
                <a:gd name="T22" fmla="*/ 955899 w 3714"/>
                <a:gd name="T23" fmla="*/ 2224645 h 7882"/>
                <a:gd name="T24" fmla="*/ 955899 w 3714"/>
                <a:gd name="T25" fmla="*/ 1906119 h 7882"/>
                <a:gd name="T26" fmla="*/ 1336315 w 3714"/>
                <a:gd name="T27" fmla="*/ 1906119 h 7882"/>
                <a:gd name="T28" fmla="*/ 1336315 w 3714"/>
                <a:gd name="T29" fmla="*/ 2209528 h 7882"/>
                <a:gd name="T30" fmla="*/ 709366 w 3714"/>
                <a:gd name="T31" fmla="*/ 2836503 h 7882"/>
                <a:gd name="T32" fmla="*/ 626949 w 3714"/>
                <a:gd name="T33" fmla="*/ 2836503 h 7882"/>
                <a:gd name="T34" fmla="*/ 0 w 3714"/>
                <a:gd name="T35" fmla="*/ 2258117 h 7882"/>
                <a:gd name="T36" fmla="*/ 0 w 3714"/>
                <a:gd name="T37" fmla="*/ 675564 h 7882"/>
                <a:gd name="T38" fmla="*/ 626949 w 3714"/>
                <a:gd name="T39" fmla="*/ 0 h 7882"/>
                <a:gd name="T40" fmla="*/ 709366 w 3714"/>
                <a:gd name="T41" fmla="*/ 0 h 7882"/>
                <a:gd name="T42" fmla="*/ 1336315 w 3714"/>
                <a:gd name="T43" fmla="*/ 626975 h 7882"/>
                <a:gd name="T44" fmla="*/ 1334875 w 3714"/>
                <a:gd name="T45" fmla="*/ 1576795 h 7882"/>
                <a:gd name="T46" fmla="*/ 389414 w 3714"/>
                <a:gd name="T47" fmla="*/ 1576795 h 7882"/>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3714" h="7882">
                  <a:moveTo>
                    <a:pt x="1085" y="3336"/>
                  </a:moveTo>
                  <a:lnTo>
                    <a:pt x="2627" y="3336"/>
                  </a:lnTo>
                  <a:lnTo>
                    <a:pt x="2627" y="1699"/>
                  </a:lnTo>
                  <a:cubicBezTo>
                    <a:pt x="2627" y="1242"/>
                    <a:pt x="2399" y="1013"/>
                    <a:pt x="1942" y="1013"/>
                  </a:cubicBezTo>
                  <a:lnTo>
                    <a:pt x="1771" y="1013"/>
                  </a:lnTo>
                  <a:cubicBezTo>
                    <a:pt x="1314" y="1013"/>
                    <a:pt x="1085" y="1242"/>
                    <a:pt x="1085" y="1699"/>
                  </a:cubicBezTo>
                  <a:lnTo>
                    <a:pt x="1085" y="3336"/>
                  </a:lnTo>
                  <a:close/>
                  <a:moveTo>
                    <a:pt x="1082" y="4381"/>
                  </a:moveTo>
                  <a:lnTo>
                    <a:pt x="1085" y="6181"/>
                  </a:lnTo>
                  <a:cubicBezTo>
                    <a:pt x="1085" y="6638"/>
                    <a:pt x="1314" y="6867"/>
                    <a:pt x="1771" y="6867"/>
                  </a:cubicBezTo>
                  <a:lnTo>
                    <a:pt x="1971" y="6867"/>
                  </a:lnTo>
                  <a:cubicBezTo>
                    <a:pt x="2428" y="6867"/>
                    <a:pt x="2656" y="6638"/>
                    <a:pt x="2656" y="6181"/>
                  </a:cubicBezTo>
                  <a:lnTo>
                    <a:pt x="2656" y="5296"/>
                  </a:lnTo>
                  <a:lnTo>
                    <a:pt x="3713" y="5296"/>
                  </a:lnTo>
                  <a:lnTo>
                    <a:pt x="3713" y="6139"/>
                  </a:lnTo>
                  <a:cubicBezTo>
                    <a:pt x="3713" y="7295"/>
                    <a:pt x="3127" y="7881"/>
                    <a:pt x="1971" y="7881"/>
                  </a:cubicBezTo>
                  <a:lnTo>
                    <a:pt x="1742" y="7881"/>
                  </a:lnTo>
                  <a:cubicBezTo>
                    <a:pt x="585" y="7881"/>
                    <a:pt x="0" y="7295"/>
                    <a:pt x="0" y="6274"/>
                  </a:cubicBezTo>
                  <a:lnTo>
                    <a:pt x="0" y="1877"/>
                  </a:lnTo>
                  <a:cubicBezTo>
                    <a:pt x="0" y="585"/>
                    <a:pt x="585" y="0"/>
                    <a:pt x="1742" y="0"/>
                  </a:cubicBezTo>
                  <a:lnTo>
                    <a:pt x="1971" y="0"/>
                  </a:lnTo>
                  <a:cubicBezTo>
                    <a:pt x="3127" y="0"/>
                    <a:pt x="3713" y="585"/>
                    <a:pt x="3713" y="1742"/>
                  </a:cubicBezTo>
                  <a:lnTo>
                    <a:pt x="3709" y="4381"/>
                  </a:lnTo>
                  <a:lnTo>
                    <a:pt x="1082" y="4381"/>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endParaRPr lang="en-US"/>
            </a:p>
          </p:txBody>
        </p:sp>
        <p:sp>
          <p:nvSpPr>
            <p:cNvPr id="8" name="Freeform 2">
              <a:extLst>
                <a:ext uri="{FF2B5EF4-FFF2-40B4-BE49-F238E27FC236}">
                  <a16:creationId xmlns:a16="http://schemas.microsoft.com/office/drawing/2014/main" id="{ADEC4FA4-5FD6-970F-0181-11F032C4A123}"/>
                </a:ext>
              </a:extLst>
            </p:cNvPr>
            <p:cNvSpPr>
              <a:spLocks noChangeArrowheads="1"/>
            </p:cNvSpPr>
            <p:nvPr/>
          </p:nvSpPr>
          <p:spPr bwMode="auto">
            <a:xfrm>
              <a:off x="3109913" y="2035175"/>
              <a:ext cx="1368425" cy="3532188"/>
            </a:xfrm>
            <a:custGeom>
              <a:avLst/>
              <a:gdLst>
                <a:gd name="T0" fmla="*/ 390721 w 3800"/>
                <a:gd name="T1" fmla="*/ 2322993 h 9812"/>
                <a:gd name="T2" fmla="*/ 750833 w 3800"/>
                <a:gd name="T3" fmla="*/ 2466628 h 9812"/>
                <a:gd name="T4" fmla="*/ 976983 w 3800"/>
                <a:gd name="T5" fmla="*/ 2240556 h 9812"/>
                <a:gd name="T6" fmla="*/ 976983 w 3800"/>
                <a:gd name="T7" fmla="*/ 596138 h 9812"/>
                <a:gd name="T8" fmla="*/ 750833 w 3800"/>
                <a:gd name="T9" fmla="*/ 370066 h 9812"/>
                <a:gd name="T10" fmla="*/ 390721 w 3800"/>
                <a:gd name="T11" fmla="*/ 514061 h 9812"/>
                <a:gd name="T12" fmla="*/ 390721 w 3800"/>
                <a:gd name="T13" fmla="*/ 2322993 h 9812"/>
                <a:gd name="T14" fmla="*/ 0 w 3800"/>
                <a:gd name="T15" fmla="*/ 30599 h 9812"/>
                <a:gd name="T16" fmla="*/ 390721 w 3800"/>
                <a:gd name="T17" fmla="*/ 30599 h 9812"/>
                <a:gd name="T18" fmla="*/ 390721 w 3800"/>
                <a:gd name="T19" fmla="*/ 210592 h 9812"/>
                <a:gd name="T20" fmla="*/ 868950 w 3800"/>
                <a:gd name="T21" fmla="*/ 0 h 9812"/>
                <a:gd name="T22" fmla="*/ 1368065 w 3800"/>
                <a:gd name="T23" fmla="*/ 549699 h 9812"/>
                <a:gd name="T24" fmla="*/ 1368065 w 3800"/>
                <a:gd name="T25" fmla="*/ 2286995 h 9812"/>
                <a:gd name="T26" fmla="*/ 868950 w 3800"/>
                <a:gd name="T27" fmla="*/ 2837054 h 9812"/>
                <a:gd name="T28" fmla="*/ 390721 w 3800"/>
                <a:gd name="T29" fmla="*/ 2636541 h 9812"/>
                <a:gd name="T30" fmla="*/ 390721 w 3800"/>
                <a:gd name="T31" fmla="*/ 3531828 h 9812"/>
                <a:gd name="T32" fmla="*/ 0 w 3800"/>
                <a:gd name="T33" fmla="*/ 3531828 h 9812"/>
                <a:gd name="T34" fmla="*/ 0 w 3800"/>
                <a:gd name="T35" fmla="*/ 30599 h 9812"/>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3800" h="9812">
                  <a:moveTo>
                    <a:pt x="1085" y="6453"/>
                  </a:moveTo>
                  <a:cubicBezTo>
                    <a:pt x="1385" y="6710"/>
                    <a:pt x="1728" y="6852"/>
                    <a:pt x="2085" y="6852"/>
                  </a:cubicBezTo>
                  <a:cubicBezTo>
                    <a:pt x="2485" y="6852"/>
                    <a:pt x="2713" y="6667"/>
                    <a:pt x="2713" y="6224"/>
                  </a:cubicBezTo>
                  <a:lnTo>
                    <a:pt x="2713" y="1656"/>
                  </a:lnTo>
                  <a:cubicBezTo>
                    <a:pt x="2713" y="1213"/>
                    <a:pt x="2485" y="1028"/>
                    <a:pt x="2085" y="1028"/>
                  </a:cubicBezTo>
                  <a:cubicBezTo>
                    <a:pt x="1728" y="1028"/>
                    <a:pt x="1385" y="1170"/>
                    <a:pt x="1085" y="1428"/>
                  </a:cubicBezTo>
                  <a:lnTo>
                    <a:pt x="1085" y="6453"/>
                  </a:lnTo>
                  <a:close/>
                  <a:moveTo>
                    <a:pt x="0" y="85"/>
                  </a:moveTo>
                  <a:lnTo>
                    <a:pt x="1085" y="85"/>
                  </a:lnTo>
                  <a:lnTo>
                    <a:pt x="1085" y="585"/>
                  </a:lnTo>
                  <a:cubicBezTo>
                    <a:pt x="1342" y="314"/>
                    <a:pt x="1785" y="0"/>
                    <a:pt x="2413" y="0"/>
                  </a:cubicBezTo>
                  <a:cubicBezTo>
                    <a:pt x="3342" y="0"/>
                    <a:pt x="3799" y="614"/>
                    <a:pt x="3799" y="1527"/>
                  </a:cubicBezTo>
                  <a:lnTo>
                    <a:pt x="3799" y="6353"/>
                  </a:lnTo>
                  <a:cubicBezTo>
                    <a:pt x="3799" y="7267"/>
                    <a:pt x="3342" y="7881"/>
                    <a:pt x="2413" y="7881"/>
                  </a:cubicBezTo>
                  <a:cubicBezTo>
                    <a:pt x="1785" y="7881"/>
                    <a:pt x="1342" y="7581"/>
                    <a:pt x="1085" y="7324"/>
                  </a:cubicBezTo>
                  <a:lnTo>
                    <a:pt x="1085" y="9811"/>
                  </a:lnTo>
                  <a:lnTo>
                    <a:pt x="0" y="9811"/>
                  </a:lnTo>
                  <a:lnTo>
                    <a:pt x="0" y="85"/>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endParaRPr lang="en-US"/>
            </a:p>
          </p:txBody>
        </p:sp>
        <p:sp>
          <p:nvSpPr>
            <p:cNvPr id="9" name="Freeform 3">
              <a:extLst>
                <a:ext uri="{FF2B5EF4-FFF2-40B4-BE49-F238E27FC236}">
                  <a16:creationId xmlns:a16="http://schemas.microsoft.com/office/drawing/2014/main" id="{91F8FF27-0555-CFA1-577F-15AAA092990D}"/>
                </a:ext>
              </a:extLst>
            </p:cNvPr>
            <p:cNvSpPr>
              <a:spLocks noChangeArrowheads="1"/>
            </p:cNvSpPr>
            <p:nvPr/>
          </p:nvSpPr>
          <p:spPr bwMode="auto">
            <a:xfrm>
              <a:off x="4711700" y="2035175"/>
              <a:ext cx="1328738" cy="2836863"/>
            </a:xfrm>
            <a:custGeom>
              <a:avLst/>
              <a:gdLst>
                <a:gd name="T0" fmla="*/ 937679 w 3690"/>
                <a:gd name="T1" fmla="*/ 2338019 h 7882"/>
                <a:gd name="T2" fmla="*/ 937679 w 3690"/>
                <a:gd name="T3" fmla="*/ 1422750 h 7882"/>
                <a:gd name="T4" fmla="*/ 582988 w 3690"/>
                <a:gd name="T5" fmla="*/ 1556999 h 7882"/>
                <a:gd name="T6" fmla="*/ 392500 w 3690"/>
                <a:gd name="T7" fmla="*/ 1844573 h 7882"/>
                <a:gd name="T8" fmla="*/ 392500 w 3690"/>
                <a:gd name="T9" fmla="*/ 2266035 h 7882"/>
                <a:gd name="T10" fmla="*/ 582988 w 3690"/>
                <a:gd name="T11" fmla="*/ 2466149 h 7882"/>
                <a:gd name="T12" fmla="*/ 937679 w 3690"/>
                <a:gd name="T13" fmla="*/ 2338019 h 7882"/>
                <a:gd name="T14" fmla="*/ 2161 w 3690"/>
                <a:gd name="T15" fmla="*/ 1839174 h 7882"/>
                <a:gd name="T16" fmla="*/ 413025 w 3690"/>
                <a:gd name="T17" fmla="*/ 1253950 h 7882"/>
                <a:gd name="T18" fmla="*/ 937679 w 3690"/>
                <a:gd name="T19" fmla="*/ 1073991 h 7882"/>
                <a:gd name="T20" fmla="*/ 937679 w 3690"/>
                <a:gd name="T21" fmla="*/ 611498 h 7882"/>
                <a:gd name="T22" fmla="*/ 690656 w 3690"/>
                <a:gd name="T23" fmla="*/ 359557 h 7882"/>
                <a:gd name="T24" fmla="*/ 627280 w 3690"/>
                <a:gd name="T25" fmla="*/ 359557 h 7882"/>
                <a:gd name="T26" fmla="*/ 380257 w 3690"/>
                <a:gd name="T27" fmla="*/ 611498 h 7882"/>
                <a:gd name="T28" fmla="*/ 380257 w 3690"/>
                <a:gd name="T29" fmla="*/ 1004527 h 7882"/>
                <a:gd name="T30" fmla="*/ 0 w 3690"/>
                <a:gd name="T31" fmla="*/ 1004527 h 7882"/>
                <a:gd name="T32" fmla="*/ 0 w 3690"/>
                <a:gd name="T33" fmla="*/ 626975 h 7882"/>
                <a:gd name="T34" fmla="*/ 627280 w 3690"/>
                <a:gd name="T35" fmla="*/ 0 h 7882"/>
                <a:gd name="T36" fmla="*/ 701098 w 3690"/>
                <a:gd name="T37" fmla="*/ 0 h 7882"/>
                <a:gd name="T38" fmla="*/ 1328378 w 3690"/>
                <a:gd name="T39" fmla="*/ 626975 h 7882"/>
                <a:gd name="T40" fmla="*/ 1328378 w 3690"/>
                <a:gd name="T41" fmla="*/ 2805550 h 7882"/>
                <a:gd name="T42" fmla="*/ 937679 w 3690"/>
                <a:gd name="T43" fmla="*/ 2805550 h 7882"/>
                <a:gd name="T44" fmla="*/ 937679 w 3690"/>
                <a:gd name="T45" fmla="*/ 2630631 h 7882"/>
                <a:gd name="T46" fmla="*/ 459477 w 3690"/>
                <a:gd name="T47" fmla="*/ 2836503 h 7882"/>
                <a:gd name="T48" fmla="*/ 2161 w 3690"/>
                <a:gd name="T49" fmla="*/ 2348096 h 7882"/>
                <a:gd name="T50" fmla="*/ 2161 w 3690"/>
                <a:gd name="T51" fmla="*/ 1839174 h 7882"/>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3690" h="7882">
                  <a:moveTo>
                    <a:pt x="2604" y="6496"/>
                  </a:moveTo>
                  <a:lnTo>
                    <a:pt x="2604" y="3953"/>
                  </a:lnTo>
                  <a:lnTo>
                    <a:pt x="1619" y="4326"/>
                  </a:lnTo>
                  <a:cubicBezTo>
                    <a:pt x="1219" y="4483"/>
                    <a:pt x="1090" y="4683"/>
                    <a:pt x="1090" y="5125"/>
                  </a:cubicBezTo>
                  <a:lnTo>
                    <a:pt x="1090" y="6296"/>
                  </a:lnTo>
                  <a:cubicBezTo>
                    <a:pt x="1090" y="6667"/>
                    <a:pt x="1276" y="6852"/>
                    <a:pt x="1619" y="6852"/>
                  </a:cubicBezTo>
                  <a:cubicBezTo>
                    <a:pt x="1947" y="6852"/>
                    <a:pt x="2247" y="6738"/>
                    <a:pt x="2604" y="6496"/>
                  </a:cubicBezTo>
                  <a:close/>
                  <a:moveTo>
                    <a:pt x="6" y="5110"/>
                  </a:moveTo>
                  <a:cubicBezTo>
                    <a:pt x="6" y="4155"/>
                    <a:pt x="320" y="3769"/>
                    <a:pt x="1147" y="3484"/>
                  </a:cubicBezTo>
                  <a:lnTo>
                    <a:pt x="2604" y="2984"/>
                  </a:lnTo>
                  <a:lnTo>
                    <a:pt x="2604" y="1699"/>
                  </a:lnTo>
                  <a:cubicBezTo>
                    <a:pt x="2604" y="1242"/>
                    <a:pt x="2375" y="999"/>
                    <a:pt x="1918" y="999"/>
                  </a:cubicBezTo>
                  <a:lnTo>
                    <a:pt x="1742" y="999"/>
                  </a:lnTo>
                  <a:cubicBezTo>
                    <a:pt x="1285" y="999"/>
                    <a:pt x="1056" y="1242"/>
                    <a:pt x="1056" y="1699"/>
                  </a:cubicBezTo>
                  <a:lnTo>
                    <a:pt x="1056" y="2791"/>
                  </a:lnTo>
                  <a:lnTo>
                    <a:pt x="0" y="2791"/>
                  </a:lnTo>
                  <a:lnTo>
                    <a:pt x="0" y="1742"/>
                  </a:lnTo>
                  <a:cubicBezTo>
                    <a:pt x="0" y="585"/>
                    <a:pt x="586" y="0"/>
                    <a:pt x="1742" y="0"/>
                  </a:cubicBezTo>
                  <a:lnTo>
                    <a:pt x="1947" y="0"/>
                  </a:lnTo>
                  <a:cubicBezTo>
                    <a:pt x="3104" y="0"/>
                    <a:pt x="3689" y="585"/>
                    <a:pt x="3689" y="1742"/>
                  </a:cubicBezTo>
                  <a:lnTo>
                    <a:pt x="3689" y="7795"/>
                  </a:lnTo>
                  <a:lnTo>
                    <a:pt x="2604" y="7795"/>
                  </a:lnTo>
                  <a:lnTo>
                    <a:pt x="2604" y="7309"/>
                  </a:lnTo>
                  <a:cubicBezTo>
                    <a:pt x="2304" y="7595"/>
                    <a:pt x="1904" y="7881"/>
                    <a:pt x="1276" y="7881"/>
                  </a:cubicBezTo>
                  <a:cubicBezTo>
                    <a:pt x="406" y="7881"/>
                    <a:pt x="6" y="7381"/>
                    <a:pt x="6" y="6524"/>
                  </a:cubicBezTo>
                  <a:lnTo>
                    <a:pt x="6" y="5110"/>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endParaRPr lang="en-US"/>
            </a:p>
          </p:txBody>
        </p:sp>
        <p:sp>
          <p:nvSpPr>
            <p:cNvPr id="10" name="Freeform 4">
              <a:extLst>
                <a:ext uri="{FF2B5EF4-FFF2-40B4-BE49-F238E27FC236}">
                  <a16:creationId xmlns:a16="http://schemas.microsoft.com/office/drawing/2014/main" id="{65D3B93F-03EC-009F-2E84-CCE803D7779B}"/>
                </a:ext>
              </a:extLst>
            </p:cNvPr>
            <p:cNvSpPr>
              <a:spLocks noChangeArrowheads="1"/>
            </p:cNvSpPr>
            <p:nvPr/>
          </p:nvSpPr>
          <p:spPr bwMode="auto">
            <a:xfrm>
              <a:off x="6292850" y="2035175"/>
              <a:ext cx="2262188" cy="2806700"/>
            </a:xfrm>
            <a:custGeom>
              <a:avLst/>
              <a:gdLst>
                <a:gd name="T0" fmla="*/ 1326358 w 6285"/>
                <a:gd name="T1" fmla="*/ 2806340 h 7796"/>
                <a:gd name="T2" fmla="*/ 935470 w 6285"/>
                <a:gd name="T3" fmla="*/ 2806340 h 7796"/>
                <a:gd name="T4" fmla="*/ 935470 w 6285"/>
                <a:gd name="T5" fmla="*/ 570628 h 7796"/>
                <a:gd name="T6" fmla="*/ 750463 w 6285"/>
                <a:gd name="T7" fmla="*/ 370098 h 7796"/>
                <a:gd name="T8" fmla="*/ 390889 w 6285"/>
                <a:gd name="T9" fmla="*/ 508705 h 7796"/>
                <a:gd name="T10" fmla="*/ 390889 w 6285"/>
                <a:gd name="T11" fmla="*/ 2806340 h 7796"/>
                <a:gd name="T12" fmla="*/ 0 w 6285"/>
                <a:gd name="T13" fmla="*/ 2806340 h 7796"/>
                <a:gd name="T14" fmla="*/ 0 w 6285"/>
                <a:gd name="T15" fmla="*/ 30602 h 7796"/>
                <a:gd name="T16" fmla="*/ 390889 w 6285"/>
                <a:gd name="T17" fmla="*/ 30602 h 7796"/>
                <a:gd name="T18" fmla="*/ 390889 w 6285"/>
                <a:gd name="T19" fmla="*/ 210611 h 7796"/>
                <a:gd name="T20" fmla="*/ 868882 w 6285"/>
                <a:gd name="T21" fmla="*/ 0 h 7796"/>
                <a:gd name="T22" fmla="*/ 1274888 w 6285"/>
                <a:gd name="T23" fmla="*/ 226091 h 7796"/>
                <a:gd name="T24" fmla="*/ 1804351 w 6285"/>
                <a:gd name="T25" fmla="*/ 0 h 7796"/>
                <a:gd name="T26" fmla="*/ 2261828 w 6285"/>
                <a:gd name="T27" fmla="*/ 488184 h 7796"/>
                <a:gd name="T28" fmla="*/ 2261828 w 6285"/>
                <a:gd name="T29" fmla="*/ 2806340 h 7796"/>
                <a:gd name="T30" fmla="*/ 1870939 w 6285"/>
                <a:gd name="T31" fmla="*/ 2806340 h 7796"/>
                <a:gd name="T32" fmla="*/ 1870939 w 6285"/>
                <a:gd name="T33" fmla="*/ 570628 h 7796"/>
                <a:gd name="T34" fmla="*/ 1685933 w 6285"/>
                <a:gd name="T35" fmla="*/ 370098 h 7796"/>
                <a:gd name="T36" fmla="*/ 1326358 w 6285"/>
                <a:gd name="T37" fmla="*/ 508705 h 7796"/>
                <a:gd name="T38" fmla="*/ 1326358 w 6285"/>
                <a:gd name="T39" fmla="*/ 2806340 h 779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6285" h="7796">
                  <a:moveTo>
                    <a:pt x="3685" y="7795"/>
                  </a:moveTo>
                  <a:lnTo>
                    <a:pt x="2599" y="7795"/>
                  </a:lnTo>
                  <a:lnTo>
                    <a:pt x="2599" y="1585"/>
                  </a:lnTo>
                  <a:cubicBezTo>
                    <a:pt x="2599" y="1199"/>
                    <a:pt x="2414" y="1028"/>
                    <a:pt x="2085" y="1028"/>
                  </a:cubicBezTo>
                  <a:cubicBezTo>
                    <a:pt x="1785" y="1028"/>
                    <a:pt x="1471" y="1142"/>
                    <a:pt x="1086" y="1413"/>
                  </a:cubicBezTo>
                  <a:lnTo>
                    <a:pt x="1086" y="7795"/>
                  </a:lnTo>
                  <a:lnTo>
                    <a:pt x="0" y="7795"/>
                  </a:lnTo>
                  <a:lnTo>
                    <a:pt x="0" y="85"/>
                  </a:lnTo>
                  <a:lnTo>
                    <a:pt x="1086" y="85"/>
                  </a:lnTo>
                  <a:lnTo>
                    <a:pt x="1086" y="585"/>
                  </a:lnTo>
                  <a:cubicBezTo>
                    <a:pt x="1400" y="285"/>
                    <a:pt x="1814" y="0"/>
                    <a:pt x="2414" y="0"/>
                  </a:cubicBezTo>
                  <a:cubicBezTo>
                    <a:pt x="2971" y="0"/>
                    <a:pt x="3342" y="228"/>
                    <a:pt x="3542" y="628"/>
                  </a:cubicBezTo>
                  <a:cubicBezTo>
                    <a:pt x="3928" y="299"/>
                    <a:pt x="4385" y="0"/>
                    <a:pt x="5013" y="0"/>
                  </a:cubicBezTo>
                  <a:cubicBezTo>
                    <a:pt x="5855" y="0"/>
                    <a:pt x="6284" y="514"/>
                    <a:pt x="6284" y="1356"/>
                  </a:cubicBezTo>
                  <a:lnTo>
                    <a:pt x="6284" y="7795"/>
                  </a:lnTo>
                  <a:lnTo>
                    <a:pt x="5198" y="7795"/>
                  </a:lnTo>
                  <a:lnTo>
                    <a:pt x="5198" y="1585"/>
                  </a:lnTo>
                  <a:cubicBezTo>
                    <a:pt x="5198" y="1199"/>
                    <a:pt x="5013" y="1028"/>
                    <a:pt x="4684" y="1028"/>
                  </a:cubicBezTo>
                  <a:cubicBezTo>
                    <a:pt x="4385" y="1028"/>
                    <a:pt x="4070" y="1142"/>
                    <a:pt x="3685" y="1413"/>
                  </a:cubicBezTo>
                  <a:lnTo>
                    <a:pt x="3685" y="7795"/>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endParaRPr lang="en-US"/>
            </a:p>
          </p:txBody>
        </p:sp>
        <p:sp>
          <p:nvSpPr>
            <p:cNvPr id="11" name="Freeform 5">
              <a:extLst>
                <a:ext uri="{FF2B5EF4-FFF2-40B4-BE49-F238E27FC236}">
                  <a16:creationId xmlns:a16="http://schemas.microsoft.com/office/drawing/2014/main" id="{0F6B5EE9-656D-FAEC-39A9-CC7D30021F07}"/>
                </a:ext>
              </a:extLst>
            </p:cNvPr>
            <p:cNvSpPr>
              <a:spLocks noChangeArrowheads="1"/>
            </p:cNvSpPr>
            <p:nvPr/>
          </p:nvSpPr>
          <p:spPr bwMode="auto">
            <a:xfrm>
              <a:off x="14288" y="2322513"/>
              <a:ext cx="1004887" cy="2274887"/>
            </a:xfrm>
            <a:custGeom>
              <a:avLst/>
              <a:gdLst>
                <a:gd name="T0" fmla="*/ 1004527 w 2790"/>
                <a:gd name="T1" fmla="*/ 0 h 6317"/>
                <a:gd name="T2" fmla="*/ 1004527 w 2790"/>
                <a:gd name="T3" fmla="*/ 510652 h 6317"/>
                <a:gd name="T4" fmla="*/ 346488 w 2790"/>
                <a:gd name="T5" fmla="*/ 1137624 h 6317"/>
                <a:gd name="T6" fmla="*/ 1004527 w 2790"/>
                <a:gd name="T7" fmla="*/ 1752711 h 6317"/>
                <a:gd name="T8" fmla="*/ 1004527 w 2790"/>
                <a:gd name="T9" fmla="*/ 2274527 h 6317"/>
                <a:gd name="T10" fmla="*/ 0 w 2790"/>
                <a:gd name="T11" fmla="*/ 1331009 h 6317"/>
                <a:gd name="T12" fmla="*/ 0 w 2790"/>
                <a:gd name="T13" fmla="*/ 955042 h 6317"/>
                <a:gd name="T14" fmla="*/ 1004527 w 2790"/>
                <a:gd name="T15" fmla="*/ 0 h 6317"/>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2790" h="6317">
                  <a:moveTo>
                    <a:pt x="2789" y="0"/>
                  </a:moveTo>
                  <a:lnTo>
                    <a:pt x="2789" y="1418"/>
                  </a:lnTo>
                  <a:lnTo>
                    <a:pt x="962" y="3159"/>
                  </a:lnTo>
                  <a:lnTo>
                    <a:pt x="2789" y="4867"/>
                  </a:lnTo>
                  <a:lnTo>
                    <a:pt x="2789" y="6316"/>
                  </a:lnTo>
                  <a:lnTo>
                    <a:pt x="0" y="3696"/>
                  </a:lnTo>
                  <a:lnTo>
                    <a:pt x="0" y="2652"/>
                  </a:lnTo>
                  <a:lnTo>
                    <a:pt x="2789"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endParaRPr lang="en-US"/>
            </a:p>
          </p:txBody>
        </p:sp>
        <p:sp>
          <p:nvSpPr>
            <p:cNvPr id="12" name="Freeform 6">
              <a:extLst>
                <a:ext uri="{FF2B5EF4-FFF2-40B4-BE49-F238E27FC236}">
                  <a16:creationId xmlns:a16="http://schemas.microsoft.com/office/drawing/2014/main" id="{EF641EC1-1304-0F0C-F776-589D3BDC6A97}"/>
                </a:ext>
              </a:extLst>
            </p:cNvPr>
            <p:cNvSpPr>
              <a:spLocks noChangeArrowheads="1"/>
            </p:cNvSpPr>
            <p:nvPr/>
          </p:nvSpPr>
          <p:spPr bwMode="auto">
            <a:xfrm>
              <a:off x="9050338" y="2322513"/>
              <a:ext cx="1003300" cy="2274887"/>
            </a:xfrm>
            <a:custGeom>
              <a:avLst/>
              <a:gdLst>
                <a:gd name="T0" fmla="*/ 1002940 w 2789"/>
                <a:gd name="T1" fmla="*/ 955042 h 6317"/>
                <a:gd name="T2" fmla="*/ 1002940 w 2789"/>
                <a:gd name="T3" fmla="*/ 1331009 h 6317"/>
                <a:gd name="T4" fmla="*/ 0 w 2789"/>
                <a:gd name="T5" fmla="*/ 2274527 h 6317"/>
                <a:gd name="T6" fmla="*/ 0 w 2789"/>
                <a:gd name="T7" fmla="*/ 1752711 h 6317"/>
                <a:gd name="T8" fmla="*/ 656876 w 2789"/>
                <a:gd name="T9" fmla="*/ 1137624 h 6317"/>
                <a:gd name="T10" fmla="*/ 0 w 2789"/>
                <a:gd name="T11" fmla="*/ 510652 h 6317"/>
                <a:gd name="T12" fmla="*/ 0 w 2789"/>
                <a:gd name="T13" fmla="*/ 0 h 6317"/>
                <a:gd name="T14" fmla="*/ 1002940 w 2789"/>
                <a:gd name="T15" fmla="*/ 955042 h 6317"/>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2789" h="6317">
                  <a:moveTo>
                    <a:pt x="2788" y="2652"/>
                  </a:moveTo>
                  <a:lnTo>
                    <a:pt x="2788" y="3696"/>
                  </a:lnTo>
                  <a:lnTo>
                    <a:pt x="0" y="6316"/>
                  </a:lnTo>
                  <a:lnTo>
                    <a:pt x="0" y="4867"/>
                  </a:lnTo>
                  <a:lnTo>
                    <a:pt x="1826" y="3159"/>
                  </a:lnTo>
                  <a:lnTo>
                    <a:pt x="0" y="1418"/>
                  </a:lnTo>
                  <a:lnTo>
                    <a:pt x="0" y="0"/>
                  </a:lnTo>
                  <a:lnTo>
                    <a:pt x="2788" y="2652"/>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endParaRPr lang="en-US"/>
            </a:p>
          </p:txBody>
        </p:sp>
      </p:grpSp>
      <p:sp>
        <p:nvSpPr>
          <p:cNvPr id="13" name="Footer Placeholder 14">
            <a:extLst>
              <a:ext uri="{FF2B5EF4-FFF2-40B4-BE49-F238E27FC236}">
                <a16:creationId xmlns:a16="http://schemas.microsoft.com/office/drawing/2014/main" id="{FC80093A-BAD2-643E-A63B-C5095F499EDA}"/>
              </a:ext>
            </a:extLst>
          </p:cNvPr>
          <p:cNvSpPr txBox="1">
            <a:spLocks/>
          </p:cNvSpPr>
          <p:nvPr userDrawn="1"/>
        </p:nvSpPr>
        <p:spPr>
          <a:xfrm>
            <a:off x="1206203" y="6411603"/>
            <a:ext cx="2157779" cy="228599"/>
          </a:xfrm>
          <a:prstGeom prst="rect">
            <a:avLst/>
          </a:prstGeom>
        </p:spPr>
        <p:txBody>
          <a:bodyPr vert="horz" lIns="0" tIns="0" rIns="0" bIns="0" rtlCol="0" anchor="ctr"/>
          <a:lstStyle>
            <a:defPPr>
              <a:defRPr lang="en-US"/>
            </a:defPPr>
            <a:lvl1pPr marL="0" algn="r" defTabSz="914400" rtl="0" eaLnBrk="1" latinLnBrk="0" hangingPunct="1">
              <a:defRPr sz="600" b="0" i="0" kern="1200">
                <a:solidFill>
                  <a:schemeClr val="tx1"/>
                </a:solidFill>
                <a:latin typeface="+mn-lt"/>
                <a:ea typeface="Calibri" panose="020F0502020204030204" pitchFamily="34" charset="0"/>
                <a:cs typeface="Calibri" panose="020F050202020403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b="0" i="0">
                <a:solidFill>
                  <a:schemeClr val="bg1"/>
                </a:solidFill>
                <a:latin typeface="+mn-lt"/>
              </a:rPr>
              <a:t>EPAM Proprietary &amp; Confidential</a:t>
            </a:r>
            <a:r>
              <a:rPr lang="ru-RU" b="0" i="0">
                <a:solidFill>
                  <a:schemeClr val="bg1"/>
                </a:solidFill>
                <a:latin typeface="+mn-lt"/>
              </a:rPr>
              <a:t> </a:t>
            </a:r>
            <a:endParaRPr lang="en-US" b="0" i="0">
              <a:solidFill>
                <a:schemeClr val="bg1"/>
              </a:solidFill>
              <a:latin typeface="+mn-lt"/>
            </a:endParaRPr>
          </a:p>
        </p:txBody>
      </p:sp>
      <p:pic>
        <p:nvPicPr>
          <p:cNvPr id="16" name="Graphic 15">
            <a:extLst>
              <a:ext uri="{FF2B5EF4-FFF2-40B4-BE49-F238E27FC236}">
                <a16:creationId xmlns:a16="http://schemas.microsoft.com/office/drawing/2014/main" id="{EE33A9C9-D696-102B-1C47-58B47603291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820266" y="6419060"/>
            <a:ext cx="762921" cy="205636"/>
          </a:xfrm>
          <a:prstGeom prst="rect">
            <a:avLst/>
          </a:prstGeom>
        </p:spPr>
      </p:pic>
    </p:spTree>
    <p:extLst>
      <p:ext uri="{BB962C8B-B14F-4D97-AF65-F5344CB8AC3E}">
        <p14:creationId xmlns:p14="http://schemas.microsoft.com/office/powerpoint/2010/main" val="1641746538"/>
      </p:ext>
    </p:extLst>
  </p:cSld>
  <p:clrMapOvr>
    <a:masterClrMapping/>
  </p:clrMapOvr>
  <p:extLst>
    <p:ext uri="{DCECCB84-F9BA-43D5-87BE-67443E8EF086}">
      <p15:sldGuideLst xmlns:p15="http://schemas.microsoft.com/office/powerpoint/2012/main"/>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3 columns+photos_LM">
    <p:bg>
      <p:bgPr>
        <a:solidFill>
          <a:schemeClr val="bg1"/>
        </a:solidFill>
        <a:effectLst/>
      </p:bgPr>
    </p:bg>
    <p:spTree>
      <p:nvGrpSpPr>
        <p:cNvPr id="1" name=""/>
        <p:cNvGrpSpPr/>
        <p:nvPr/>
      </p:nvGrpSpPr>
      <p:grpSpPr>
        <a:xfrm>
          <a:off x="0" y="0"/>
          <a:ext cx="0" cy="0"/>
          <a:chOff x="0" y="0"/>
          <a:chExt cx="0" cy="0"/>
        </a:xfrm>
      </p:grpSpPr>
      <p:sp>
        <p:nvSpPr>
          <p:cNvPr id="7" name="Text Placeholder 4">
            <a:extLst>
              <a:ext uri="{FF2B5EF4-FFF2-40B4-BE49-F238E27FC236}">
                <a16:creationId xmlns:a16="http://schemas.microsoft.com/office/drawing/2014/main" id="{7F0AAB83-32F0-44B8-4EEF-5A03F77A747E}"/>
              </a:ext>
            </a:extLst>
          </p:cNvPr>
          <p:cNvSpPr>
            <a:spLocks noGrp="1"/>
          </p:cNvSpPr>
          <p:nvPr>
            <p:ph type="body" sz="quarter" idx="16" hasCustomPrompt="1"/>
          </p:nvPr>
        </p:nvSpPr>
        <p:spPr>
          <a:xfrm>
            <a:off x="647700" y="4671155"/>
            <a:ext cx="3346076" cy="1522148"/>
          </a:xfrm>
          <a:prstGeom prst="rect">
            <a:avLst/>
          </a:prstGeom>
        </p:spPr>
        <p:txBody>
          <a:bodyPr wrap="square" anchor="t" anchorCtr="0">
            <a:spAutoFit/>
          </a:bodyPr>
          <a:lstStyle>
            <a:lvl1pPr marL="0" marR="0" indent="0" algn="l" defTabSz="914400" rtl="0" eaLnBrk="1" fontAlgn="auto" latinLnBrk="0" hangingPunct="1">
              <a:lnSpc>
                <a:spcPts val="2000"/>
              </a:lnSpc>
              <a:spcBef>
                <a:spcPts val="600"/>
              </a:spcBef>
              <a:spcAft>
                <a:spcPts val="0"/>
              </a:spcAft>
              <a:buClrTx/>
              <a:buSzTx/>
              <a:buFont typeface="Arial" panose="020B0604020202020204" pitchFamily="34" charset="0"/>
              <a:buNone/>
              <a:tabLst/>
              <a:defRPr sz="1400" b="0" i="0">
                <a:solidFill>
                  <a:schemeClr val="tx1"/>
                </a:solidFill>
                <a:latin typeface="Calibri Light" panose="020F0302020204030204" pitchFamily="34" charset="0"/>
                <a:cs typeface="Calibri Light" panose="020F0302020204030204" pitchFamily="34" charset="0"/>
              </a:defRPr>
            </a:lvl1pPr>
          </a:lstStyle>
          <a:p>
            <a:r>
              <a:rPr lang="en-US"/>
              <a:t>Lorem ipsum </a:t>
            </a:r>
            <a:r>
              <a:rPr lang="en-US" err="1"/>
              <a:t>nulla</a:t>
            </a:r>
            <a:r>
              <a:rPr lang="en-US"/>
              <a:t> </a:t>
            </a:r>
            <a:r>
              <a:rPr lang="en-US" err="1"/>
              <a:t>primis</a:t>
            </a:r>
            <a:r>
              <a:rPr lang="en-US"/>
              <a:t> eros mi </a:t>
            </a:r>
            <a:r>
              <a:rPr lang="en-US" err="1"/>
              <a:t>maecenas</a:t>
            </a:r>
            <a:r>
              <a:rPr lang="en-US"/>
              <a:t> ligula magna, </a:t>
            </a:r>
            <a:r>
              <a:rPr lang="en-US" err="1"/>
              <a:t>nibh</a:t>
            </a:r>
            <a:r>
              <a:rPr lang="en-US"/>
              <a:t> </a:t>
            </a:r>
            <a:r>
              <a:rPr lang="en-US" err="1"/>
              <a:t>commodo</a:t>
            </a:r>
            <a:r>
              <a:rPr lang="en-US"/>
              <a:t> </a:t>
            </a:r>
            <a:r>
              <a:rPr lang="en-US" err="1"/>
              <a:t>aenean</a:t>
            </a:r>
            <a:r>
              <a:rPr lang="en-US"/>
              <a:t> </a:t>
            </a:r>
            <a:r>
              <a:rPr lang="en-US" err="1"/>
              <a:t>leo</a:t>
            </a:r>
            <a:r>
              <a:rPr lang="en-US"/>
              <a:t> porta </a:t>
            </a:r>
            <a:r>
              <a:rPr lang="en-US" err="1"/>
              <a:t>duis</a:t>
            </a:r>
            <a:r>
              <a:rPr lang="en-US"/>
              <a:t> magna </a:t>
            </a:r>
            <a:r>
              <a:rPr lang="en-US" err="1"/>
              <a:t>felis</a:t>
            </a:r>
            <a:r>
              <a:rPr lang="en-US"/>
              <a:t> </a:t>
            </a:r>
            <a:r>
              <a:rPr lang="en-US" err="1"/>
              <a:t>bibendum</a:t>
            </a:r>
            <a:r>
              <a:rPr lang="en-US"/>
              <a:t> </a:t>
            </a:r>
            <a:r>
              <a:rPr lang="en-US" err="1"/>
              <a:t>tempor</a:t>
            </a:r>
            <a:r>
              <a:rPr lang="en-US"/>
              <a:t> </a:t>
            </a:r>
            <a:r>
              <a:rPr lang="en-US" err="1"/>
              <a:t>cubilia</a:t>
            </a:r>
            <a:r>
              <a:rPr lang="en-US"/>
              <a:t> gravida </a:t>
            </a:r>
            <a:r>
              <a:rPr lang="en-US" err="1"/>
              <a:t>molestie</a:t>
            </a:r>
            <a:r>
              <a:rPr lang="en-US"/>
              <a:t> a </a:t>
            </a:r>
            <a:r>
              <a:rPr lang="en-US" err="1"/>
              <a:t>pretium</a:t>
            </a:r>
            <a:r>
              <a:rPr lang="en-US"/>
              <a:t> </a:t>
            </a:r>
            <a:r>
              <a:rPr lang="en-US" err="1"/>
              <a:t>egestas</a:t>
            </a:r>
            <a:r>
              <a:rPr lang="en-US"/>
              <a:t> </a:t>
            </a:r>
            <a:r>
              <a:rPr lang="en-US" err="1"/>
              <a:t>iaculis</a:t>
            </a:r>
            <a:r>
              <a:rPr lang="en-US"/>
              <a:t> per, eros sit </a:t>
            </a:r>
            <a:r>
              <a:rPr lang="en-US" err="1"/>
              <a:t>leo</a:t>
            </a:r>
            <a:r>
              <a:rPr lang="en-US"/>
              <a:t> </a:t>
            </a:r>
            <a:r>
              <a:rPr lang="en-US" err="1"/>
              <a:t>augue</a:t>
            </a:r>
            <a:r>
              <a:rPr lang="en-US"/>
              <a:t> tempus </a:t>
            </a:r>
            <a:r>
              <a:rPr lang="en-US" err="1"/>
              <a:t>consectetur</a:t>
            </a:r>
            <a:r>
              <a:rPr lang="en-US"/>
              <a:t> </a:t>
            </a:r>
            <a:r>
              <a:rPr lang="en-US" err="1"/>
              <a:t>primis</a:t>
            </a:r>
            <a:r>
              <a:rPr lang="en-US"/>
              <a:t> dolor ac </a:t>
            </a:r>
            <a:r>
              <a:rPr lang="en-US" err="1"/>
              <a:t>euismod</a:t>
            </a:r>
            <a:r>
              <a:rPr lang="en-US"/>
              <a:t> </a:t>
            </a:r>
            <a:r>
              <a:rPr lang="en-US" err="1"/>
              <a:t>accumsan</a:t>
            </a:r>
            <a:r>
              <a:rPr lang="en-US"/>
              <a:t>, </a:t>
            </a:r>
            <a:r>
              <a:rPr lang="en-US" err="1"/>
              <a:t>vivamus</a:t>
            </a:r>
            <a:r>
              <a:rPr lang="en-US"/>
              <a:t> </a:t>
            </a:r>
            <a:r>
              <a:rPr lang="en-US" err="1"/>
              <a:t>feugiat</a:t>
            </a:r>
            <a:r>
              <a:rPr lang="en-US"/>
              <a:t>.</a:t>
            </a:r>
          </a:p>
        </p:txBody>
      </p:sp>
      <p:sp>
        <p:nvSpPr>
          <p:cNvPr id="9" name="Text Placeholder 4">
            <a:extLst>
              <a:ext uri="{FF2B5EF4-FFF2-40B4-BE49-F238E27FC236}">
                <a16:creationId xmlns:a16="http://schemas.microsoft.com/office/drawing/2014/main" id="{DBBECED4-4691-EAD7-0FFE-7393254BBDC9}"/>
              </a:ext>
            </a:extLst>
          </p:cNvPr>
          <p:cNvSpPr>
            <a:spLocks noGrp="1"/>
          </p:cNvSpPr>
          <p:nvPr>
            <p:ph type="body" sz="quarter" idx="26" hasCustomPrompt="1"/>
          </p:nvPr>
        </p:nvSpPr>
        <p:spPr>
          <a:xfrm>
            <a:off x="647700" y="3880520"/>
            <a:ext cx="3346076" cy="553998"/>
          </a:xfrm>
          <a:prstGeom prst="rect">
            <a:avLst/>
          </a:prstGeom>
        </p:spPr>
        <p:txBody>
          <a:bodyPr wrap="square" anchor="t" anchorCtr="0">
            <a:spAutoFit/>
          </a:bodyPr>
          <a:lstStyle>
            <a:lvl1pPr marL="0" marR="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sz="1800" b="1" i="0">
                <a:solidFill>
                  <a:schemeClr val="tx1"/>
                </a:solidFill>
                <a:latin typeface="Calibri" panose="020F0502020204030204" pitchFamily="34" charset="0"/>
                <a:cs typeface="Calibri" panose="020F0502020204030204" pitchFamily="34" charset="0"/>
              </a:defRPr>
            </a:lvl1pPr>
          </a:lstStyle>
          <a:p>
            <a:r>
              <a:rPr lang="en-US"/>
              <a:t>Lorem ipsum </a:t>
            </a:r>
            <a:r>
              <a:rPr lang="en-US" err="1"/>
              <a:t>nulla</a:t>
            </a:r>
            <a:r>
              <a:rPr lang="en-US"/>
              <a:t> </a:t>
            </a:r>
            <a:r>
              <a:rPr lang="en-US" err="1"/>
              <a:t>primis</a:t>
            </a:r>
            <a:r>
              <a:rPr lang="en-US"/>
              <a:t> eros mi </a:t>
            </a:r>
            <a:r>
              <a:rPr lang="en-US" err="1"/>
              <a:t>maecenas</a:t>
            </a:r>
            <a:r>
              <a:rPr lang="en-US"/>
              <a:t> ligula magna.</a:t>
            </a:r>
          </a:p>
        </p:txBody>
      </p:sp>
      <p:sp>
        <p:nvSpPr>
          <p:cNvPr id="2" name="Picture Placeholder 3">
            <a:extLst>
              <a:ext uri="{FF2B5EF4-FFF2-40B4-BE49-F238E27FC236}">
                <a16:creationId xmlns:a16="http://schemas.microsoft.com/office/drawing/2014/main" id="{A4DF3F84-AB7D-CCBF-CE9C-8622CDB3301D}"/>
              </a:ext>
            </a:extLst>
          </p:cNvPr>
          <p:cNvSpPr>
            <a:spLocks noGrp="1"/>
          </p:cNvSpPr>
          <p:nvPr>
            <p:ph type="pic" sz="quarter" idx="31"/>
          </p:nvPr>
        </p:nvSpPr>
        <p:spPr>
          <a:xfrm>
            <a:off x="647699" y="1726692"/>
            <a:ext cx="3361476" cy="1917192"/>
          </a:xfrm>
          <a:prstGeom prst="rect">
            <a:avLst/>
          </a:prstGeom>
        </p:spPr>
        <p:txBody>
          <a:bodyPr/>
          <a:lstStyle>
            <a:lvl1pPr>
              <a:defRPr>
                <a:solidFill>
                  <a:schemeClr val="tx1"/>
                </a:solidFill>
              </a:defRPr>
            </a:lvl1pPr>
          </a:lstStyle>
          <a:p>
            <a:endParaRPr lang="en-US"/>
          </a:p>
        </p:txBody>
      </p:sp>
      <p:sp>
        <p:nvSpPr>
          <p:cNvPr id="4" name="Text Placeholder 4">
            <a:extLst>
              <a:ext uri="{FF2B5EF4-FFF2-40B4-BE49-F238E27FC236}">
                <a16:creationId xmlns:a16="http://schemas.microsoft.com/office/drawing/2014/main" id="{A5B9E3B6-606B-4386-3178-88031FBF9117}"/>
              </a:ext>
            </a:extLst>
          </p:cNvPr>
          <p:cNvSpPr>
            <a:spLocks noGrp="1"/>
          </p:cNvSpPr>
          <p:nvPr>
            <p:ph type="body" sz="quarter" idx="32" hasCustomPrompt="1"/>
          </p:nvPr>
        </p:nvSpPr>
        <p:spPr>
          <a:xfrm>
            <a:off x="4395217" y="4671155"/>
            <a:ext cx="3346076" cy="1522148"/>
          </a:xfrm>
          <a:prstGeom prst="rect">
            <a:avLst/>
          </a:prstGeom>
        </p:spPr>
        <p:txBody>
          <a:bodyPr wrap="square" anchor="t" anchorCtr="0">
            <a:spAutoFit/>
          </a:bodyPr>
          <a:lstStyle>
            <a:lvl1pPr marL="0" marR="0" indent="0" algn="l" defTabSz="914400" rtl="0" eaLnBrk="1" fontAlgn="auto" latinLnBrk="0" hangingPunct="1">
              <a:lnSpc>
                <a:spcPts val="2000"/>
              </a:lnSpc>
              <a:spcBef>
                <a:spcPts val="600"/>
              </a:spcBef>
              <a:spcAft>
                <a:spcPts val="0"/>
              </a:spcAft>
              <a:buClrTx/>
              <a:buSzTx/>
              <a:buFont typeface="Arial" panose="020B0604020202020204" pitchFamily="34" charset="0"/>
              <a:buNone/>
              <a:tabLst/>
              <a:defRPr sz="1400" b="0" i="0">
                <a:solidFill>
                  <a:schemeClr val="tx1"/>
                </a:solidFill>
                <a:latin typeface="Calibri Light" panose="020F0302020204030204" pitchFamily="34" charset="0"/>
                <a:cs typeface="Calibri Light" panose="020F0302020204030204" pitchFamily="34" charset="0"/>
              </a:defRPr>
            </a:lvl1pPr>
          </a:lstStyle>
          <a:p>
            <a:r>
              <a:rPr lang="en-US"/>
              <a:t>Lorem ipsum </a:t>
            </a:r>
            <a:r>
              <a:rPr lang="en-US" err="1"/>
              <a:t>nulla</a:t>
            </a:r>
            <a:r>
              <a:rPr lang="en-US"/>
              <a:t> </a:t>
            </a:r>
            <a:r>
              <a:rPr lang="en-US" err="1"/>
              <a:t>primis</a:t>
            </a:r>
            <a:r>
              <a:rPr lang="en-US"/>
              <a:t> eros mi </a:t>
            </a:r>
            <a:r>
              <a:rPr lang="en-US" err="1"/>
              <a:t>maecenas</a:t>
            </a:r>
            <a:r>
              <a:rPr lang="en-US"/>
              <a:t> ligula magna, </a:t>
            </a:r>
            <a:r>
              <a:rPr lang="en-US" err="1"/>
              <a:t>nibh</a:t>
            </a:r>
            <a:r>
              <a:rPr lang="en-US"/>
              <a:t> </a:t>
            </a:r>
            <a:r>
              <a:rPr lang="en-US" err="1"/>
              <a:t>commodo</a:t>
            </a:r>
            <a:r>
              <a:rPr lang="en-US"/>
              <a:t> </a:t>
            </a:r>
            <a:r>
              <a:rPr lang="en-US" err="1"/>
              <a:t>aenean</a:t>
            </a:r>
            <a:r>
              <a:rPr lang="en-US"/>
              <a:t> </a:t>
            </a:r>
            <a:r>
              <a:rPr lang="en-US" err="1"/>
              <a:t>leo</a:t>
            </a:r>
            <a:r>
              <a:rPr lang="en-US"/>
              <a:t> porta </a:t>
            </a:r>
            <a:r>
              <a:rPr lang="en-US" err="1"/>
              <a:t>duis</a:t>
            </a:r>
            <a:r>
              <a:rPr lang="en-US"/>
              <a:t> magna </a:t>
            </a:r>
            <a:r>
              <a:rPr lang="en-US" err="1"/>
              <a:t>felis</a:t>
            </a:r>
            <a:r>
              <a:rPr lang="en-US"/>
              <a:t> </a:t>
            </a:r>
            <a:r>
              <a:rPr lang="en-US" err="1"/>
              <a:t>bibendum</a:t>
            </a:r>
            <a:r>
              <a:rPr lang="en-US"/>
              <a:t> </a:t>
            </a:r>
            <a:r>
              <a:rPr lang="en-US" err="1"/>
              <a:t>tempor</a:t>
            </a:r>
            <a:r>
              <a:rPr lang="en-US"/>
              <a:t> </a:t>
            </a:r>
            <a:r>
              <a:rPr lang="en-US" err="1"/>
              <a:t>cubilia</a:t>
            </a:r>
            <a:r>
              <a:rPr lang="en-US"/>
              <a:t> gravida </a:t>
            </a:r>
            <a:r>
              <a:rPr lang="en-US" err="1"/>
              <a:t>molestie</a:t>
            </a:r>
            <a:r>
              <a:rPr lang="en-US"/>
              <a:t> a </a:t>
            </a:r>
            <a:r>
              <a:rPr lang="en-US" err="1"/>
              <a:t>pretium</a:t>
            </a:r>
            <a:r>
              <a:rPr lang="en-US"/>
              <a:t> </a:t>
            </a:r>
            <a:r>
              <a:rPr lang="en-US" err="1"/>
              <a:t>egestas</a:t>
            </a:r>
            <a:r>
              <a:rPr lang="en-US"/>
              <a:t> </a:t>
            </a:r>
            <a:r>
              <a:rPr lang="en-US" err="1"/>
              <a:t>iaculis</a:t>
            </a:r>
            <a:r>
              <a:rPr lang="en-US"/>
              <a:t> per, eros sit </a:t>
            </a:r>
            <a:r>
              <a:rPr lang="en-US" err="1"/>
              <a:t>leo</a:t>
            </a:r>
            <a:r>
              <a:rPr lang="en-US"/>
              <a:t> </a:t>
            </a:r>
            <a:r>
              <a:rPr lang="en-US" err="1"/>
              <a:t>augue</a:t>
            </a:r>
            <a:r>
              <a:rPr lang="en-US"/>
              <a:t> tempus </a:t>
            </a:r>
            <a:r>
              <a:rPr lang="en-US" err="1"/>
              <a:t>consectetur</a:t>
            </a:r>
            <a:r>
              <a:rPr lang="en-US"/>
              <a:t> </a:t>
            </a:r>
            <a:r>
              <a:rPr lang="en-US" err="1"/>
              <a:t>primis</a:t>
            </a:r>
            <a:r>
              <a:rPr lang="en-US"/>
              <a:t> dolor ac </a:t>
            </a:r>
            <a:r>
              <a:rPr lang="en-US" err="1"/>
              <a:t>euismod</a:t>
            </a:r>
            <a:r>
              <a:rPr lang="en-US"/>
              <a:t> </a:t>
            </a:r>
            <a:r>
              <a:rPr lang="en-US" err="1"/>
              <a:t>accumsan</a:t>
            </a:r>
            <a:r>
              <a:rPr lang="en-US"/>
              <a:t>, </a:t>
            </a:r>
            <a:r>
              <a:rPr lang="en-US" err="1"/>
              <a:t>vivamus</a:t>
            </a:r>
            <a:r>
              <a:rPr lang="en-US"/>
              <a:t> </a:t>
            </a:r>
            <a:r>
              <a:rPr lang="en-US" err="1"/>
              <a:t>feugiat</a:t>
            </a:r>
            <a:r>
              <a:rPr lang="en-US"/>
              <a:t>.</a:t>
            </a:r>
          </a:p>
        </p:txBody>
      </p:sp>
      <p:sp>
        <p:nvSpPr>
          <p:cNvPr id="5" name="Text Placeholder 4">
            <a:extLst>
              <a:ext uri="{FF2B5EF4-FFF2-40B4-BE49-F238E27FC236}">
                <a16:creationId xmlns:a16="http://schemas.microsoft.com/office/drawing/2014/main" id="{3E3A954E-DE2D-00F0-C4ED-0008C326ECA3}"/>
              </a:ext>
            </a:extLst>
          </p:cNvPr>
          <p:cNvSpPr>
            <a:spLocks noGrp="1"/>
          </p:cNvSpPr>
          <p:nvPr>
            <p:ph type="body" sz="quarter" idx="33" hasCustomPrompt="1"/>
          </p:nvPr>
        </p:nvSpPr>
        <p:spPr>
          <a:xfrm>
            <a:off x="4395217" y="3880520"/>
            <a:ext cx="3346076" cy="553998"/>
          </a:xfrm>
          <a:prstGeom prst="rect">
            <a:avLst/>
          </a:prstGeom>
        </p:spPr>
        <p:txBody>
          <a:bodyPr wrap="square" anchor="t" anchorCtr="0">
            <a:spAutoFit/>
          </a:bodyPr>
          <a:lstStyle>
            <a:lvl1pPr marL="0" marR="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sz="1800" b="1" i="0">
                <a:solidFill>
                  <a:schemeClr val="tx1"/>
                </a:solidFill>
                <a:latin typeface="Calibri" panose="020F0502020204030204" pitchFamily="34" charset="0"/>
                <a:cs typeface="Calibri" panose="020F0502020204030204" pitchFamily="34" charset="0"/>
              </a:defRPr>
            </a:lvl1pPr>
          </a:lstStyle>
          <a:p>
            <a:r>
              <a:rPr lang="en-US"/>
              <a:t>Lorem ipsum </a:t>
            </a:r>
            <a:r>
              <a:rPr lang="en-US" err="1"/>
              <a:t>nulla</a:t>
            </a:r>
            <a:r>
              <a:rPr lang="en-US"/>
              <a:t> </a:t>
            </a:r>
            <a:r>
              <a:rPr lang="en-US" err="1"/>
              <a:t>primis</a:t>
            </a:r>
            <a:r>
              <a:rPr lang="en-US"/>
              <a:t> eros mi </a:t>
            </a:r>
            <a:r>
              <a:rPr lang="en-US" err="1"/>
              <a:t>maecenas</a:t>
            </a:r>
            <a:r>
              <a:rPr lang="en-US"/>
              <a:t> ligula magna.</a:t>
            </a:r>
          </a:p>
        </p:txBody>
      </p:sp>
      <p:sp>
        <p:nvSpPr>
          <p:cNvPr id="8" name="Picture Placeholder 3">
            <a:extLst>
              <a:ext uri="{FF2B5EF4-FFF2-40B4-BE49-F238E27FC236}">
                <a16:creationId xmlns:a16="http://schemas.microsoft.com/office/drawing/2014/main" id="{197F8596-9B60-0E1E-695B-F159BEA9E3DD}"/>
              </a:ext>
            </a:extLst>
          </p:cNvPr>
          <p:cNvSpPr>
            <a:spLocks noGrp="1"/>
          </p:cNvSpPr>
          <p:nvPr>
            <p:ph type="pic" sz="quarter" idx="34"/>
          </p:nvPr>
        </p:nvSpPr>
        <p:spPr>
          <a:xfrm>
            <a:off x="4395216" y="1726692"/>
            <a:ext cx="3361476" cy="1917192"/>
          </a:xfrm>
          <a:prstGeom prst="rect">
            <a:avLst/>
          </a:prstGeom>
        </p:spPr>
        <p:txBody>
          <a:bodyPr/>
          <a:lstStyle>
            <a:lvl1pPr>
              <a:defRPr>
                <a:solidFill>
                  <a:schemeClr val="tx1"/>
                </a:solidFill>
              </a:defRPr>
            </a:lvl1pPr>
          </a:lstStyle>
          <a:p>
            <a:endParaRPr lang="en-US"/>
          </a:p>
        </p:txBody>
      </p:sp>
      <p:sp>
        <p:nvSpPr>
          <p:cNvPr id="14" name="Text Placeholder 4">
            <a:extLst>
              <a:ext uri="{FF2B5EF4-FFF2-40B4-BE49-F238E27FC236}">
                <a16:creationId xmlns:a16="http://schemas.microsoft.com/office/drawing/2014/main" id="{9BB6C83D-C556-0782-5061-97C7DD672F22}"/>
              </a:ext>
            </a:extLst>
          </p:cNvPr>
          <p:cNvSpPr>
            <a:spLocks noGrp="1"/>
          </p:cNvSpPr>
          <p:nvPr>
            <p:ph type="body" sz="quarter" idx="35" hasCustomPrompt="1"/>
          </p:nvPr>
        </p:nvSpPr>
        <p:spPr>
          <a:xfrm>
            <a:off x="8141209" y="4671155"/>
            <a:ext cx="3346076" cy="1522148"/>
          </a:xfrm>
          <a:prstGeom prst="rect">
            <a:avLst/>
          </a:prstGeom>
        </p:spPr>
        <p:txBody>
          <a:bodyPr wrap="square" anchor="t" anchorCtr="0">
            <a:spAutoFit/>
          </a:bodyPr>
          <a:lstStyle>
            <a:lvl1pPr marL="0" marR="0" indent="0" algn="l" defTabSz="914400" rtl="0" eaLnBrk="1" fontAlgn="auto" latinLnBrk="0" hangingPunct="1">
              <a:lnSpc>
                <a:spcPts val="2000"/>
              </a:lnSpc>
              <a:spcBef>
                <a:spcPts val="600"/>
              </a:spcBef>
              <a:spcAft>
                <a:spcPts val="0"/>
              </a:spcAft>
              <a:buClrTx/>
              <a:buSzTx/>
              <a:buFont typeface="Arial" panose="020B0604020202020204" pitchFamily="34" charset="0"/>
              <a:buNone/>
              <a:tabLst/>
              <a:defRPr sz="1400" b="0" i="0">
                <a:solidFill>
                  <a:schemeClr val="tx1"/>
                </a:solidFill>
                <a:latin typeface="Calibri Light" panose="020F0302020204030204" pitchFamily="34" charset="0"/>
                <a:cs typeface="Calibri Light" panose="020F0302020204030204" pitchFamily="34" charset="0"/>
              </a:defRPr>
            </a:lvl1pPr>
          </a:lstStyle>
          <a:p>
            <a:r>
              <a:rPr lang="en-US"/>
              <a:t>Lorem ipsum </a:t>
            </a:r>
            <a:r>
              <a:rPr lang="en-US" err="1"/>
              <a:t>nulla</a:t>
            </a:r>
            <a:r>
              <a:rPr lang="en-US"/>
              <a:t> </a:t>
            </a:r>
            <a:r>
              <a:rPr lang="en-US" err="1"/>
              <a:t>primis</a:t>
            </a:r>
            <a:r>
              <a:rPr lang="en-US"/>
              <a:t> eros mi </a:t>
            </a:r>
            <a:r>
              <a:rPr lang="en-US" err="1"/>
              <a:t>maecenas</a:t>
            </a:r>
            <a:r>
              <a:rPr lang="en-US"/>
              <a:t> ligula magna, </a:t>
            </a:r>
            <a:r>
              <a:rPr lang="en-US" err="1"/>
              <a:t>nibh</a:t>
            </a:r>
            <a:r>
              <a:rPr lang="en-US"/>
              <a:t> </a:t>
            </a:r>
            <a:r>
              <a:rPr lang="en-US" err="1"/>
              <a:t>commodo</a:t>
            </a:r>
            <a:r>
              <a:rPr lang="en-US"/>
              <a:t> </a:t>
            </a:r>
            <a:r>
              <a:rPr lang="en-US" err="1"/>
              <a:t>aenean</a:t>
            </a:r>
            <a:r>
              <a:rPr lang="en-US"/>
              <a:t> </a:t>
            </a:r>
            <a:r>
              <a:rPr lang="en-US" err="1"/>
              <a:t>leo</a:t>
            </a:r>
            <a:r>
              <a:rPr lang="en-US"/>
              <a:t> porta </a:t>
            </a:r>
            <a:r>
              <a:rPr lang="en-US" err="1"/>
              <a:t>duis</a:t>
            </a:r>
            <a:r>
              <a:rPr lang="en-US"/>
              <a:t> magna </a:t>
            </a:r>
            <a:r>
              <a:rPr lang="en-US" err="1"/>
              <a:t>felis</a:t>
            </a:r>
            <a:r>
              <a:rPr lang="en-US"/>
              <a:t> </a:t>
            </a:r>
            <a:r>
              <a:rPr lang="en-US" err="1"/>
              <a:t>bibendum</a:t>
            </a:r>
            <a:r>
              <a:rPr lang="en-US"/>
              <a:t> </a:t>
            </a:r>
            <a:r>
              <a:rPr lang="en-US" err="1"/>
              <a:t>tempor</a:t>
            </a:r>
            <a:r>
              <a:rPr lang="en-US"/>
              <a:t> </a:t>
            </a:r>
            <a:r>
              <a:rPr lang="en-US" err="1"/>
              <a:t>cubilia</a:t>
            </a:r>
            <a:r>
              <a:rPr lang="en-US"/>
              <a:t> gravida </a:t>
            </a:r>
            <a:r>
              <a:rPr lang="en-US" err="1"/>
              <a:t>molestie</a:t>
            </a:r>
            <a:r>
              <a:rPr lang="en-US"/>
              <a:t> a </a:t>
            </a:r>
            <a:r>
              <a:rPr lang="en-US" err="1"/>
              <a:t>pretium</a:t>
            </a:r>
            <a:r>
              <a:rPr lang="en-US"/>
              <a:t> </a:t>
            </a:r>
            <a:r>
              <a:rPr lang="en-US" err="1"/>
              <a:t>egestas</a:t>
            </a:r>
            <a:r>
              <a:rPr lang="en-US"/>
              <a:t> </a:t>
            </a:r>
            <a:r>
              <a:rPr lang="en-US" err="1"/>
              <a:t>iaculis</a:t>
            </a:r>
            <a:r>
              <a:rPr lang="en-US"/>
              <a:t> per, eros sit </a:t>
            </a:r>
            <a:r>
              <a:rPr lang="en-US" err="1"/>
              <a:t>leo</a:t>
            </a:r>
            <a:r>
              <a:rPr lang="en-US"/>
              <a:t> </a:t>
            </a:r>
            <a:r>
              <a:rPr lang="en-US" err="1"/>
              <a:t>augue</a:t>
            </a:r>
            <a:r>
              <a:rPr lang="en-US"/>
              <a:t> tempus </a:t>
            </a:r>
            <a:r>
              <a:rPr lang="en-US" err="1"/>
              <a:t>consectetur</a:t>
            </a:r>
            <a:r>
              <a:rPr lang="en-US"/>
              <a:t> </a:t>
            </a:r>
            <a:r>
              <a:rPr lang="en-US" err="1"/>
              <a:t>primis</a:t>
            </a:r>
            <a:r>
              <a:rPr lang="en-US"/>
              <a:t> dolor ac </a:t>
            </a:r>
            <a:r>
              <a:rPr lang="en-US" err="1"/>
              <a:t>euismod</a:t>
            </a:r>
            <a:r>
              <a:rPr lang="en-US"/>
              <a:t> </a:t>
            </a:r>
            <a:r>
              <a:rPr lang="en-US" err="1"/>
              <a:t>accumsan</a:t>
            </a:r>
            <a:r>
              <a:rPr lang="en-US"/>
              <a:t>, </a:t>
            </a:r>
            <a:r>
              <a:rPr lang="en-US" err="1"/>
              <a:t>vivamus</a:t>
            </a:r>
            <a:r>
              <a:rPr lang="en-US"/>
              <a:t> </a:t>
            </a:r>
            <a:r>
              <a:rPr lang="en-US" err="1"/>
              <a:t>feugiat</a:t>
            </a:r>
            <a:r>
              <a:rPr lang="en-US"/>
              <a:t>.</a:t>
            </a:r>
          </a:p>
        </p:txBody>
      </p:sp>
      <p:sp>
        <p:nvSpPr>
          <p:cNvPr id="15" name="Text Placeholder 4">
            <a:extLst>
              <a:ext uri="{FF2B5EF4-FFF2-40B4-BE49-F238E27FC236}">
                <a16:creationId xmlns:a16="http://schemas.microsoft.com/office/drawing/2014/main" id="{A4D25C29-AD3E-1278-B083-FCE0D4540152}"/>
              </a:ext>
            </a:extLst>
          </p:cNvPr>
          <p:cNvSpPr>
            <a:spLocks noGrp="1"/>
          </p:cNvSpPr>
          <p:nvPr>
            <p:ph type="body" sz="quarter" idx="36" hasCustomPrompt="1"/>
          </p:nvPr>
        </p:nvSpPr>
        <p:spPr>
          <a:xfrm>
            <a:off x="8141209" y="3880520"/>
            <a:ext cx="3346076" cy="553998"/>
          </a:xfrm>
          <a:prstGeom prst="rect">
            <a:avLst/>
          </a:prstGeom>
        </p:spPr>
        <p:txBody>
          <a:bodyPr wrap="square" anchor="t" anchorCtr="0">
            <a:spAutoFit/>
          </a:bodyPr>
          <a:lstStyle>
            <a:lvl1pPr marL="0" marR="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sz="1800" b="1" i="0">
                <a:solidFill>
                  <a:schemeClr val="tx1"/>
                </a:solidFill>
                <a:latin typeface="Calibri" panose="020F0502020204030204" pitchFamily="34" charset="0"/>
                <a:cs typeface="Calibri" panose="020F0502020204030204" pitchFamily="34" charset="0"/>
              </a:defRPr>
            </a:lvl1pPr>
          </a:lstStyle>
          <a:p>
            <a:r>
              <a:rPr lang="en-US"/>
              <a:t>Lorem ipsum </a:t>
            </a:r>
            <a:r>
              <a:rPr lang="en-US" err="1"/>
              <a:t>nulla</a:t>
            </a:r>
            <a:r>
              <a:rPr lang="en-US"/>
              <a:t> </a:t>
            </a:r>
            <a:r>
              <a:rPr lang="en-US" err="1"/>
              <a:t>primis</a:t>
            </a:r>
            <a:r>
              <a:rPr lang="en-US"/>
              <a:t> eros mi </a:t>
            </a:r>
            <a:r>
              <a:rPr lang="en-US" err="1"/>
              <a:t>maecenas</a:t>
            </a:r>
            <a:r>
              <a:rPr lang="en-US"/>
              <a:t> ligula magna.</a:t>
            </a:r>
          </a:p>
        </p:txBody>
      </p:sp>
      <p:sp>
        <p:nvSpPr>
          <p:cNvPr id="16" name="Picture Placeholder 3">
            <a:extLst>
              <a:ext uri="{FF2B5EF4-FFF2-40B4-BE49-F238E27FC236}">
                <a16:creationId xmlns:a16="http://schemas.microsoft.com/office/drawing/2014/main" id="{66AB8C86-9C9A-0BF1-5545-731713F1DF92}"/>
              </a:ext>
            </a:extLst>
          </p:cNvPr>
          <p:cNvSpPr>
            <a:spLocks noGrp="1"/>
          </p:cNvSpPr>
          <p:nvPr>
            <p:ph type="pic" sz="quarter" idx="37"/>
          </p:nvPr>
        </p:nvSpPr>
        <p:spPr>
          <a:xfrm>
            <a:off x="8141208" y="1726692"/>
            <a:ext cx="3361476" cy="1917192"/>
          </a:xfrm>
          <a:prstGeom prst="rect">
            <a:avLst/>
          </a:prstGeom>
        </p:spPr>
        <p:txBody>
          <a:bodyPr/>
          <a:lstStyle>
            <a:lvl1pPr>
              <a:defRPr>
                <a:solidFill>
                  <a:schemeClr val="tx1"/>
                </a:solidFill>
              </a:defRPr>
            </a:lvl1pPr>
          </a:lstStyle>
          <a:p>
            <a:endParaRPr lang="en-US"/>
          </a:p>
        </p:txBody>
      </p:sp>
      <p:sp>
        <p:nvSpPr>
          <p:cNvPr id="13" name="Title 1">
            <a:extLst>
              <a:ext uri="{FF2B5EF4-FFF2-40B4-BE49-F238E27FC236}">
                <a16:creationId xmlns:a16="http://schemas.microsoft.com/office/drawing/2014/main" id="{B93A80DB-E513-CACD-FC9E-FDC411C1F82B}"/>
              </a:ext>
            </a:extLst>
          </p:cNvPr>
          <p:cNvSpPr>
            <a:spLocks noGrp="1"/>
          </p:cNvSpPr>
          <p:nvPr>
            <p:ph type="title" hasCustomPrompt="1"/>
          </p:nvPr>
        </p:nvSpPr>
        <p:spPr>
          <a:xfrm>
            <a:off x="633632" y="722843"/>
            <a:ext cx="10963056" cy="338554"/>
          </a:xfrm>
          <a:prstGeom prst="rect">
            <a:avLst/>
          </a:prstGeom>
        </p:spPr>
        <p:txBody>
          <a:bodyPr/>
          <a:lstStyle>
            <a:lvl1pPr>
              <a:defRPr lang="en-US" sz="2200" b="1" i="0" kern="1200" spc="0" dirty="0">
                <a:solidFill>
                  <a:schemeClr val="tx1"/>
                </a:solidFill>
                <a:effectLst/>
                <a:latin typeface="+mj-lt"/>
                <a:ea typeface="Calibri" panose="020F0502020204030204" pitchFamily="34" charset="0"/>
                <a:cs typeface="Calibri" panose="020F0502020204030204" pitchFamily="34" charset="0"/>
              </a:defRPr>
            </a:lvl1pPr>
          </a:lstStyle>
          <a:p>
            <a:pPr marL="0" lvl="0" indent="0" algn="l" defTabSz="914400" rtl="0" eaLnBrk="1" latinLnBrk="0" hangingPunct="1">
              <a:lnSpc>
                <a:spcPct val="100000"/>
              </a:lnSpc>
              <a:spcBef>
                <a:spcPts val="0"/>
              </a:spcBef>
              <a:spcAft>
                <a:spcPts val="0"/>
              </a:spcAft>
              <a:buFont typeface="Arial" panose="020B0604020202020204" pitchFamily="34" charset="0"/>
              <a:buNone/>
            </a:pPr>
            <a:r>
              <a:rPr lang="en-US">
                <a:effectLst/>
              </a:rPr>
              <a:t>Title Goes Here</a:t>
            </a:r>
            <a:endParaRPr lang="en-US"/>
          </a:p>
        </p:txBody>
      </p:sp>
      <p:sp>
        <p:nvSpPr>
          <p:cNvPr id="17" name="Text Placeholder 10">
            <a:extLst>
              <a:ext uri="{FF2B5EF4-FFF2-40B4-BE49-F238E27FC236}">
                <a16:creationId xmlns:a16="http://schemas.microsoft.com/office/drawing/2014/main" id="{4F3496D3-1E8A-6F7A-E217-4313185C8D82}"/>
              </a:ext>
            </a:extLst>
          </p:cNvPr>
          <p:cNvSpPr>
            <a:spLocks noGrp="1"/>
          </p:cNvSpPr>
          <p:nvPr>
            <p:ph type="body" sz="quarter" idx="28" hasCustomPrompt="1"/>
          </p:nvPr>
        </p:nvSpPr>
        <p:spPr>
          <a:xfrm>
            <a:off x="633632" y="419100"/>
            <a:ext cx="3611880" cy="225706"/>
          </a:xfrm>
          <a:prstGeom prst="rect">
            <a:avLst/>
          </a:prstGeom>
        </p:spPr>
        <p:txBody>
          <a:bodyPr/>
          <a:lstStyle>
            <a:lvl1pPr>
              <a:spcBef>
                <a:spcPts val="0"/>
              </a:spcBef>
              <a:defRPr lang="en-US" sz="1000" b="0" i="0" kern="1200" cap="all" spc="300" baseline="0" dirty="0">
                <a:solidFill>
                  <a:schemeClr val="tx1"/>
                </a:solidFill>
                <a:latin typeface="Calibri" panose="020F0502020204030204" pitchFamily="34" charset="0"/>
                <a:ea typeface="Calibri" panose="020F0502020204030204" pitchFamily="34" charset="0"/>
                <a:cs typeface="Calibri" panose="020F0502020204030204" pitchFamily="34" charset="0"/>
              </a:defRPr>
            </a:lvl1pPr>
          </a:lstStyle>
          <a:p>
            <a:pPr marL="0" lvl="0" indent="0" algn="l" defTabSz="914400" rtl="0" eaLnBrk="1" latinLnBrk="0" hangingPunct="1">
              <a:lnSpc>
                <a:spcPct val="100000"/>
              </a:lnSpc>
              <a:spcBef>
                <a:spcPts val="600"/>
              </a:spcBef>
              <a:spcAft>
                <a:spcPts val="0"/>
              </a:spcAft>
              <a:buFont typeface="Arial" panose="020B0604020202020204" pitchFamily="34" charset="0"/>
              <a:buNone/>
            </a:pPr>
            <a:r>
              <a:rPr lang="en-US"/>
              <a:t>Click to add section title</a:t>
            </a:r>
          </a:p>
        </p:txBody>
      </p:sp>
    </p:spTree>
    <p:extLst>
      <p:ext uri="{BB962C8B-B14F-4D97-AF65-F5344CB8AC3E}">
        <p14:creationId xmlns:p14="http://schemas.microsoft.com/office/powerpoint/2010/main" val="416399861"/>
      </p:ext>
    </p:extLst>
  </p:cSld>
  <p:clrMapOvr>
    <a:masterClrMapping/>
  </p:clrMapOvr>
  <p:extLst>
    <p:ext uri="{DCECCB84-F9BA-43D5-87BE-67443E8EF086}">
      <p15:sldGuideLst xmlns:p15="http://schemas.microsoft.com/office/powerpoint/2012/main"/>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3 columns+photos">
    <p:bg>
      <p:bgPr>
        <a:solidFill>
          <a:schemeClr val="tx1"/>
        </a:solidFill>
        <a:effectLst/>
      </p:bgPr>
    </p:bg>
    <p:spTree>
      <p:nvGrpSpPr>
        <p:cNvPr id="1" name=""/>
        <p:cNvGrpSpPr/>
        <p:nvPr/>
      </p:nvGrpSpPr>
      <p:grpSpPr>
        <a:xfrm>
          <a:off x="0" y="0"/>
          <a:ext cx="0" cy="0"/>
          <a:chOff x="0" y="0"/>
          <a:chExt cx="0" cy="0"/>
        </a:xfrm>
      </p:grpSpPr>
      <p:sp>
        <p:nvSpPr>
          <p:cNvPr id="7" name="Text Placeholder 4">
            <a:extLst>
              <a:ext uri="{FF2B5EF4-FFF2-40B4-BE49-F238E27FC236}">
                <a16:creationId xmlns:a16="http://schemas.microsoft.com/office/drawing/2014/main" id="{7F0AAB83-32F0-44B8-4EEF-5A03F77A747E}"/>
              </a:ext>
            </a:extLst>
          </p:cNvPr>
          <p:cNvSpPr>
            <a:spLocks noGrp="1"/>
          </p:cNvSpPr>
          <p:nvPr>
            <p:ph type="body" sz="quarter" idx="16" hasCustomPrompt="1"/>
          </p:nvPr>
        </p:nvSpPr>
        <p:spPr>
          <a:xfrm>
            <a:off x="647700" y="4671155"/>
            <a:ext cx="3346076" cy="1522148"/>
          </a:xfrm>
          <a:prstGeom prst="rect">
            <a:avLst/>
          </a:prstGeom>
        </p:spPr>
        <p:txBody>
          <a:bodyPr wrap="square" anchor="t" anchorCtr="0">
            <a:spAutoFit/>
          </a:bodyPr>
          <a:lstStyle>
            <a:lvl1pPr marL="0" marR="0" indent="0" algn="l" defTabSz="914400" rtl="0" eaLnBrk="1" fontAlgn="auto" latinLnBrk="0" hangingPunct="1">
              <a:lnSpc>
                <a:spcPts val="2000"/>
              </a:lnSpc>
              <a:spcBef>
                <a:spcPts val="600"/>
              </a:spcBef>
              <a:spcAft>
                <a:spcPts val="0"/>
              </a:spcAft>
              <a:buClrTx/>
              <a:buSzTx/>
              <a:buFont typeface="Arial" panose="020B0604020202020204" pitchFamily="34" charset="0"/>
              <a:buNone/>
              <a:tabLst/>
              <a:defRPr sz="1400" b="0" i="0">
                <a:solidFill>
                  <a:schemeClr val="bg1"/>
                </a:solidFill>
                <a:latin typeface="Calibri Light" panose="020F0302020204030204" pitchFamily="34" charset="0"/>
                <a:cs typeface="Calibri Light" panose="020F0302020204030204" pitchFamily="34" charset="0"/>
              </a:defRPr>
            </a:lvl1pPr>
          </a:lstStyle>
          <a:p>
            <a:r>
              <a:rPr lang="en-US"/>
              <a:t>Lorem ipsum </a:t>
            </a:r>
            <a:r>
              <a:rPr lang="en-US" err="1"/>
              <a:t>nulla</a:t>
            </a:r>
            <a:r>
              <a:rPr lang="en-US"/>
              <a:t> </a:t>
            </a:r>
            <a:r>
              <a:rPr lang="en-US" err="1"/>
              <a:t>primis</a:t>
            </a:r>
            <a:r>
              <a:rPr lang="en-US"/>
              <a:t> eros mi </a:t>
            </a:r>
            <a:r>
              <a:rPr lang="en-US" err="1"/>
              <a:t>maecenas</a:t>
            </a:r>
            <a:r>
              <a:rPr lang="en-US"/>
              <a:t> ligula magna, </a:t>
            </a:r>
            <a:r>
              <a:rPr lang="en-US" err="1"/>
              <a:t>nibh</a:t>
            </a:r>
            <a:r>
              <a:rPr lang="en-US"/>
              <a:t> </a:t>
            </a:r>
            <a:r>
              <a:rPr lang="en-US" err="1"/>
              <a:t>commodo</a:t>
            </a:r>
            <a:r>
              <a:rPr lang="en-US"/>
              <a:t> </a:t>
            </a:r>
            <a:r>
              <a:rPr lang="en-US" err="1"/>
              <a:t>aenean</a:t>
            </a:r>
            <a:r>
              <a:rPr lang="en-US"/>
              <a:t> </a:t>
            </a:r>
            <a:r>
              <a:rPr lang="en-US" err="1"/>
              <a:t>leo</a:t>
            </a:r>
            <a:r>
              <a:rPr lang="en-US"/>
              <a:t> porta </a:t>
            </a:r>
            <a:r>
              <a:rPr lang="en-US" err="1"/>
              <a:t>duis</a:t>
            </a:r>
            <a:r>
              <a:rPr lang="en-US"/>
              <a:t> magna </a:t>
            </a:r>
            <a:r>
              <a:rPr lang="en-US" err="1"/>
              <a:t>felis</a:t>
            </a:r>
            <a:r>
              <a:rPr lang="en-US"/>
              <a:t> </a:t>
            </a:r>
            <a:r>
              <a:rPr lang="en-US" err="1"/>
              <a:t>bibendum</a:t>
            </a:r>
            <a:r>
              <a:rPr lang="en-US"/>
              <a:t> </a:t>
            </a:r>
            <a:r>
              <a:rPr lang="en-US" err="1"/>
              <a:t>tempor</a:t>
            </a:r>
            <a:r>
              <a:rPr lang="en-US"/>
              <a:t> </a:t>
            </a:r>
            <a:r>
              <a:rPr lang="en-US" err="1"/>
              <a:t>cubilia</a:t>
            </a:r>
            <a:r>
              <a:rPr lang="en-US"/>
              <a:t> gravida </a:t>
            </a:r>
            <a:r>
              <a:rPr lang="en-US" err="1"/>
              <a:t>molestie</a:t>
            </a:r>
            <a:r>
              <a:rPr lang="en-US"/>
              <a:t> a </a:t>
            </a:r>
            <a:r>
              <a:rPr lang="en-US" err="1"/>
              <a:t>pretium</a:t>
            </a:r>
            <a:r>
              <a:rPr lang="en-US"/>
              <a:t> </a:t>
            </a:r>
            <a:r>
              <a:rPr lang="en-US" err="1"/>
              <a:t>egestas</a:t>
            </a:r>
            <a:r>
              <a:rPr lang="en-US"/>
              <a:t> </a:t>
            </a:r>
            <a:r>
              <a:rPr lang="en-US" err="1"/>
              <a:t>iaculis</a:t>
            </a:r>
            <a:r>
              <a:rPr lang="en-US"/>
              <a:t> per, eros sit </a:t>
            </a:r>
            <a:r>
              <a:rPr lang="en-US" err="1"/>
              <a:t>leo</a:t>
            </a:r>
            <a:r>
              <a:rPr lang="en-US"/>
              <a:t> </a:t>
            </a:r>
            <a:r>
              <a:rPr lang="en-US" err="1"/>
              <a:t>augue</a:t>
            </a:r>
            <a:r>
              <a:rPr lang="en-US"/>
              <a:t> tempus </a:t>
            </a:r>
            <a:r>
              <a:rPr lang="en-US" err="1"/>
              <a:t>consectetur</a:t>
            </a:r>
            <a:r>
              <a:rPr lang="en-US"/>
              <a:t> </a:t>
            </a:r>
            <a:r>
              <a:rPr lang="en-US" err="1"/>
              <a:t>primis</a:t>
            </a:r>
            <a:r>
              <a:rPr lang="en-US"/>
              <a:t> dolor ac </a:t>
            </a:r>
            <a:r>
              <a:rPr lang="en-US" err="1"/>
              <a:t>euismod</a:t>
            </a:r>
            <a:r>
              <a:rPr lang="en-US"/>
              <a:t> </a:t>
            </a:r>
            <a:r>
              <a:rPr lang="en-US" err="1"/>
              <a:t>accumsan</a:t>
            </a:r>
            <a:r>
              <a:rPr lang="en-US"/>
              <a:t>, </a:t>
            </a:r>
            <a:r>
              <a:rPr lang="en-US" err="1"/>
              <a:t>vivamus</a:t>
            </a:r>
            <a:r>
              <a:rPr lang="en-US"/>
              <a:t> </a:t>
            </a:r>
            <a:r>
              <a:rPr lang="en-US" err="1"/>
              <a:t>feugiat</a:t>
            </a:r>
            <a:r>
              <a:rPr lang="en-US"/>
              <a:t>.</a:t>
            </a:r>
          </a:p>
        </p:txBody>
      </p:sp>
      <p:sp>
        <p:nvSpPr>
          <p:cNvPr id="9" name="Text Placeholder 4">
            <a:extLst>
              <a:ext uri="{FF2B5EF4-FFF2-40B4-BE49-F238E27FC236}">
                <a16:creationId xmlns:a16="http://schemas.microsoft.com/office/drawing/2014/main" id="{DBBECED4-4691-EAD7-0FFE-7393254BBDC9}"/>
              </a:ext>
            </a:extLst>
          </p:cNvPr>
          <p:cNvSpPr>
            <a:spLocks noGrp="1"/>
          </p:cNvSpPr>
          <p:nvPr>
            <p:ph type="body" sz="quarter" idx="26" hasCustomPrompt="1"/>
          </p:nvPr>
        </p:nvSpPr>
        <p:spPr>
          <a:xfrm>
            <a:off x="647700" y="3880520"/>
            <a:ext cx="3346076" cy="553998"/>
          </a:xfrm>
          <a:prstGeom prst="rect">
            <a:avLst/>
          </a:prstGeom>
        </p:spPr>
        <p:txBody>
          <a:bodyPr wrap="square" anchor="t" anchorCtr="0">
            <a:spAutoFit/>
          </a:bodyPr>
          <a:lstStyle>
            <a:lvl1pPr marL="0" marR="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sz="1800" b="1" i="0">
                <a:solidFill>
                  <a:schemeClr val="bg1"/>
                </a:solidFill>
                <a:latin typeface="Calibri" panose="020F0502020204030204" pitchFamily="34" charset="0"/>
                <a:cs typeface="Calibri" panose="020F0502020204030204" pitchFamily="34" charset="0"/>
              </a:defRPr>
            </a:lvl1pPr>
          </a:lstStyle>
          <a:p>
            <a:r>
              <a:rPr lang="en-US"/>
              <a:t>Lorem ipsum </a:t>
            </a:r>
            <a:r>
              <a:rPr lang="en-US" err="1"/>
              <a:t>nulla</a:t>
            </a:r>
            <a:r>
              <a:rPr lang="en-US"/>
              <a:t> </a:t>
            </a:r>
            <a:r>
              <a:rPr lang="en-US" err="1"/>
              <a:t>primis</a:t>
            </a:r>
            <a:r>
              <a:rPr lang="en-US"/>
              <a:t> eros mi </a:t>
            </a:r>
            <a:r>
              <a:rPr lang="en-US" err="1"/>
              <a:t>maecenas</a:t>
            </a:r>
            <a:r>
              <a:rPr lang="en-US"/>
              <a:t> ligula magna.</a:t>
            </a:r>
          </a:p>
        </p:txBody>
      </p:sp>
      <p:sp>
        <p:nvSpPr>
          <p:cNvPr id="2" name="Picture Placeholder 3">
            <a:extLst>
              <a:ext uri="{FF2B5EF4-FFF2-40B4-BE49-F238E27FC236}">
                <a16:creationId xmlns:a16="http://schemas.microsoft.com/office/drawing/2014/main" id="{A4DF3F84-AB7D-CCBF-CE9C-8622CDB3301D}"/>
              </a:ext>
            </a:extLst>
          </p:cNvPr>
          <p:cNvSpPr>
            <a:spLocks noGrp="1"/>
          </p:cNvSpPr>
          <p:nvPr>
            <p:ph type="pic" sz="quarter" idx="31"/>
          </p:nvPr>
        </p:nvSpPr>
        <p:spPr>
          <a:xfrm>
            <a:off x="647699" y="1726692"/>
            <a:ext cx="3361476" cy="1917192"/>
          </a:xfrm>
          <a:prstGeom prst="rect">
            <a:avLst/>
          </a:prstGeom>
        </p:spPr>
        <p:txBody>
          <a:bodyPr/>
          <a:lstStyle/>
          <a:p>
            <a:endParaRPr lang="en-US"/>
          </a:p>
        </p:txBody>
      </p:sp>
      <p:sp>
        <p:nvSpPr>
          <p:cNvPr id="4" name="Text Placeholder 4">
            <a:extLst>
              <a:ext uri="{FF2B5EF4-FFF2-40B4-BE49-F238E27FC236}">
                <a16:creationId xmlns:a16="http://schemas.microsoft.com/office/drawing/2014/main" id="{A5B9E3B6-606B-4386-3178-88031FBF9117}"/>
              </a:ext>
            </a:extLst>
          </p:cNvPr>
          <p:cNvSpPr>
            <a:spLocks noGrp="1"/>
          </p:cNvSpPr>
          <p:nvPr>
            <p:ph type="body" sz="quarter" idx="32" hasCustomPrompt="1"/>
          </p:nvPr>
        </p:nvSpPr>
        <p:spPr>
          <a:xfrm>
            <a:off x="4395217" y="4671155"/>
            <a:ext cx="3346076" cy="1522148"/>
          </a:xfrm>
          <a:prstGeom prst="rect">
            <a:avLst/>
          </a:prstGeom>
        </p:spPr>
        <p:txBody>
          <a:bodyPr wrap="square" anchor="t" anchorCtr="0">
            <a:spAutoFit/>
          </a:bodyPr>
          <a:lstStyle>
            <a:lvl1pPr marL="0" marR="0" indent="0" algn="l" defTabSz="914400" rtl="0" eaLnBrk="1" fontAlgn="auto" latinLnBrk="0" hangingPunct="1">
              <a:lnSpc>
                <a:spcPts val="2000"/>
              </a:lnSpc>
              <a:spcBef>
                <a:spcPts val="600"/>
              </a:spcBef>
              <a:spcAft>
                <a:spcPts val="0"/>
              </a:spcAft>
              <a:buClrTx/>
              <a:buSzTx/>
              <a:buFont typeface="Arial" panose="020B0604020202020204" pitchFamily="34" charset="0"/>
              <a:buNone/>
              <a:tabLst/>
              <a:defRPr sz="1400" b="0" i="0">
                <a:solidFill>
                  <a:schemeClr val="bg1"/>
                </a:solidFill>
                <a:latin typeface="Calibri Light" panose="020F0302020204030204" pitchFamily="34" charset="0"/>
                <a:cs typeface="Calibri Light" panose="020F0302020204030204" pitchFamily="34" charset="0"/>
              </a:defRPr>
            </a:lvl1pPr>
          </a:lstStyle>
          <a:p>
            <a:r>
              <a:rPr lang="en-US"/>
              <a:t>Lorem ipsum </a:t>
            </a:r>
            <a:r>
              <a:rPr lang="en-US" err="1"/>
              <a:t>nulla</a:t>
            </a:r>
            <a:r>
              <a:rPr lang="en-US"/>
              <a:t> </a:t>
            </a:r>
            <a:r>
              <a:rPr lang="en-US" err="1"/>
              <a:t>primis</a:t>
            </a:r>
            <a:r>
              <a:rPr lang="en-US"/>
              <a:t> eros mi </a:t>
            </a:r>
            <a:r>
              <a:rPr lang="en-US" err="1"/>
              <a:t>maecenas</a:t>
            </a:r>
            <a:r>
              <a:rPr lang="en-US"/>
              <a:t> ligula magna, </a:t>
            </a:r>
            <a:r>
              <a:rPr lang="en-US" err="1"/>
              <a:t>nibh</a:t>
            </a:r>
            <a:r>
              <a:rPr lang="en-US"/>
              <a:t> </a:t>
            </a:r>
            <a:r>
              <a:rPr lang="en-US" err="1"/>
              <a:t>commodo</a:t>
            </a:r>
            <a:r>
              <a:rPr lang="en-US"/>
              <a:t> </a:t>
            </a:r>
            <a:r>
              <a:rPr lang="en-US" err="1"/>
              <a:t>aenean</a:t>
            </a:r>
            <a:r>
              <a:rPr lang="en-US"/>
              <a:t> </a:t>
            </a:r>
            <a:r>
              <a:rPr lang="en-US" err="1"/>
              <a:t>leo</a:t>
            </a:r>
            <a:r>
              <a:rPr lang="en-US"/>
              <a:t> porta </a:t>
            </a:r>
            <a:r>
              <a:rPr lang="en-US" err="1"/>
              <a:t>duis</a:t>
            </a:r>
            <a:r>
              <a:rPr lang="en-US"/>
              <a:t> magna </a:t>
            </a:r>
            <a:r>
              <a:rPr lang="en-US" err="1"/>
              <a:t>felis</a:t>
            </a:r>
            <a:r>
              <a:rPr lang="en-US"/>
              <a:t> </a:t>
            </a:r>
            <a:r>
              <a:rPr lang="en-US" err="1"/>
              <a:t>bibendum</a:t>
            </a:r>
            <a:r>
              <a:rPr lang="en-US"/>
              <a:t> </a:t>
            </a:r>
            <a:r>
              <a:rPr lang="en-US" err="1"/>
              <a:t>tempor</a:t>
            </a:r>
            <a:r>
              <a:rPr lang="en-US"/>
              <a:t> </a:t>
            </a:r>
            <a:r>
              <a:rPr lang="en-US" err="1"/>
              <a:t>cubilia</a:t>
            </a:r>
            <a:r>
              <a:rPr lang="en-US"/>
              <a:t> gravida </a:t>
            </a:r>
            <a:r>
              <a:rPr lang="en-US" err="1"/>
              <a:t>molestie</a:t>
            </a:r>
            <a:r>
              <a:rPr lang="en-US"/>
              <a:t> a </a:t>
            </a:r>
            <a:r>
              <a:rPr lang="en-US" err="1"/>
              <a:t>pretium</a:t>
            </a:r>
            <a:r>
              <a:rPr lang="en-US"/>
              <a:t> </a:t>
            </a:r>
            <a:r>
              <a:rPr lang="en-US" err="1"/>
              <a:t>egestas</a:t>
            </a:r>
            <a:r>
              <a:rPr lang="en-US"/>
              <a:t> </a:t>
            </a:r>
            <a:r>
              <a:rPr lang="en-US" err="1"/>
              <a:t>iaculis</a:t>
            </a:r>
            <a:r>
              <a:rPr lang="en-US"/>
              <a:t> per, eros sit </a:t>
            </a:r>
            <a:r>
              <a:rPr lang="en-US" err="1"/>
              <a:t>leo</a:t>
            </a:r>
            <a:r>
              <a:rPr lang="en-US"/>
              <a:t> </a:t>
            </a:r>
            <a:r>
              <a:rPr lang="en-US" err="1"/>
              <a:t>augue</a:t>
            </a:r>
            <a:r>
              <a:rPr lang="en-US"/>
              <a:t> tempus </a:t>
            </a:r>
            <a:r>
              <a:rPr lang="en-US" err="1"/>
              <a:t>consectetur</a:t>
            </a:r>
            <a:r>
              <a:rPr lang="en-US"/>
              <a:t> </a:t>
            </a:r>
            <a:r>
              <a:rPr lang="en-US" err="1"/>
              <a:t>primis</a:t>
            </a:r>
            <a:r>
              <a:rPr lang="en-US"/>
              <a:t> dolor ac </a:t>
            </a:r>
            <a:r>
              <a:rPr lang="en-US" err="1"/>
              <a:t>euismod</a:t>
            </a:r>
            <a:r>
              <a:rPr lang="en-US"/>
              <a:t> </a:t>
            </a:r>
            <a:r>
              <a:rPr lang="en-US" err="1"/>
              <a:t>accumsan</a:t>
            </a:r>
            <a:r>
              <a:rPr lang="en-US"/>
              <a:t>, </a:t>
            </a:r>
            <a:r>
              <a:rPr lang="en-US" err="1"/>
              <a:t>vivamus</a:t>
            </a:r>
            <a:r>
              <a:rPr lang="en-US"/>
              <a:t> </a:t>
            </a:r>
            <a:r>
              <a:rPr lang="en-US" err="1"/>
              <a:t>feugiat</a:t>
            </a:r>
            <a:r>
              <a:rPr lang="en-US"/>
              <a:t>.</a:t>
            </a:r>
          </a:p>
        </p:txBody>
      </p:sp>
      <p:sp>
        <p:nvSpPr>
          <p:cNvPr id="5" name="Text Placeholder 4">
            <a:extLst>
              <a:ext uri="{FF2B5EF4-FFF2-40B4-BE49-F238E27FC236}">
                <a16:creationId xmlns:a16="http://schemas.microsoft.com/office/drawing/2014/main" id="{3E3A954E-DE2D-00F0-C4ED-0008C326ECA3}"/>
              </a:ext>
            </a:extLst>
          </p:cNvPr>
          <p:cNvSpPr>
            <a:spLocks noGrp="1"/>
          </p:cNvSpPr>
          <p:nvPr>
            <p:ph type="body" sz="quarter" idx="33" hasCustomPrompt="1"/>
          </p:nvPr>
        </p:nvSpPr>
        <p:spPr>
          <a:xfrm>
            <a:off x="4395217" y="3880520"/>
            <a:ext cx="3346076" cy="553998"/>
          </a:xfrm>
          <a:prstGeom prst="rect">
            <a:avLst/>
          </a:prstGeom>
        </p:spPr>
        <p:txBody>
          <a:bodyPr wrap="square" anchor="t" anchorCtr="0">
            <a:spAutoFit/>
          </a:bodyPr>
          <a:lstStyle>
            <a:lvl1pPr marL="0" marR="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sz="1800" b="1" i="0">
                <a:solidFill>
                  <a:schemeClr val="bg1"/>
                </a:solidFill>
                <a:latin typeface="Calibri" panose="020F0502020204030204" pitchFamily="34" charset="0"/>
                <a:cs typeface="Calibri" panose="020F0502020204030204" pitchFamily="34" charset="0"/>
              </a:defRPr>
            </a:lvl1pPr>
          </a:lstStyle>
          <a:p>
            <a:r>
              <a:rPr lang="en-US"/>
              <a:t>Lorem ipsum </a:t>
            </a:r>
            <a:r>
              <a:rPr lang="en-US" err="1"/>
              <a:t>nulla</a:t>
            </a:r>
            <a:r>
              <a:rPr lang="en-US"/>
              <a:t> </a:t>
            </a:r>
            <a:r>
              <a:rPr lang="en-US" err="1"/>
              <a:t>primis</a:t>
            </a:r>
            <a:r>
              <a:rPr lang="en-US"/>
              <a:t> eros mi </a:t>
            </a:r>
            <a:r>
              <a:rPr lang="en-US" err="1"/>
              <a:t>maecenas</a:t>
            </a:r>
            <a:r>
              <a:rPr lang="en-US"/>
              <a:t> ligula magna.</a:t>
            </a:r>
          </a:p>
        </p:txBody>
      </p:sp>
      <p:sp>
        <p:nvSpPr>
          <p:cNvPr id="8" name="Picture Placeholder 3">
            <a:extLst>
              <a:ext uri="{FF2B5EF4-FFF2-40B4-BE49-F238E27FC236}">
                <a16:creationId xmlns:a16="http://schemas.microsoft.com/office/drawing/2014/main" id="{197F8596-9B60-0E1E-695B-F159BEA9E3DD}"/>
              </a:ext>
            </a:extLst>
          </p:cNvPr>
          <p:cNvSpPr>
            <a:spLocks noGrp="1"/>
          </p:cNvSpPr>
          <p:nvPr>
            <p:ph type="pic" sz="quarter" idx="34"/>
          </p:nvPr>
        </p:nvSpPr>
        <p:spPr>
          <a:xfrm>
            <a:off x="4395216" y="1726692"/>
            <a:ext cx="3361476" cy="1917192"/>
          </a:xfrm>
          <a:prstGeom prst="rect">
            <a:avLst/>
          </a:prstGeom>
        </p:spPr>
        <p:txBody>
          <a:bodyPr/>
          <a:lstStyle/>
          <a:p>
            <a:endParaRPr lang="en-US"/>
          </a:p>
        </p:txBody>
      </p:sp>
      <p:sp>
        <p:nvSpPr>
          <p:cNvPr id="14" name="Text Placeholder 4">
            <a:extLst>
              <a:ext uri="{FF2B5EF4-FFF2-40B4-BE49-F238E27FC236}">
                <a16:creationId xmlns:a16="http://schemas.microsoft.com/office/drawing/2014/main" id="{9BB6C83D-C556-0782-5061-97C7DD672F22}"/>
              </a:ext>
            </a:extLst>
          </p:cNvPr>
          <p:cNvSpPr>
            <a:spLocks noGrp="1"/>
          </p:cNvSpPr>
          <p:nvPr>
            <p:ph type="body" sz="quarter" idx="35" hasCustomPrompt="1"/>
          </p:nvPr>
        </p:nvSpPr>
        <p:spPr>
          <a:xfrm>
            <a:off x="8141209" y="4671155"/>
            <a:ext cx="3346076" cy="1522148"/>
          </a:xfrm>
          <a:prstGeom prst="rect">
            <a:avLst/>
          </a:prstGeom>
        </p:spPr>
        <p:txBody>
          <a:bodyPr wrap="square" anchor="t" anchorCtr="0">
            <a:spAutoFit/>
          </a:bodyPr>
          <a:lstStyle>
            <a:lvl1pPr marL="0" marR="0" indent="0" algn="l" defTabSz="914400" rtl="0" eaLnBrk="1" fontAlgn="auto" latinLnBrk="0" hangingPunct="1">
              <a:lnSpc>
                <a:spcPts val="2000"/>
              </a:lnSpc>
              <a:spcBef>
                <a:spcPts val="600"/>
              </a:spcBef>
              <a:spcAft>
                <a:spcPts val="0"/>
              </a:spcAft>
              <a:buClrTx/>
              <a:buSzTx/>
              <a:buFont typeface="Arial" panose="020B0604020202020204" pitchFamily="34" charset="0"/>
              <a:buNone/>
              <a:tabLst/>
              <a:defRPr sz="1400" b="0" i="0">
                <a:solidFill>
                  <a:schemeClr val="bg1"/>
                </a:solidFill>
                <a:latin typeface="Calibri Light" panose="020F0302020204030204" pitchFamily="34" charset="0"/>
                <a:cs typeface="Calibri Light" panose="020F0302020204030204" pitchFamily="34" charset="0"/>
              </a:defRPr>
            </a:lvl1pPr>
          </a:lstStyle>
          <a:p>
            <a:r>
              <a:rPr lang="en-US"/>
              <a:t>Lorem ipsum </a:t>
            </a:r>
            <a:r>
              <a:rPr lang="en-US" err="1"/>
              <a:t>nulla</a:t>
            </a:r>
            <a:r>
              <a:rPr lang="en-US"/>
              <a:t> </a:t>
            </a:r>
            <a:r>
              <a:rPr lang="en-US" err="1"/>
              <a:t>primis</a:t>
            </a:r>
            <a:r>
              <a:rPr lang="en-US"/>
              <a:t> eros mi </a:t>
            </a:r>
            <a:r>
              <a:rPr lang="en-US" err="1"/>
              <a:t>maecenas</a:t>
            </a:r>
            <a:r>
              <a:rPr lang="en-US"/>
              <a:t> ligula magna, </a:t>
            </a:r>
            <a:r>
              <a:rPr lang="en-US" err="1"/>
              <a:t>nibh</a:t>
            </a:r>
            <a:r>
              <a:rPr lang="en-US"/>
              <a:t> </a:t>
            </a:r>
            <a:r>
              <a:rPr lang="en-US" err="1"/>
              <a:t>commodo</a:t>
            </a:r>
            <a:r>
              <a:rPr lang="en-US"/>
              <a:t> </a:t>
            </a:r>
            <a:r>
              <a:rPr lang="en-US" err="1"/>
              <a:t>aenean</a:t>
            </a:r>
            <a:r>
              <a:rPr lang="en-US"/>
              <a:t> </a:t>
            </a:r>
            <a:r>
              <a:rPr lang="en-US" err="1"/>
              <a:t>leo</a:t>
            </a:r>
            <a:r>
              <a:rPr lang="en-US"/>
              <a:t> porta </a:t>
            </a:r>
            <a:r>
              <a:rPr lang="en-US" err="1"/>
              <a:t>duis</a:t>
            </a:r>
            <a:r>
              <a:rPr lang="en-US"/>
              <a:t> magna </a:t>
            </a:r>
            <a:r>
              <a:rPr lang="en-US" err="1"/>
              <a:t>felis</a:t>
            </a:r>
            <a:r>
              <a:rPr lang="en-US"/>
              <a:t> </a:t>
            </a:r>
            <a:r>
              <a:rPr lang="en-US" err="1"/>
              <a:t>bibendum</a:t>
            </a:r>
            <a:r>
              <a:rPr lang="en-US"/>
              <a:t> </a:t>
            </a:r>
            <a:r>
              <a:rPr lang="en-US" err="1"/>
              <a:t>tempor</a:t>
            </a:r>
            <a:r>
              <a:rPr lang="en-US"/>
              <a:t> </a:t>
            </a:r>
            <a:r>
              <a:rPr lang="en-US" err="1"/>
              <a:t>cubilia</a:t>
            </a:r>
            <a:r>
              <a:rPr lang="en-US"/>
              <a:t> gravida </a:t>
            </a:r>
            <a:r>
              <a:rPr lang="en-US" err="1"/>
              <a:t>molestie</a:t>
            </a:r>
            <a:r>
              <a:rPr lang="en-US"/>
              <a:t> a </a:t>
            </a:r>
            <a:r>
              <a:rPr lang="en-US" err="1"/>
              <a:t>pretium</a:t>
            </a:r>
            <a:r>
              <a:rPr lang="en-US"/>
              <a:t> </a:t>
            </a:r>
            <a:r>
              <a:rPr lang="en-US" err="1"/>
              <a:t>egestas</a:t>
            </a:r>
            <a:r>
              <a:rPr lang="en-US"/>
              <a:t> </a:t>
            </a:r>
            <a:r>
              <a:rPr lang="en-US" err="1"/>
              <a:t>iaculis</a:t>
            </a:r>
            <a:r>
              <a:rPr lang="en-US"/>
              <a:t> per, eros sit </a:t>
            </a:r>
            <a:r>
              <a:rPr lang="en-US" err="1"/>
              <a:t>leo</a:t>
            </a:r>
            <a:r>
              <a:rPr lang="en-US"/>
              <a:t> </a:t>
            </a:r>
            <a:r>
              <a:rPr lang="en-US" err="1"/>
              <a:t>augue</a:t>
            </a:r>
            <a:r>
              <a:rPr lang="en-US"/>
              <a:t> tempus </a:t>
            </a:r>
            <a:r>
              <a:rPr lang="en-US" err="1"/>
              <a:t>consectetur</a:t>
            </a:r>
            <a:r>
              <a:rPr lang="en-US"/>
              <a:t> </a:t>
            </a:r>
            <a:r>
              <a:rPr lang="en-US" err="1"/>
              <a:t>primis</a:t>
            </a:r>
            <a:r>
              <a:rPr lang="en-US"/>
              <a:t> dolor ac </a:t>
            </a:r>
            <a:r>
              <a:rPr lang="en-US" err="1"/>
              <a:t>euismod</a:t>
            </a:r>
            <a:r>
              <a:rPr lang="en-US"/>
              <a:t> </a:t>
            </a:r>
            <a:r>
              <a:rPr lang="en-US" err="1"/>
              <a:t>accumsan</a:t>
            </a:r>
            <a:r>
              <a:rPr lang="en-US"/>
              <a:t>, </a:t>
            </a:r>
            <a:r>
              <a:rPr lang="en-US" err="1"/>
              <a:t>vivamus</a:t>
            </a:r>
            <a:r>
              <a:rPr lang="en-US"/>
              <a:t> </a:t>
            </a:r>
            <a:r>
              <a:rPr lang="en-US" err="1"/>
              <a:t>feugiat</a:t>
            </a:r>
            <a:r>
              <a:rPr lang="en-US"/>
              <a:t>.</a:t>
            </a:r>
          </a:p>
        </p:txBody>
      </p:sp>
      <p:sp>
        <p:nvSpPr>
          <p:cNvPr id="15" name="Text Placeholder 4">
            <a:extLst>
              <a:ext uri="{FF2B5EF4-FFF2-40B4-BE49-F238E27FC236}">
                <a16:creationId xmlns:a16="http://schemas.microsoft.com/office/drawing/2014/main" id="{A4D25C29-AD3E-1278-B083-FCE0D4540152}"/>
              </a:ext>
            </a:extLst>
          </p:cNvPr>
          <p:cNvSpPr>
            <a:spLocks noGrp="1"/>
          </p:cNvSpPr>
          <p:nvPr>
            <p:ph type="body" sz="quarter" idx="36" hasCustomPrompt="1"/>
          </p:nvPr>
        </p:nvSpPr>
        <p:spPr>
          <a:xfrm>
            <a:off x="8141209" y="3880520"/>
            <a:ext cx="3346076" cy="553998"/>
          </a:xfrm>
          <a:prstGeom prst="rect">
            <a:avLst/>
          </a:prstGeom>
        </p:spPr>
        <p:txBody>
          <a:bodyPr wrap="square" anchor="t" anchorCtr="0">
            <a:spAutoFit/>
          </a:bodyPr>
          <a:lstStyle>
            <a:lvl1pPr marL="0" marR="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sz="1800" b="1" i="0">
                <a:solidFill>
                  <a:schemeClr val="bg1"/>
                </a:solidFill>
                <a:latin typeface="Calibri" panose="020F0502020204030204" pitchFamily="34" charset="0"/>
                <a:cs typeface="Calibri" panose="020F0502020204030204" pitchFamily="34" charset="0"/>
              </a:defRPr>
            </a:lvl1pPr>
          </a:lstStyle>
          <a:p>
            <a:r>
              <a:rPr lang="en-US"/>
              <a:t>Lorem ipsum </a:t>
            </a:r>
            <a:r>
              <a:rPr lang="en-US" err="1"/>
              <a:t>nulla</a:t>
            </a:r>
            <a:r>
              <a:rPr lang="en-US"/>
              <a:t> </a:t>
            </a:r>
            <a:r>
              <a:rPr lang="en-US" err="1"/>
              <a:t>primis</a:t>
            </a:r>
            <a:r>
              <a:rPr lang="en-US"/>
              <a:t> eros mi </a:t>
            </a:r>
            <a:r>
              <a:rPr lang="en-US" err="1"/>
              <a:t>maecenas</a:t>
            </a:r>
            <a:r>
              <a:rPr lang="en-US"/>
              <a:t> ligula magna.</a:t>
            </a:r>
          </a:p>
        </p:txBody>
      </p:sp>
      <p:sp>
        <p:nvSpPr>
          <p:cNvPr id="16" name="Picture Placeholder 3">
            <a:extLst>
              <a:ext uri="{FF2B5EF4-FFF2-40B4-BE49-F238E27FC236}">
                <a16:creationId xmlns:a16="http://schemas.microsoft.com/office/drawing/2014/main" id="{66AB8C86-9C9A-0BF1-5545-731713F1DF92}"/>
              </a:ext>
            </a:extLst>
          </p:cNvPr>
          <p:cNvSpPr>
            <a:spLocks noGrp="1"/>
          </p:cNvSpPr>
          <p:nvPr>
            <p:ph type="pic" sz="quarter" idx="37"/>
          </p:nvPr>
        </p:nvSpPr>
        <p:spPr>
          <a:xfrm>
            <a:off x="8141208" y="1726692"/>
            <a:ext cx="3361476" cy="1917192"/>
          </a:xfrm>
          <a:prstGeom prst="rect">
            <a:avLst/>
          </a:prstGeom>
        </p:spPr>
        <p:txBody>
          <a:bodyPr/>
          <a:lstStyle/>
          <a:p>
            <a:endParaRPr lang="en-US"/>
          </a:p>
        </p:txBody>
      </p:sp>
      <p:sp>
        <p:nvSpPr>
          <p:cNvPr id="10" name="Title 1">
            <a:extLst>
              <a:ext uri="{FF2B5EF4-FFF2-40B4-BE49-F238E27FC236}">
                <a16:creationId xmlns:a16="http://schemas.microsoft.com/office/drawing/2014/main" id="{5F5E470F-F86B-CBD2-28BC-A054B75813AA}"/>
              </a:ext>
            </a:extLst>
          </p:cNvPr>
          <p:cNvSpPr>
            <a:spLocks noGrp="1"/>
          </p:cNvSpPr>
          <p:nvPr>
            <p:ph type="title" hasCustomPrompt="1"/>
          </p:nvPr>
        </p:nvSpPr>
        <p:spPr>
          <a:xfrm>
            <a:off x="633632" y="722843"/>
            <a:ext cx="10963056" cy="338554"/>
          </a:xfrm>
          <a:prstGeom prst="rect">
            <a:avLst/>
          </a:prstGeom>
        </p:spPr>
        <p:txBody>
          <a:bodyPr/>
          <a:lstStyle>
            <a:lvl1pPr>
              <a:defRPr lang="en-US" sz="2200" b="1" i="0" kern="1200" spc="0" dirty="0">
                <a:solidFill>
                  <a:schemeClr val="bg1"/>
                </a:solidFill>
                <a:effectLst/>
                <a:latin typeface="+mj-lt"/>
                <a:ea typeface="Calibri" panose="020F0502020204030204" pitchFamily="34" charset="0"/>
                <a:cs typeface="Calibri" panose="020F0502020204030204" pitchFamily="34" charset="0"/>
              </a:defRPr>
            </a:lvl1pPr>
          </a:lstStyle>
          <a:p>
            <a:pPr marL="0" lvl="0" indent="0" algn="l" defTabSz="914400" rtl="0" eaLnBrk="1" latinLnBrk="0" hangingPunct="1">
              <a:lnSpc>
                <a:spcPct val="100000"/>
              </a:lnSpc>
              <a:spcBef>
                <a:spcPts val="0"/>
              </a:spcBef>
              <a:spcAft>
                <a:spcPts val="0"/>
              </a:spcAft>
              <a:buFont typeface="Arial" panose="020B0604020202020204" pitchFamily="34" charset="0"/>
              <a:buNone/>
            </a:pPr>
            <a:r>
              <a:rPr lang="en-US">
                <a:effectLst/>
              </a:rPr>
              <a:t>Title Goes Here</a:t>
            </a:r>
            <a:endParaRPr lang="en-US"/>
          </a:p>
        </p:txBody>
      </p:sp>
      <p:sp>
        <p:nvSpPr>
          <p:cNvPr id="11" name="Text Placeholder 10">
            <a:extLst>
              <a:ext uri="{FF2B5EF4-FFF2-40B4-BE49-F238E27FC236}">
                <a16:creationId xmlns:a16="http://schemas.microsoft.com/office/drawing/2014/main" id="{EF3CE6A5-BFC5-9D79-F7DA-7A7A537B45A6}"/>
              </a:ext>
            </a:extLst>
          </p:cNvPr>
          <p:cNvSpPr>
            <a:spLocks noGrp="1"/>
          </p:cNvSpPr>
          <p:nvPr>
            <p:ph type="body" sz="quarter" idx="28" hasCustomPrompt="1"/>
          </p:nvPr>
        </p:nvSpPr>
        <p:spPr>
          <a:xfrm>
            <a:off x="633632" y="419100"/>
            <a:ext cx="3611880" cy="225706"/>
          </a:xfrm>
          <a:prstGeom prst="rect">
            <a:avLst/>
          </a:prstGeom>
        </p:spPr>
        <p:txBody>
          <a:bodyPr/>
          <a:lstStyle>
            <a:lvl1pPr>
              <a:spcBef>
                <a:spcPts val="0"/>
              </a:spcBef>
              <a:defRPr lang="en-US" sz="1000" b="0" i="0" kern="1200" cap="all" spc="300" baseline="0" dirty="0">
                <a:solidFill>
                  <a:schemeClr val="bg1"/>
                </a:solidFill>
                <a:latin typeface="Calibri" panose="020F0502020204030204" pitchFamily="34" charset="0"/>
                <a:ea typeface="Calibri" panose="020F0502020204030204" pitchFamily="34" charset="0"/>
                <a:cs typeface="Calibri" panose="020F0502020204030204" pitchFamily="34" charset="0"/>
              </a:defRPr>
            </a:lvl1pPr>
          </a:lstStyle>
          <a:p>
            <a:pPr marL="0" lvl="0" indent="0" algn="l" defTabSz="914400" rtl="0" eaLnBrk="1" latinLnBrk="0" hangingPunct="1">
              <a:lnSpc>
                <a:spcPct val="100000"/>
              </a:lnSpc>
              <a:spcBef>
                <a:spcPts val="600"/>
              </a:spcBef>
              <a:spcAft>
                <a:spcPts val="0"/>
              </a:spcAft>
              <a:buFont typeface="Arial" panose="020B0604020202020204" pitchFamily="34" charset="0"/>
              <a:buNone/>
            </a:pPr>
            <a:r>
              <a:rPr lang="en-US"/>
              <a:t>Click to add section title</a:t>
            </a:r>
          </a:p>
        </p:txBody>
      </p:sp>
      <p:grpSp>
        <p:nvGrpSpPr>
          <p:cNvPr id="3" name="Group 2">
            <a:extLst>
              <a:ext uri="{FF2B5EF4-FFF2-40B4-BE49-F238E27FC236}">
                <a16:creationId xmlns:a16="http://schemas.microsoft.com/office/drawing/2014/main" id="{82845736-B929-6752-72A4-9ABE42FBA2CA}"/>
              </a:ext>
            </a:extLst>
          </p:cNvPr>
          <p:cNvGrpSpPr/>
          <p:nvPr userDrawn="1"/>
        </p:nvGrpSpPr>
        <p:grpSpPr>
          <a:xfrm>
            <a:off x="610888" y="6472556"/>
            <a:ext cx="372834" cy="131175"/>
            <a:chOff x="14288" y="2035175"/>
            <a:chExt cx="10039350" cy="3532188"/>
          </a:xfrm>
          <a:solidFill>
            <a:schemeClr val="bg1"/>
          </a:solidFill>
        </p:grpSpPr>
        <p:sp>
          <p:nvSpPr>
            <p:cNvPr id="6" name="Freeform 1">
              <a:extLst>
                <a:ext uri="{FF2B5EF4-FFF2-40B4-BE49-F238E27FC236}">
                  <a16:creationId xmlns:a16="http://schemas.microsoft.com/office/drawing/2014/main" id="{1D3913A9-8637-A357-7F9C-3778BBDAAA32}"/>
                </a:ext>
              </a:extLst>
            </p:cNvPr>
            <p:cNvSpPr>
              <a:spLocks noChangeArrowheads="1"/>
            </p:cNvSpPr>
            <p:nvPr/>
          </p:nvSpPr>
          <p:spPr bwMode="auto">
            <a:xfrm>
              <a:off x="1519238" y="2035175"/>
              <a:ext cx="1336675" cy="2836863"/>
            </a:xfrm>
            <a:custGeom>
              <a:avLst/>
              <a:gdLst>
                <a:gd name="T0" fmla="*/ 390493 w 3714"/>
                <a:gd name="T1" fmla="*/ 1200682 h 7882"/>
                <a:gd name="T2" fmla="*/ 945462 w 3714"/>
                <a:gd name="T3" fmla="*/ 1200682 h 7882"/>
                <a:gd name="T4" fmla="*/ 945462 w 3714"/>
                <a:gd name="T5" fmla="*/ 611498 h 7882"/>
                <a:gd name="T6" fmla="*/ 698929 w 3714"/>
                <a:gd name="T7" fmla="*/ 364596 h 7882"/>
                <a:gd name="T8" fmla="*/ 637386 w 3714"/>
                <a:gd name="T9" fmla="*/ 364596 h 7882"/>
                <a:gd name="T10" fmla="*/ 390493 w 3714"/>
                <a:gd name="T11" fmla="*/ 611498 h 7882"/>
                <a:gd name="T12" fmla="*/ 390493 w 3714"/>
                <a:gd name="T13" fmla="*/ 1200682 h 7882"/>
                <a:gd name="T14" fmla="*/ 389414 w 3714"/>
                <a:gd name="T15" fmla="*/ 1576795 h 7882"/>
                <a:gd name="T16" fmla="*/ 390493 w 3714"/>
                <a:gd name="T17" fmla="*/ 2224645 h 7882"/>
                <a:gd name="T18" fmla="*/ 637386 w 3714"/>
                <a:gd name="T19" fmla="*/ 2471548 h 7882"/>
                <a:gd name="T20" fmla="*/ 709366 w 3714"/>
                <a:gd name="T21" fmla="*/ 2471548 h 7882"/>
                <a:gd name="T22" fmla="*/ 955899 w 3714"/>
                <a:gd name="T23" fmla="*/ 2224645 h 7882"/>
                <a:gd name="T24" fmla="*/ 955899 w 3714"/>
                <a:gd name="T25" fmla="*/ 1906119 h 7882"/>
                <a:gd name="T26" fmla="*/ 1336315 w 3714"/>
                <a:gd name="T27" fmla="*/ 1906119 h 7882"/>
                <a:gd name="T28" fmla="*/ 1336315 w 3714"/>
                <a:gd name="T29" fmla="*/ 2209528 h 7882"/>
                <a:gd name="T30" fmla="*/ 709366 w 3714"/>
                <a:gd name="T31" fmla="*/ 2836503 h 7882"/>
                <a:gd name="T32" fmla="*/ 626949 w 3714"/>
                <a:gd name="T33" fmla="*/ 2836503 h 7882"/>
                <a:gd name="T34" fmla="*/ 0 w 3714"/>
                <a:gd name="T35" fmla="*/ 2258117 h 7882"/>
                <a:gd name="T36" fmla="*/ 0 w 3714"/>
                <a:gd name="T37" fmla="*/ 675564 h 7882"/>
                <a:gd name="T38" fmla="*/ 626949 w 3714"/>
                <a:gd name="T39" fmla="*/ 0 h 7882"/>
                <a:gd name="T40" fmla="*/ 709366 w 3714"/>
                <a:gd name="T41" fmla="*/ 0 h 7882"/>
                <a:gd name="T42" fmla="*/ 1336315 w 3714"/>
                <a:gd name="T43" fmla="*/ 626975 h 7882"/>
                <a:gd name="T44" fmla="*/ 1334875 w 3714"/>
                <a:gd name="T45" fmla="*/ 1576795 h 7882"/>
                <a:gd name="T46" fmla="*/ 389414 w 3714"/>
                <a:gd name="T47" fmla="*/ 1576795 h 7882"/>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3714" h="7882">
                  <a:moveTo>
                    <a:pt x="1085" y="3336"/>
                  </a:moveTo>
                  <a:lnTo>
                    <a:pt x="2627" y="3336"/>
                  </a:lnTo>
                  <a:lnTo>
                    <a:pt x="2627" y="1699"/>
                  </a:lnTo>
                  <a:cubicBezTo>
                    <a:pt x="2627" y="1242"/>
                    <a:pt x="2399" y="1013"/>
                    <a:pt x="1942" y="1013"/>
                  </a:cubicBezTo>
                  <a:lnTo>
                    <a:pt x="1771" y="1013"/>
                  </a:lnTo>
                  <a:cubicBezTo>
                    <a:pt x="1314" y="1013"/>
                    <a:pt x="1085" y="1242"/>
                    <a:pt x="1085" y="1699"/>
                  </a:cubicBezTo>
                  <a:lnTo>
                    <a:pt x="1085" y="3336"/>
                  </a:lnTo>
                  <a:close/>
                  <a:moveTo>
                    <a:pt x="1082" y="4381"/>
                  </a:moveTo>
                  <a:lnTo>
                    <a:pt x="1085" y="6181"/>
                  </a:lnTo>
                  <a:cubicBezTo>
                    <a:pt x="1085" y="6638"/>
                    <a:pt x="1314" y="6867"/>
                    <a:pt x="1771" y="6867"/>
                  </a:cubicBezTo>
                  <a:lnTo>
                    <a:pt x="1971" y="6867"/>
                  </a:lnTo>
                  <a:cubicBezTo>
                    <a:pt x="2428" y="6867"/>
                    <a:pt x="2656" y="6638"/>
                    <a:pt x="2656" y="6181"/>
                  </a:cubicBezTo>
                  <a:lnTo>
                    <a:pt x="2656" y="5296"/>
                  </a:lnTo>
                  <a:lnTo>
                    <a:pt x="3713" y="5296"/>
                  </a:lnTo>
                  <a:lnTo>
                    <a:pt x="3713" y="6139"/>
                  </a:lnTo>
                  <a:cubicBezTo>
                    <a:pt x="3713" y="7295"/>
                    <a:pt x="3127" y="7881"/>
                    <a:pt x="1971" y="7881"/>
                  </a:cubicBezTo>
                  <a:lnTo>
                    <a:pt x="1742" y="7881"/>
                  </a:lnTo>
                  <a:cubicBezTo>
                    <a:pt x="585" y="7881"/>
                    <a:pt x="0" y="7295"/>
                    <a:pt x="0" y="6274"/>
                  </a:cubicBezTo>
                  <a:lnTo>
                    <a:pt x="0" y="1877"/>
                  </a:lnTo>
                  <a:cubicBezTo>
                    <a:pt x="0" y="585"/>
                    <a:pt x="585" y="0"/>
                    <a:pt x="1742" y="0"/>
                  </a:cubicBezTo>
                  <a:lnTo>
                    <a:pt x="1971" y="0"/>
                  </a:lnTo>
                  <a:cubicBezTo>
                    <a:pt x="3127" y="0"/>
                    <a:pt x="3713" y="585"/>
                    <a:pt x="3713" y="1742"/>
                  </a:cubicBezTo>
                  <a:lnTo>
                    <a:pt x="3709" y="4381"/>
                  </a:lnTo>
                  <a:lnTo>
                    <a:pt x="1082" y="4381"/>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endParaRPr lang="en-US"/>
            </a:p>
          </p:txBody>
        </p:sp>
        <p:sp>
          <p:nvSpPr>
            <p:cNvPr id="12" name="Freeform 2">
              <a:extLst>
                <a:ext uri="{FF2B5EF4-FFF2-40B4-BE49-F238E27FC236}">
                  <a16:creationId xmlns:a16="http://schemas.microsoft.com/office/drawing/2014/main" id="{0D57BED9-EDCD-F125-689C-14E3E8101622}"/>
                </a:ext>
              </a:extLst>
            </p:cNvPr>
            <p:cNvSpPr>
              <a:spLocks noChangeArrowheads="1"/>
            </p:cNvSpPr>
            <p:nvPr/>
          </p:nvSpPr>
          <p:spPr bwMode="auto">
            <a:xfrm>
              <a:off x="3109913" y="2035175"/>
              <a:ext cx="1368425" cy="3532188"/>
            </a:xfrm>
            <a:custGeom>
              <a:avLst/>
              <a:gdLst>
                <a:gd name="T0" fmla="*/ 390721 w 3800"/>
                <a:gd name="T1" fmla="*/ 2322993 h 9812"/>
                <a:gd name="T2" fmla="*/ 750833 w 3800"/>
                <a:gd name="T3" fmla="*/ 2466628 h 9812"/>
                <a:gd name="T4" fmla="*/ 976983 w 3800"/>
                <a:gd name="T5" fmla="*/ 2240556 h 9812"/>
                <a:gd name="T6" fmla="*/ 976983 w 3800"/>
                <a:gd name="T7" fmla="*/ 596138 h 9812"/>
                <a:gd name="T8" fmla="*/ 750833 w 3800"/>
                <a:gd name="T9" fmla="*/ 370066 h 9812"/>
                <a:gd name="T10" fmla="*/ 390721 w 3800"/>
                <a:gd name="T11" fmla="*/ 514061 h 9812"/>
                <a:gd name="T12" fmla="*/ 390721 w 3800"/>
                <a:gd name="T13" fmla="*/ 2322993 h 9812"/>
                <a:gd name="T14" fmla="*/ 0 w 3800"/>
                <a:gd name="T15" fmla="*/ 30599 h 9812"/>
                <a:gd name="T16" fmla="*/ 390721 w 3800"/>
                <a:gd name="T17" fmla="*/ 30599 h 9812"/>
                <a:gd name="T18" fmla="*/ 390721 w 3800"/>
                <a:gd name="T19" fmla="*/ 210592 h 9812"/>
                <a:gd name="T20" fmla="*/ 868950 w 3800"/>
                <a:gd name="T21" fmla="*/ 0 h 9812"/>
                <a:gd name="T22" fmla="*/ 1368065 w 3800"/>
                <a:gd name="T23" fmla="*/ 549699 h 9812"/>
                <a:gd name="T24" fmla="*/ 1368065 w 3800"/>
                <a:gd name="T25" fmla="*/ 2286995 h 9812"/>
                <a:gd name="T26" fmla="*/ 868950 w 3800"/>
                <a:gd name="T27" fmla="*/ 2837054 h 9812"/>
                <a:gd name="T28" fmla="*/ 390721 w 3800"/>
                <a:gd name="T29" fmla="*/ 2636541 h 9812"/>
                <a:gd name="T30" fmla="*/ 390721 w 3800"/>
                <a:gd name="T31" fmla="*/ 3531828 h 9812"/>
                <a:gd name="T32" fmla="*/ 0 w 3800"/>
                <a:gd name="T33" fmla="*/ 3531828 h 9812"/>
                <a:gd name="T34" fmla="*/ 0 w 3800"/>
                <a:gd name="T35" fmla="*/ 30599 h 9812"/>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3800" h="9812">
                  <a:moveTo>
                    <a:pt x="1085" y="6453"/>
                  </a:moveTo>
                  <a:cubicBezTo>
                    <a:pt x="1385" y="6710"/>
                    <a:pt x="1728" y="6852"/>
                    <a:pt x="2085" y="6852"/>
                  </a:cubicBezTo>
                  <a:cubicBezTo>
                    <a:pt x="2485" y="6852"/>
                    <a:pt x="2713" y="6667"/>
                    <a:pt x="2713" y="6224"/>
                  </a:cubicBezTo>
                  <a:lnTo>
                    <a:pt x="2713" y="1656"/>
                  </a:lnTo>
                  <a:cubicBezTo>
                    <a:pt x="2713" y="1213"/>
                    <a:pt x="2485" y="1028"/>
                    <a:pt x="2085" y="1028"/>
                  </a:cubicBezTo>
                  <a:cubicBezTo>
                    <a:pt x="1728" y="1028"/>
                    <a:pt x="1385" y="1170"/>
                    <a:pt x="1085" y="1428"/>
                  </a:cubicBezTo>
                  <a:lnTo>
                    <a:pt x="1085" y="6453"/>
                  </a:lnTo>
                  <a:close/>
                  <a:moveTo>
                    <a:pt x="0" y="85"/>
                  </a:moveTo>
                  <a:lnTo>
                    <a:pt x="1085" y="85"/>
                  </a:lnTo>
                  <a:lnTo>
                    <a:pt x="1085" y="585"/>
                  </a:lnTo>
                  <a:cubicBezTo>
                    <a:pt x="1342" y="314"/>
                    <a:pt x="1785" y="0"/>
                    <a:pt x="2413" y="0"/>
                  </a:cubicBezTo>
                  <a:cubicBezTo>
                    <a:pt x="3342" y="0"/>
                    <a:pt x="3799" y="614"/>
                    <a:pt x="3799" y="1527"/>
                  </a:cubicBezTo>
                  <a:lnTo>
                    <a:pt x="3799" y="6353"/>
                  </a:lnTo>
                  <a:cubicBezTo>
                    <a:pt x="3799" y="7267"/>
                    <a:pt x="3342" y="7881"/>
                    <a:pt x="2413" y="7881"/>
                  </a:cubicBezTo>
                  <a:cubicBezTo>
                    <a:pt x="1785" y="7881"/>
                    <a:pt x="1342" y="7581"/>
                    <a:pt x="1085" y="7324"/>
                  </a:cubicBezTo>
                  <a:lnTo>
                    <a:pt x="1085" y="9811"/>
                  </a:lnTo>
                  <a:lnTo>
                    <a:pt x="0" y="9811"/>
                  </a:lnTo>
                  <a:lnTo>
                    <a:pt x="0" y="85"/>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endParaRPr lang="en-US"/>
            </a:p>
          </p:txBody>
        </p:sp>
        <p:sp>
          <p:nvSpPr>
            <p:cNvPr id="13" name="Freeform 3">
              <a:extLst>
                <a:ext uri="{FF2B5EF4-FFF2-40B4-BE49-F238E27FC236}">
                  <a16:creationId xmlns:a16="http://schemas.microsoft.com/office/drawing/2014/main" id="{079D1940-D81B-36BD-0AFF-A22863D67EA2}"/>
                </a:ext>
              </a:extLst>
            </p:cNvPr>
            <p:cNvSpPr>
              <a:spLocks noChangeArrowheads="1"/>
            </p:cNvSpPr>
            <p:nvPr/>
          </p:nvSpPr>
          <p:spPr bwMode="auto">
            <a:xfrm>
              <a:off x="4711700" y="2035175"/>
              <a:ext cx="1328738" cy="2836863"/>
            </a:xfrm>
            <a:custGeom>
              <a:avLst/>
              <a:gdLst>
                <a:gd name="T0" fmla="*/ 937679 w 3690"/>
                <a:gd name="T1" fmla="*/ 2338019 h 7882"/>
                <a:gd name="T2" fmla="*/ 937679 w 3690"/>
                <a:gd name="T3" fmla="*/ 1422750 h 7882"/>
                <a:gd name="T4" fmla="*/ 582988 w 3690"/>
                <a:gd name="T5" fmla="*/ 1556999 h 7882"/>
                <a:gd name="T6" fmla="*/ 392500 w 3690"/>
                <a:gd name="T7" fmla="*/ 1844573 h 7882"/>
                <a:gd name="T8" fmla="*/ 392500 w 3690"/>
                <a:gd name="T9" fmla="*/ 2266035 h 7882"/>
                <a:gd name="T10" fmla="*/ 582988 w 3690"/>
                <a:gd name="T11" fmla="*/ 2466149 h 7882"/>
                <a:gd name="T12" fmla="*/ 937679 w 3690"/>
                <a:gd name="T13" fmla="*/ 2338019 h 7882"/>
                <a:gd name="T14" fmla="*/ 2161 w 3690"/>
                <a:gd name="T15" fmla="*/ 1839174 h 7882"/>
                <a:gd name="T16" fmla="*/ 413025 w 3690"/>
                <a:gd name="T17" fmla="*/ 1253950 h 7882"/>
                <a:gd name="T18" fmla="*/ 937679 w 3690"/>
                <a:gd name="T19" fmla="*/ 1073991 h 7882"/>
                <a:gd name="T20" fmla="*/ 937679 w 3690"/>
                <a:gd name="T21" fmla="*/ 611498 h 7882"/>
                <a:gd name="T22" fmla="*/ 690656 w 3690"/>
                <a:gd name="T23" fmla="*/ 359557 h 7882"/>
                <a:gd name="T24" fmla="*/ 627280 w 3690"/>
                <a:gd name="T25" fmla="*/ 359557 h 7882"/>
                <a:gd name="T26" fmla="*/ 380257 w 3690"/>
                <a:gd name="T27" fmla="*/ 611498 h 7882"/>
                <a:gd name="T28" fmla="*/ 380257 w 3690"/>
                <a:gd name="T29" fmla="*/ 1004527 h 7882"/>
                <a:gd name="T30" fmla="*/ 0 w 3690"/>
                <a:gd name="T31" fmla="*/ 1004527 h 7882"/>
                <a:gd name="T32" fmla="*/ 0 w 3690"/>
                <a:gd name="T33" fmla="*/ 626975 h 7882"/>
                <a:gd name="T34" fmla="*/ 627280 w 3690"/>
                <a:gd name="T35" fmla="*/ 0 h 7882"/>
                <a:gd name="T36" fmla="*/ 701098 w 3690"/>
                <a:gd name="T37" fmla="*/ 0 h 7882"/>
                <a:gd name="T38" fmla="*/ 1328378 w 3690"/>
                <a:gd name="T39" fmla="*/ 626975 h 7882"/>
                <a:gd name="T40" fmla="*/ 1328378 w 3690"/>
                <a:gd name="T41" fmla="*/ 2805550 h 7882"/>
                <a:gd name="T42" fmla="*/ 937679 w 3690"/>
                <a:gd name="T43" fmla="*/ 2805550 h 7882"/>
                <a:gd name="T44" fmla="*/ 937679 w 3690"/>
                <a:gd name="T45" fmla="*/ 2630631 h 7882"/>
                <a:gd name="T46" fmla="*/ 459477 w 3690"/>
                <a:gd name="T47" fmla="*/ 2836503 h 7882"/>
                <a:gd name="T48" fmla="*/ 2161 w 3690"/>
                <a:gd name="T49" fmla="*/ 2348096 h 7882"/>
                <a:gd name="T50" fmla="*/ 2161 w 3690"/>
                <a:gd name="T51" fmla="*/ 1839174 h 7882"/>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3690" h="7882">
                  <a:moveTo>
                    <a:pt x="2604" y="6496"/>
                  </a:moveTo>
                  <a:lnTo>
                    <a:pt x="2604" y="3953"/>
                  </a:lnTo>
                  <a:lnTo>
                    <a:pt x="1619" y="4326"/>
                  </a:lnTo>
                  <a:cubicBezTo>
                    <a:pt x="1219" y="4483"/>
                    <a:pt x="1090" y="4683"/>
                    <a:pt x="1090" y="5125"/>
                  </a:cubicBezTo>
                  <a:lnTo>
                    <a:pt x="1090" y="6296"/>
                  </a:lnTo>
                  <a:cubicBezTo>
                    <a:pt x="1090" y="6667"/>
                    <a:pt x="1276" y="6852"/>
                    <a:pt x="1619" y="6852"/>
                  </a:cubicBezTo>
                  <a:cubicBezTo>
                    <a:pt x="1947" y="6852"/>
                    <a:pt x="2247" y="6738"/>
                    <a:pt x="2604" y="6496"/>
                  </a:cubicBezTo>
                  <a:close/>
                  <a:moveTo>
                    <a:pt x="6" y="5110"/>
                  </a:moveTo>
                  <a:cubicBezTo>
                    <a:pt x="6" y="4155"/>
                    <a:pt x="320" y="3769"/>
                    <a:pt x="1147" y="3484"/>
                  </a:cubicBezTo>
                  <a:lnTo>
                    <a:pt x="2604" y="2984"/>
                  </a:lnTo>
                  <a:lnTo>
                    <a:pt x="2604" y="1699"/>
                  </a:lnTo>
                  <a:cubicBezTo>
                    <a:pt x="2604" y="1242"/>
                    <a:pt x="2375" y="999"/>
                    <a:pt x="1918" y="999"/>
                  </a:cubicBezTo>
                  <a:lnTo>
                    <a:pt x="1742" y="999"/>
                  </a:lnTo>
                  <a:cubicBezTo>
                    <a:pt x="1285" y="999"/>
                    <a:pt x="1056" y="1242"/>
                    <a:pt x="1056" y="1699"/>
                  </a:cubicBezTo>
                  <a:lnTo>
                    <a:pt x="1056" y="2791"/>
                  </a:lnTo>
                  <a:lnTo>
                    <a:pt x="0" y="2791"/>
                  </a:lnTo>
                  <a:lnTo>
                    <a:pt x="0" y="1742"/>
                  </a:lnTo>
                  <a:cubicBezTo>
                    <a:pt x="0" y="585"/>
                    <a:pt x="586" y="0"/>
                    <a:pt x="1742" y="0"/>
                  </a:cubicBezTo>
                  <a:lnTo>
                    <a:pt x="1947" y="0"/>
                  </a:lnTo>
                  <a:cubicBezTo>
                    <a:pt x="3104" y="0"/>
                    <a:pt x="3689" y="585"/>
                    <a:pt x="3689" y="1742"/>
                  </a:cubicBezTo>
                  <a:lnTo>
                    <a:pt x="3689" y="7795"/>
                  </a:lnTo>
                  <a:lnTo>
                    <a:pt x="2604" y="7795"/>
                  </a:lnTo>
                  <a:lnTo>
                    <a:pt x="2604" y="7309"/>
                  </a:lnTo>
                  <a:cubicBezTo>
                    <a:pt x="2304" y="7595"/>
                    <a:pt x="1904" y="7881"/>
                    <a:pt x="1276" y="7881"/>
                  </a:cubicBezTo>
                  <a:cubicBezTo>
                    <a:pt x="406" y="7881"/>
                    <a:pt x="6" y="7381"/>
                    <a:pt x="6" y="6524"/>
                  </a:cubicBezTo>
                  <a:lnTo>
                    <a:pt x="6" y="5110"/>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endParaRPr lang="en-US"/>
            </a:p>
          </p:txBody>
        </p:sp>
        <p:sp>
          <p:nvSpPr>
            <p:cNvPr id="17" name="Freeform 4">
              <a:extLst>
                <a:ext uri="{FF2B5EF4-FFF2-40B4-BE49-F238E27FC236}">
                  <a16:creationId xmlns:a16="http://schemas.microsoft.com/office/drawing/2014/main" id="{A1695757-04A8-19C8-3C5D-BBE4A967162C}"/>
                </a:ext>
              </a:extLst>
            </p:cNvPr>
            <p:cNvSpPr>
              <a:spLocks noChangeArrowheads="1"/>
            </p:cNvSpPr>
            <p:nvPr/>
          </p:nvSpPr>
          <p:spPr bwMode="auto">
            <a:xfrm>
              <a:off x="6292850" y="2035175"/>
              <a:ext cx="2262188" cy="2806700"/>
            </a:xfrm>
            <a:custGeom>
              <a:avLst/>
              <a:gdLst>
                <a:gd name="T0" fmla="*/ 1326358 w 6285"/>
                <a:gd name="T1" fmla="*/ 2806340 h 7796"/>
                <a:gd name="T2" fmla="*/ 935470 w 6285"/>
                <a:gd name="T3" fmla="*/ 2806340 h 7796"/>
                <a:gd name="T4" fmla="*/ 935470 w 6285"/>
                <a:gd name="T5" fmla="*/ 570628 h 7796"/>
                <a:gd name="T6" fmla="*/ 750463 w 6285"/>
                <a:gd name="T7" fmla="*/ 370098 h 7796"/>
                <a:gd name="T8" fmla="*/ 390889 w 6285"/>
                <a:gd name="T9" fmla="*/ 508705 h 7796"/>
                <a:gd name="T10" fmla="*/ 390889 w 6285"/>
                <a:gd name="T11" fmla="*/ 2806340 h 7796"/>
                <a:gd name="T12" fmla="*/ 0 w 6285"/>
                <a:gd name="T13" fmla="*/ 2806340 h 7796"/>
                <a:gd name="T14" fmla="*/ 0 w 6285"/>
                <a:gd name="T15" fmla="*/ 30602 h 7796"/>
                <a:gd name="T16" fmla="*/ 390889 w 6285"/>
                <a:gd name="T17" fmla="*/ 30602 h 7796"/>
                <a:gd name="T18" fmla="*/ 390889 w 6285"/>
                <a:gd name="T19" fmla="*/ 210611 h 7796"/>
                <a:gd name="T20" fmla="*/ 868882 w 6285"/>
                <a:gd name="T21" fmla="*/ 0 h 7796"/>
                <a:gd name="T22" fmla="*/ 1274888 w 6285"/>
                <a:gd name="T23" fmla="*/ 226091 h 7796"/>
                <a:gd name="T24" fmla="*/ 1804351 w 6285"/>
                <a:gd name="T25" fmla="*/ 0 h 7796"/>
                <a:gd name="T26" fmla="*/ 2261828 w 6285"/>
                <a:gd name="T27" fmla="*/ 488184 h 7796"/>
                <a:gd name="T28" fmla="*/ 2261828 w 6285"/>
                <a:gd name="T29" fmla="*/ 2806340 h 7796"/>
                <a:gd name="T30" fmla="*/ 1870939 w 6285"/>
                <a:gd name="T31" fmla="*/ 2806340 h 7796"/>
                <a:gd name="T32" fmla="*/ 1870939 w 6285"/>
                <a:gd name="T33" fmla="*/ 570628 h 7796"/>
                <a:gd name="T34" fmla="*/ 1685933 w 6285"/>
                <a:gd name="T35" fmla="*/ 370098 h 7796"/>
                <a:gd name="T36" fmla="*/ 1326358 w 6285"/>
                <a:gd name="T37" fmla="*/ 508705 h 7796"/>
                <a:gd name="T38" fmla="*/ 1326358 w 6285"/>
                <a:gd name="T39" fmla="*/ 2806340 h 779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6285" h="7796">
                  <a:moveTo>
                    <a:pt x="3685" y="7795"/>
                  </a:moveTo>
                  <a:lnTo>
                    <a:pt x="2599" y="7795"/>
                  </a:lnTo>
                  <a:lnTo>
                    <a:pt x="2599" y="1585"/>
                  </a:lnTo>
                  <a:cubicBezTo>
                    <a:pt x="2599" y="1199"/>
                    <a:pt x="2414" y="1028"/>
                    <a:pt x="2085" y="1028"/>
                  </a:cubicBezTo>
                  <a:cubicBezTo>
                    <a:pt x="1785" y="1028"/>
                    <a:pt x="1471" y="1142"/>
                    <a:pt x="1086" y="1413"/>
                  </a:cubicBezTo>
                  <a:lnTo>
                    <a:pt x="1086" y="7795"/>
                  </a:lnTo>
                  <a:lnTo>
                    <a:pt x="0" y="7795"/>
                  </a:lnTo>
                  <a:lnTo>
                    <a:pt x="0" y="85"/>
                  </a:lnTo>
                  <a:lnTo>
                    <a:pt x="1086" y="85"/>
                  </a:lnTo>
                  <a:lnTo>
                    <a:pt x="1086" y="585"/>
                  </a:lnTo>
                  <a:cubicBezTo>
                    <a:pt x="1400" y="285"/>
                    <a:pt x="1814" y="0"/>
                    <a:pt x="2414" y="0"/>
                  </a:cubicBezTo>
                  <a:cubicBezTo>
                    <a:pt x="2971" y="0"/>
                    <a:pt x="3342" y="228"/>
                    <a:pt x="3542" y="628"/>
                  </a:cubicBezTo>
                  <a:cubicBezTo>
                    <a:pt x="3928" y="299"/>
                    <a:pt x="4385" y="0"/>
                    <a:pt x="5013" y="0"/>
                  </a:cubicBezTo>
                  <a:cubicBezTo>
                    <a:pt x="5855" y="0"/>
                    <a:pt x="6284" y="514"/>
                    <a:pt x="6284" y="1356"/>
                  </a:cubicBezTo>
                  <a:lnTo>
                    <a:pt x="6284" y="7795"/>
                  </a:lnTo>
                  <a:lnTo>
                    <a:pt x="5198" y="7795"/>
                  </a:lnTo>
                  <a:lnTo>
                    <a:pt x="5198" y="1585"/>
                  </a:lnTo>
                  <a:cubicBezTo>
                    <a:pt x="5198" y="1199"/>
                    <a:pt x="5013" y="1028"/>
                    <a:pt x="4684" y="1028"/>
                  </a:cubicBezTo>
                  <a:cubicBezTo>
                    <a:pt x="4385" y="1028"/>
                    <a:pt x="4070" y="1142"/>
                    <a:pt x="3685" y="1413"/>
                  </a:cubicBezTo>
                  <a:lnTo>
                    <a:pt x="3685" y="7795"/>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endParaRPr lang="en-US"/>
            </a:p>
          </p:txBody>
        </p:sp>
        <p:sp>
          <p:nvSpPr>
            <p:cNvPr id="18" name="Freeform 5">
              <a:extLst>
                <a:ext uri="{FF2B5EF4-FFF2-40B4-BE49-F238E27FC236}">
                  <a16:creationId xmlns:a16="http://schemas.microsoft.com/office/drawing/2014/main" id="{6F3E64CA-A5B5-4C1D-5E41-A54DF0D61448}"/>
                </a:ext>
              </a:extLst>
            </p:cNvPr>
            <p:cNvSpPr>
              <a:spLocks noChangeArrowheads="1"/>
            </p:cNvSpPr>
            <p:nvPr/>
          </p:nvSpPr>
          <p:spPr bwMode="auto">
            <a:xfrm>
              <a:off x="14288" y="2322513"/>
              <a:ext cx="1004887" cy="2274887"/>
            </a:xfrm>
            <a:custGeom>
              <a:avLst/>
              <a:gdLst>
                <a:gd name="T0" fmla="*/ 1004527 w 2790"/>
                <a:gd name="T1" fmla="*/ 0 h 6317"/>
                <a:gd name="T2" fmla="*/ 1004527 w 2790"/>
                <a:gd name="T3" fmla="*/ 510652 h 6317"/>
                <a:gd name="T4" fmla="*/ 346488 w 2790"/>
                <a:gd name="T5" fmla="*/ 1137624 h 6317"/>
                <a:gd name="T6" fmla="*/ 1004527 w 2790"/>
                <a:gd name="T7" fmla="*/ 1752711 h 6317"/>
                <a:gd name="T8" fmla="*/ 1004527 w 2790"/>
                <a:gd name="T9" fmla="*/ 2274527 h 6317"/>
                <a:gd name="T10" fmla="*/ 0 w 2790"/>
                <a:gd name="T11" fmla="*/ 1331009 h 6317"/>
                <a:gd name="T12" fmla="*/ 0 w 2790"/>
                <a:gd name="T13" fmla="*/ 955042 h 6317"/>
                <a:gd name="T14" fmla="*/ 1004527 w 2790"/>
                <a:gd name="T15" fmla="*/ 0 h 6317"/>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2790" h="6317">
                  <a:moveTo>
                    <a:pt x="2789" y="0"/>
                  </a:moveTo>
                  <a:lnTo>
                    <a:pt x="2789" y="1418"/>
                  </a:lnTo>
                  <a:lnTo>
                    <a:pt x="962" y="3159"/>
                  </a:lnTo>
                  <a:lnTo>
                    <a:pt x="2789" y="4867"/>
                  </a:lnTo>
                  <a:lnTo>
                    <a:pt x="2789" y="6316"/>
                  </a:lnTo>
                  <a:lnTo>
                    <a:pt x="0" y="3696"/>
                  </a:lnTo>
                  <a:lnTo>
                    <a:pt x="0" y="2652"/>
                  </a:lnTo>
                  <a:lnTo>
                    <a:pt x="2789"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endParaRPr lang="en-US"/>
            </a:p>
          </p:txBody>
        </p:sp>
        <p:sp>
          <p:nvSpPr>
            <p:cNvPr id="19" name="Freeform 6">
              <a:extLst>
                <a:ext uri="{FF2B5EF4-FFF2-40B4-BE49-F238E27FC236}">
                  <a16:creationId xmlns:a16="http://schemas.microsoft.com/office/drawing/2014/main" id="{7E9FE5AB-E08C-4219-4E3E-FB954C32DFF5}"/>
                </a:ext>
              </a:extLst>
            </p:cNvPr>
            <p:cNvSpPr>
              <a:spLocks noChangeArrowheads="1"/>
            </p:cNvSpPr>
            <p:nvPr/>
          </p:nvSpPr>
          <p:spPr bwMode="auto">
            <a:xfrm>
              <a:off x="9050338" y="2322513"/>
              <a:ext cx="1003300" cy="2274887"/>
            </a:xfrm>
            <a:custGeom>
              <a:avLst/>
              <a:gdLst>
                <a:gd name="T0" fmla="*/ 1002940 w 2789"/>
                <a:gd name="T1" fmla="*/ 955042 h 6317"/>
                <a:gd name="T2" fmla="*/ 1002940 w 2789"/>
                <a:gd name="T3" fmla="*/ 1331009 h 6317"/>
                <a:gd name="T4" fmla="*/ 0 w 2789"/>
                <a:gd name="T5" fmla="*/ 2274527 h 6317"/>
                <a:gd name="T6" fmla="*/ 0 w 2789"/>
                <a:gd name="T7" fmla="*/ 1752711 h 6317"/>
                <a:gd name="T8" fmla="*/ 656876 w 2789"/>
                <a:gd name="T9" fmla="*/ 1137624 h 6317"/>
                <a:gd name="T10" fmla="*/ 0 w 2789"/>
                <a:gd name="T11" fmla="*/ 510652 h 6317"/>
                <a:gd name="T12" fmla="*/ 0 w 2789"/>
                <a:gd name="T13" fmla="*/ 0 h 6317"/>
                <a:gd name="T14" fmla="*/ 1002940 w 2789"/>
                <a:gd name="T15" fmla="*/ 955042 h 6317"/>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2789" h="6317">
                  <a:moveTo>
                    <a:pt x="2788" y="2652"/>
                  </a:moveTo>
                  <a:lnTo>
                    <a:pt x="2788" y="3696"/>
                  </a:lnTo>
                  <a:lnTo>
                    <a:pt x="0" y="6316"/>
                  </a:lnTo>
                  <a:lnTo>
                    <a:pt x="0" y="4867"/>
                  </a:lnTo>
                  <a:lnTo>
                    <a:pt x="1826" y="3159"/>
                  </a:lnTo>
                  <a:lnTo>
                    <a:pt x="0" y="1418"/>
                  </a:lnTo>
                  <a:lnTo>
                    <a:pt x="0" y="0"/>
                  </a:lnTo>
                  <a:lnTo>
                    <a:pt x="2788" y="2652"/>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endParaRPr lang="en-US"/>
            </a:p>
          </p:txBody>
        </p:sp>
      </p:grpSp>
      <p:sp>
        <p:nvSpPr>
          <p:cNvPr id="20" name="Footer Placeholder 14">
            <a:extLst>
              <a:ext uri="{FF2B5EF4-FFF2-40B4-BE49-F238E27FC236}">
                <a16:creationId xmlns:a16="http://schemas.microsoft.com/office/drawing/2014/main" id="{F369679F-2BF0-B53F-A0B0-9BFF32BF30F7}"/>
              </a:ext>
            </a:extLst>
          </p:cNvPr>
          <p:cNvSpPr txBox="1">
            <a:spLocks/>
          </p:cNvSpPr>
          <p:nvPr userDrawn="1"/>
        </p:nvSpPr>
        <p:spPr>
          <a:xfrm>
            <a:off x="1206203" y="6411603"/>
            <a:ext cx="2157779" cy="228599"/>
          </a:xfrm>
          <a:prstGeom prst="rect">
            <a:avLst/>
          </a:prstGeom>
        </p:spPr>
        <p:txBody>
          <a:bodyPr vert="horz" lIns="0" tIns="0" rIns="0" bIns="0" rtlCol="0" anchor="ctr"/>
          <a:lstStyle>
            <a:defPPr>
              <a:defRPr lang="en-US"/>
            </a:defPPr>
            <a:lvl1pPr marL="0" algn="r" defTabSz="914400" rtl="0" eaLnBrk="1" latinLnBrk="0" hangingPunct="1">
              <a:defRPr sz="600" b="0" i="0" kern="1200">
                <a:solidFill>
                  <a:schemeClr val="tx1"/>
                </a:solidFill>
                <a:latin typeface="+mn-lt"/>
                <a:ea typeface="Calibri" panose="020F0502020204030204" pitchFamily="34" charset="0"/>
                <a:cs typeface="Calibri" panose="020F050202020403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b="0" i="0">
                <a:solidFill>
                  <a:schemeClr val="bg1"/>
                </a:solidFill>
                <a:latin typeface="+mn-lt"/>
              </a:rPr>
              <a:t>EPAM Proprietary &amp; Confidential</a:t>
            </a:r>
            <a:r>
              <a:rPr lang="ru-RU" b="0" i="0">
                <a:solidFill>
                  <a:schemeClr val="bg1"/>
                </a:solidFill>
                <a:latin typeface="+mn-lt"/>
              </a:rPr>
              <a:t> </a:t>
            </a:r>
            <a:endParaRPr lang="en-US" b="0" i="0">
              <a:solidFill>
                <a:schemeClr val="bg1"/>
              </a:solidFill>
              <a:latin typeface="+mn-lt"/>
            </a:endParaRPr>
          </a:p>
        </p:txBody>
      </p:sp>
      <p:pic>
        <p:nvPicPr>
          <p:cNvPr id="23" name="Graphic 22">
            <a:extLst>
              <a:ext uri="{FF2B5EF4-FFF2-40B4-BE49-F238E27FC236}">
                <a16:creationId xmlns:a16="http://schemas.microsoft.com/office/drawing/2014/main" id="{A22B308C-0BBA-A421-A667-8C8137560C25}"/>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820266" y="6419060"/>
            <a:ext cx="762921" cy="205636"/>
          </a:xfrm>
          <a:prstGeom prst="rect">
            <a:avLst/>
          </a:prstGeom>
        </p:spPr>
      </p:pic>
    </p:spTree>
    <p:extLst>
      <p:ext uri="{BB962C8B-B14F-4D97-AF65-F5344CB8AC3E}">
        <p14:creationId xmlns:p14="http://schemas.microsoft.com/office/powerpoint/2010/main" val="3899415968"/>
      </p:ext>
    </p:extLst>
  </p:cSld>
  <p:clrMapOvr>
    <a:masterClrMapping/>
  </p:clrMapOvr>
  <p:extLst>
    <p:ext uri="{DCECCB84-F9BA-43D5-87BE-67443E8EF086}">
      <p15:sldGuideLst xmlns:p15="http://schemas.microsoft.com/office/powerpoint/2012/main"/>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4-Columns + pictures">
    <p:spTree>
      <p:nvGrpSpPr>
        <p:cNvPr id="1" name=""/>
        <p:cNvGrpSpPr/>
        <p:nvPr/>
      </p:nvGrpSpPr>
      <p:grpSpPr>
        <a:xfrm>
          <a:off x="0" y="0"/>
          <a:ext cx="0" cy="0"/>
          <a:chOff x="0" y="0"/>
          <a:chExt cx="0" cy="0"/>
        </a:xfrm>
      </p:grpSpPr>
      <p:sp>
        <p:nvSpPr>
          <p:cNvPr id="18" name="Text Placeholder 4">
            <a:extLst>
              <a:ext uri="{FF2B5EF4-FFF2-40B4-BE49-F238E27FC236}">
                <a16:creationId xmlns:a16="http://schemas.microsoft.com/office/drawing/2014/main" id="{70651C10-E6D0-184A-4CCE-B537C25CD2C2}"/>
              </a:ext>
            </a:extLst>
          </p:cNvPr>
          <p:cNvSpPr>
            <a:spLocks noGrp="1"/>
          </p:cNvSpPr>
          <p:nvPr>
            <p:ph type="body" sz="quarter" idx="26" hasCustomPrompt="1"/>
          </p:nvPr>
        </p:nvSpPr>
        <p:spPr>
          <a:xfrm>
            <a:off x="647700" y="3423512"/>
            <a:ext cx="2436876" cy="430887"/>
          </a:xfrm>
          <a:prstGeom prst="rect">
            <a:avLst/>
          </a:prstGeom>
        </p:spPr>
        <p:txBody>
          <a:bodyPr wrap="square" anchor="t" anchorCtr="0">
            <a:spAutoFit/>
          </a:bodyPr>
          <a:lstStyle>
            <a:lvl1pPr marL="0" marR="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sz="1400" b="1" i="0">
                <a:solidFill>
                  <a:schemeClr val="tx1"/>
                </a:solidFill>
                <a:latin typeface="Calibri" panose="020F0502020204030204" pitchFamily="34" charset="0"/>
                <a:cs typeface="Calibri" panose="020F0502020204030204" pitchFamily="34" charset="0"/>
              </a:defRPr>
            </a:lvl1pPr>
          </a:lstStyle>
          <a:p>
            <a:r>
              <a:rPr lang="en-US"/>
              <a:t>Lorem ipsum </a:t>
            </a:r>
            <a:r>
              <a:rPr lang="en-US" err="1"/>
              <a:t>nulla</a:t>
            </a:r>
            <a:r>
              <a:rPr lang="en-US"/>
              <a:t> </a:t>
            </a:r>
            <a:r>
              <a:rPr lang="en-US" err="1"/>
              <a:t>primis</a:t>
            </a:r>
            <a:r>
              <a:rPr lang="en-US"/>
              <a:t> eros mi </a:t>
            </a:r>
            <a:r>
              <a:rPr lang="en-US" err="1"/>
              <a:t>maecenas</a:t>
            </a:r>
            <a:r>
              <a:rPr lang="en-US"/>
              <a:t> ligula magna.</a:t>
            </a:r>
          </a:p>
        </p:txBody>
      </p:sp>
      <p:sp>
        <p:nvSpPr>
          <p:cNvPr id="21" name="Text Placeholder 4">
            <a:extLst>
              <a:ext uri="{FF2B5EF4-FFF2-40B4-BE49-F238E27FC236}">
                <a16:creationId xmlns:a16="http://schemas.microsoft.com/office/drawing/2014/main" id="{A7813D84-3CE5-9D8C-404E-15FB381BA3CC}"/>
              </a:ext>
            </a:extLst>
          </p:cNvPr>
          <p:cNvSpPr>
            <a:spLocks noGrp="1"/>
          </p:cNvSpPr>
          <p:nvPr>
            <p:ph type="body" sz="quarter" idx="27" hasCustomPrompt="1"/>
          </p:nvPr>
        </p:nvSpPr>
        <p:spPr>
          <a:xfrm>
            <a:off x="647700" y="4153711"/>
            <a:ext cx="2400300" cy="1598771"/>
          </a:xfrm>
          <a:prstGeom prst="rect">
            <a:avLst/>
          </a:prstGeom>
        </p:spPr>
        <p:txBody>
          <a:bodyPr wrap="square" anchor="t" anchorCtr="0">
            <a:spAutoFit/>
          </a:bodyPr>
          <a:lstStyle>
            <a:lvl1pPr marL="0" marR="0" indent="0" algn="l" defTabSz="914400" rtl="0" eaLnBrk="1" fontAlgn="auto" latinLnBrk="0" hangingPunct="1">
              <a:lnSpc>
                <a:spcPts val="1800"/>
              </a:lnSpc>
              <a:spcBef>
                <a:spcPts val="600"/>
              </a:spcBef>
              <a:spcAft>
                <a:spcPts val="0"/>
              </a:spcAft>
              <a:buClrTx/>
              <a:buSzTx/>
              <a:buFont typeface="Arial" panose="020B0604020202020204" pitchFamily="34" charset="0"/>
              <a:buNone/>
              <a:tabLst/>
              <a:defRPr sz="1200" b="0" i="0">
                <a:solidFill>
                  <a:schemeClr val="tx1"/>
                </a:solidFill>
                <a:latin typeface="Calibri Light" panose="020F0302020204030204" pitchFamily="34" charset="0"/>
                <a:cs typeface="Calibri Light" panose="020F0302020204030204" pitchFamily="34" charset="0"/>
              </a:defRPr>
            </a:lvl1pPr>
          </a:lstStyle>
          <a:p>
            <a:r>
              <a:rPr lang="en-US"/>
              <a:t>Lorem ipsum </a:t>
            </a:r>
            <a:r>
              <a:rPr lang="en-US" err="1"/>
              <a:t>nulla</a:t>
            </a:r>
            <a:r>
              <a:rPr lang="en-US"/>
              <a:t> </a:t>
            </a:r>
            <a:r>
              <a:rPr lang="en-US" err="1"/>
              <a:t>primis</a:t>
            </a:r>
            <a:r>
              <a:rPr lang="en-US"/>
              <a:t> eros mi </a:t>
            </a:r>
            <a:r>
              <a:rPr lang="en-US" err="1"/>
              <a:t>maecenas</a:t>
            </a:r>
            <a:r>
              <a:rPr lang="en-US"/>
              <a:t> ligula magna, </a:t>
            </a:r>
            <a:r>
              <a:rPr lang="en-US" err="1"/>
              <a:t>nibh</a:t>
            </a:r>
            <a:r>
              <a:rPr lang="en-US"/>
              <a:t> </a:t>
            </a:r>
            <a:r>
              <a:rPr lang="en-US" err="1"/>
              <a:t>commodo</a:t>
            </a:r>
            <a:r>
              <a:rPr lang="en-US"/>
              <a:t> </a:t>
            </a:r>
            <a:r>
              <a:rPr lang="en-US" err="1"/>
              <a:t>aenean</a:t>
            </a:r>
            <a:r>
              <a:rPr lang="en-US"/>
              <a:t> </a:t>
            </a:r>
            <a:r>
              <a:rPr lang="en-US" err="1"/>
              <a:t>leo</a:t>
            </a:r>
            <a:r>
              <a:rPr lang="en-US"/>
              <a:t> porta </a:t>
            </a:r>
            <a:r>
              <a:rPr lang="en-US" err="1"/>
              <a:t>duis</a:t>
            </a:r>
            <a:r>
              <a:rPr lang="en-US"/>
              <a:t> magna </a:t>
            </a:r>
            <a:r>
              <a:rPr lang="en-US" err="1"/>
              <a:t>felis</a:t>
            </a:r>
            <a:r>
              <a:rPr lang="en-US"/>
              <a:t> </a:t>
            </a:r>
            <a:r>
              <a:rPr lang="en-US" err="1"/>
              <a:t>bibendum</a:t>
            </a:r>
            <a:r>
              <a:rPr lang="en-US"/>
              <a:t> </a:t>
            </a:r>
            <a:r>
              <a:rPr lang="en-US" err="1"/>
              <a:t>tempor</a:t>
            </a:r>
            <a:r>
              <a:rPr lang="en-US"/>
              <a:t> </a:t>
            </a:r>
            <a:r>
              <a:rPr lang="en-US" err="1"/>
              <a:t>cubilia</a:t>
            </a:r>
            <a:r>
              <a:rPr lang="en-US"/>
              <a:t> gravida </a:t>
            </a:r>
            <a:r>
              <a:rPr lang="en-US" err="1"/>
              <a:t>molestie</a:t>
            </a:r>
            <a:r>
              <a:rPr lang="en-US"/>
              <a:t> a </a:t>
            </a:r>
            <a:r>
              <a:rPr lang="en-US" err="1"/>
              <a:t>pretium</a:t>
            </a:r>
            <a:r>
              <a:rPr lang="en-US"/>
              <a:t> </a:t>
            </a:r>
            <a:r>
              <a:rPr lang="en-US" err="1"/>
              <a:t>egestas</a:t>
            </a:r>
            <a:r>
              <a:rPr lang="en-US"/>
              <a:t> </a:t>
            </a:r>
            <a:r>
              <a:rPr lang="en-US" err="1"/>
              <a:t>iaculis</a:t>
            </a:r>
            <a:r>
              <a:rPr lang="en-US"/>
              <a:t> per, eros sit </a:t>
            </a:r>
            <a:r>
              <a:rPr lang="en-US" err="1"/>
              <a:t>leo</a:t>
            </a:r>
            <a:r>
              <a:rPr lang="en-US"/>
              <a:t> </a:t>
            </a:r>
            <a:r>
              <a:rPr lang="en-US" err="1"/>
              <a:t>augue</a:t>
            </a:r>
            <a:r>
              <a:rPr lang="en-US"/>
              <a:t> tempus </a:t>
            </a:r>
            <a:r>
              <a:rPr lang="en-US" err="1"/>
              <a:t>consectetur</a:t>
            </a:r>
            <a:r>
              <a:rPr lang="en-US"/>
              <a:t>.</a:t>
            </a:r>
          </a:p>
        </p:txBody>
      </p:sp>
      <p:sp>
        <p:nvSpPr>
          <p:cNvPr id="22" name="Picture Placeholder 3">
            <a:extLst>
              <a:ext uri="{FF2B5EF4-FFF2-40B4-BE49-F238E27FC236}">
                <a16:creationId xmlns:a16="http://schemas.microsoft.com/office/drawing/2014/main" id="{A62CCDE8-5A44-EA8E-2C4E-42BC870A3105}"/>
              </a:ext>
            </a:extLst>
          </p:cNvPr>
          <p:cNvSpPr>
            <a:spLocks noGrp="1"/>
          </p:cNvSpPr>
          <p:nvPr>
            <p:ph type="pic" sz="quarter" idx="31"/>
          </p:nvPr>
        </p:nvSpPr>
        <p:spPr>
          <a:xfrm>
            <a:off x="647700" y="1752600"/>
            <a:ext cx="2404872" cy="1371600"/>
          </a:xfrm>
          <a:prstGeom prst="rect">
            <a:avLst/>
          </a:prstGeom>
        </p:spPr>
        <p:txBody>
          <a:bodyPr/>
          <a:lstStyle>
            <a:lvl1pPr>
              <a:defRPr>
                <a:solidFill>
                  <a:schemeClr val="tx1"/>
                </a:solidFill>
              </a:defRPr>
            </a:lvl1pPr>
          </a:lstStyle>
          <a:p>
            <a:endParaRPr lang="en-US"/>
          </a:p>
        </p:txBody>
      </p:sp>
      <p:sp>
        <p:nvSpPr>
          <p:cNvPr id="23" name="Text Placeholder 4">
            <a:extLst>
              <a:ext uri="{FF2B5EF4-FFF2-40B4-BE49-F238E27FC236}">
                <a16:creationId xmlns:a16="http://schemas.microsoft.com/office/drawing/2014/main" id="{724051B0-CDDF-A2A1-C779-981883FCB294}"/>
              </a:ext>
            </a:extLst>
          </p:cNvPr>
          <p:cNvSpPr>
            <a:spLocks noGrp="1"/>
          </p:cNvSpPr>
          <p:nvPr>
            <p:ph type="body" sz="quarter" idx="32" hasCustomPrompt="1"/>
          </p:nvPr>
        </p:nvSpPr>
        <p:spPr>
          <a:xfrm>
            <a:off x="3453384" y="3423512"/>
            <a:ext cx="2436876" cy="430887"/>
          </a:xfrm>
          <a:prstGeom prst="rect">
            <a:avLst/>
          </a:prstGeom>
        </p:spPr>
        <p:txBody>
          <a:bodyPr wrap="square" anchor="t" anchorCtr="0">
            <a:spAutoFit/>
          </a:bodyPr>
          <a:lstStyle>
            <a:lvl1pPr marL="0" marR="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sz="1400" b="1" i="0">
                <a:solidFill>
                  <a:schemeClr val="tx1"/>
                </a:solidFill>
                <a:latin typeface="Calibri" panose="020F0502020204030204" pitchFamily="34" charset="0"/>
                <a:cs typeface="Calibri" panose="020F0502020204030204" pitchFamily="34" charset="0"/>
              </a:defRPr>
            </a:lvl1pPr>
          </a:lstStyle>
          <a:p>
            <a:r>
              <a:rPr lang="en-US"/>
              <a:t>Lorem ipsum </a:t>
            </a:r>
            <a:r>
              <a:rPr lang="en-US" err="1"/>
              <a:t>nulla</a:t>
            </a:r>
            <a:r>
              <a:rPr lang="en-US"/>
              <a:t> </a:t>
            </a:r>
            <a:r>
              <a:rPr lang="en-US" err="1"/>
              <a:t>primis</a:t>
            </a:r>
            <a:r>
              <a:rPr lang="en-US"/>
              <a:t> eros mi </a:t>
            </a:r>
            <a:r>
              <a:rPr lang="en-US" err="1"/>
              <a:t>maecenas</a:t>
            </a:r>
            <a:r>
              <a:rPr lang="en-US"/>
              <a:t> ligula magna.</a:t>
            </a:r>
          </a:p>
        </p:txBody>
      </p:sp>
      <p:sp>
        <p:nvSpPr>
          <p:cNvPr id="28" name="Text Placeholder 4">
            <a:extLst>
              <a:ext uri="{FF2B5EF4-FFF2-40B4-BE49-F238E27FC236}">
                <a16:creationId xmlns:a16="http://schemas.microsoft.com/office/drawing/2014/main" id="{17CC9F5A-2D56-4168-1379-DE68E1C18011}"/>
              </a:ext>
            </a:extLst>
          </p:cNvPr>
          <p:cNvSpPr>
            <a:spLocks noGrp="1"/>
          </p:cNvSpPr>
          <p:nvPr>
            <p:ph type="body" sz="quarter" idx="33" hasCustomPrompt="1"/>
          </p:nvPr>
        </p:nvSpPr>
        <p:spPr>
          <a:xfrm>
            <a:off x="3453384" y="4153711"/>
            <a:ext cx="2400300" cy="1598771"/>
          </a:xfrm>
          <a:prstGeom prst="rect">
            <a:avLst/>
          </a:prstGeom>
        </p:spPr>
        <p:txBody>
          <a:bodyPr wrap="square" anchor="t" anchorCtr="0">
            <a:spAutoFit/>
          </a:bodyPr>
          <a:lstStyle>
            <a:lvl1pPr marL="0" marR="0" indent="0" algn="l" defTabSz="914400" rtl="0" eaLnBrk="1" fontAlgn="auto" latinLnBrk="0" hangingPunct="1">
              <a:lnSpc>
                <a:spcPts val="1800"/>
              </a:lnSpc>
              <a:spcBef>
                <a:spcPts val="600"/>
              </a:spcBef>
              <a:spcAft>
                <a:spcPts val="0"/>
              </a:spcAft>
              <a:buClrTx/>
              <a:buSzTx/>
              <a:buFont typeface="Arial" panose="020B0604020202020204" pitchFamily="34" charset="0"/>
              <a:buNone/>
              <a:tabLst/>
              <a:defRPr sz="1200" b="0" i="0">
                <a:solidFill>
                  <a:schemeClr val="tx1"/>
                </a:solidFill>
                <a:latin typeface="Calibri Light" panose="020F0302020204030204" pitchFamily="34" charset="0"/>
                <a:cs typeface="Calibri Light" panose="020F0302020204030204" pitchFamily="34" charset="0"/>
              </a:defRPr>
            </a:lvl1pPr>
          </a:lstStyle>
          <a:p>
            <a:r>
              <a:rPr lang="en-US"/>
              <a:t>Lorem ipsum </a:t>
            </a:r>
            <a:r>
              <a:rPr lang="en-US" err="1"/>
              <a:t>nulla</a:t>
            </a:r>
            <a:r>
              <a:rPr lang="en-US"/>
              <a:t> </a:t>
            </a:r>
            <a:r>
              <a:rPr lang="en-US" err="1"/>
              <a:t>primis</a:t>
            </a:r>
            <a:r>
              <a:rPr lang="en-US"/>
              <a:t> eros mi </a:t>
            </a:r>
            <a:r>
              <a:rPr lang="en-US" err="1"/>
              <a:t>maecenas</a:t>
            </a:r>
            <a:r>
              <a:rPr lang="en-US"/>
              <a:t> ligula magna, </a:t>
            </a:r>
            <a:r>
              <a:rPr lang="en-US" err="1"/>
              <a:t>nibh</a:t>
            </a:r>
            <a:r>
              <a:rPr lang="en-US"/>
              <a:t> </a:t>
            </a:r>
            <a:r>
              <a:rPr lang="en-US" err="1"/>
              <a:t>commodo</a:t>
            </a:r>
            <a:r>
              <a:rPr lang="en-US"/>
              <a:t> </a:t>
            </a:r>
            <a:r>
              <a:rPr lang="en-US" err="1"/>
              <a:t>aenean</a:t>
            </a:r>
            <a:r>
              <a:rPr lang="en-US"/>
              <a:t> </a:t>
            </a:r>
            <a:r>
              <a:rPr lang="en-US" err="1"/>
              <a:t>leo</a:t>
            </a:r>
            <a:r>
              <a:rPr lang="en-US"/>
              <a:t> porta </a:t>
            </a:r>
            <a:r>
              <a:rPr lang="en-US" err="1"/>
              <a:t>duis</a:t>
            </a:r>
            <a:r>
              <a:rPr lang="en-US"/>
              <a:t> magna </a:t>
            </a:r>
            <a:r>
              <a:rPr lang="en-US" err="1"/>
              <a:t>felis</a:t>
            </a:r>
            <a:r>
              <a:rPr lang="en-US"/>
              <a:t> </a:t>
            </a:r>
            <a:r>
              <a:rPr lang="en-US" err="1"/>
              <a:t>bibendum</a:t>
            </a:r>
            <a:r>
              <a:rPr lang="en-US"/>
              <a:t> </a:t>
            </a:r>
            <a:r>
              <a:rPr lang="en-US" err="1"/>
              <a:t>tempor</a:t>
            </a:r>
            <a:r>
              <a:rPr lang="en-US"/>
              <a:t> </a:t>
            </a:r>
            <a:r>
              <a:rPr lang="en-US" err="1"/>
              <a:t>cubilia</a:t>
            </a:r>
            <a:r>
              <a:rPr lang="en-US"/>
              <a:t> gravida </a:t>
            </a:r>
            <a:r>
              <a:rPr lang="en-US" err="1"/>
              <a:t>molestie</a:t>
            </a:r>
            <a:r>
              <a:rPr lang="en-US"/>
              <a:t> a </a:t>
            </a:r>
            <a:r>
              <a:rPr lang="en-US" err="1"/>
              <a:t>pretium</a:t>
            </a:r>
            <a:r>
              <a:rPr lang="en-US"/>
              <a:t> </a:t>
            </a:r>
            <a:r>
              <a:rPr lang="en-US" err="1"/>
              <a:t>egestas</a:t>
            </a:r>
            <a:r>
              <a:rPr lang="en-US"/>
              <a:t> </a:t>
            </a:r>
            <a:r>
              <a:rPr lang="en-US" err="1"/>
              <a:t>iaculis</a:t>
            </a:r>
            <a:r>
              <a:rPr lang="en-US"/>
              <a:t> per, eros sit </a:t>
            </a:r>
            <a:r>
              <a:rPr lang="en-US" err="1"/>
              <a:t>leo</a:t>
            </a:r>
            <a:r>
              <a:rPr lang="en-US"/>
              <a:t> </a:t>
            </a:r>
            <a:r>
              <a:rPr lang="en-US" err="1"/>
              <a:t>augue</a:t>
            </a:r>
            <a:r>
              <a:rPr lang="en-US"/>
              <a:t> tempus </a:t>
            </a:r>
            <a:r>
              <a:rPr lang="en-US" err="1"/>
              <a:t>consectetur</a:t>
            </a:r>
            <a:r>
              <a:rPr lang="en-US"/>
              <a:t>.</a:t>
            </a:r>
          </a:p>
        </p:txBody>
      </p:sp>
      <p:sp>
        <p:nvSpPr>
          <p:cNvPr id="29" name="Picture Placeholder 3">
            <a:extLst>
              <a:ext uri="{FF2B5EF4-FFF2-40B4-BE49-F238E27FC236}">
                <a16:creationId xmlns:a16="http://schemas.microsoft.com/office/drawing/2014/main" id="{18E9ADD5-127B-9C70-81D7-63958604995E}"/>
              </a:ext>
            </a:extLst>
          </p:cNvPr>
          <p:cNvSpPr>
            <a:spLocks noGrp="1"/>
          </p:cNvSpPr>
          <p:nvPr>
            <p:ph type="pic" sz="quarter" idx="34"/>
          </p:nvPr>
        </p:nvSpPr>
        <p:spPr>
          <a:xfrm>
            <a:off x="3453384" y="1752600"/>
            <a:ext cx="2404872" cy="1371600"/>
          </a:xfrm>
          <a:prstGeom prst="rect">
            <a:avLst/>
          </a:prstGeom>
        </p:spPr>
        <p:txBody>
          <a:bodyPr/>
          <a:lstStyle>
            <a:lvl1pPr>
              <a:defRPr>
                <a:solidFill>
                  <a:schemeClr val="tx1"/>
                </a:solidFill>
              </a:defRPr>
            </a:lvl1pPr>
          </a:lstStyle>
          <a:p>
            <a:endParaRPr lang="en-US"/>
          </a:p>
        </p:txBody>
      </p:sp>
      <p:sp>
        <p:nvSpPr>
          <p:cNvPr id="30" name="Text Placeholder 4">
            <a:extLst>
              <a:ext uri="{FF2B5EF4-FFF2-40B4-BE49-F238E27FC236}">
                <a16:creationId xmlns:a16="http://schemas.microsoft.com/office/drawing/2014/main" id="{FC2A8712-0672-4EF8-0EFF-28786D5E1DC7}"/>
              </a:ext>
            </a:extLst>
          </p:cNvPr>
          <p:cNvSpPr>
            <a:spLocks noGrp="1"/>
          </p:cNvSpPr>
          <p:nvPr>
            <p:ph type="body" sz="quarter" idx="35" hasCustomPrompt="1"/>
          </p:nvPr>
        </p:nvSpPr>
        <p:spPr>
          <a:xfrm>
            <a:off x="6272784" y="3423512"/>
            <a:ext cx="2436876" cy="430887"/>
          </a:xfrm>
          <a:prstGeom prst="rect">
            <a:avLst/>
          </a:prstGeom>
        </p:spPr>
        <p:txBody>
          <a:bodyPr wrap="square" anchor="t" anchorCtr="0">
            <a:spAutoFit/>
          </a:bodyPr>
          <a:lstStyle>
            <a:lvl1pPr marL="0" marR="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sz="1400" b="1" i="0">
                <a:solidFill>
                  <a:schemeClr val="tx1"/>
                </a:solidFill>
                <a:latin typeface="Calibri" panose="020F0502020204030204" pitchFamily="34" charset="0"/>
                <a:cs typeface="Calibri" panose="020F0502020204030204" pitchFamily="34" charset="0"/>
              </a:defRPr>
            </a:lvl1pPr>
          </a:lstStyle>
          <a:p>
            <a:r>
              <a:rPr lang="en-US"/>
              <a:t>Lorem ipsum </a:t>
            </a:r>
            <a:r>
              <a:rPr lang="en-US" err="1"/>
              <a:t>nulla</a:t>
            </a:r>
            <a:r>
              <a:rPr lang="en-US"/>
              <a:t> </a:t>
            </a:r>
            <a:r>
              <a:rPr lang="en-US" err="1"/>
              <a:t>primis</a:t>
            </a:r>
            <a:r>
              <a:rPr lang="en-US"/>
              <a:t> eros mi </a:t>
            </a:r>
            <a:r>
              <a:rPr lang="en-US" err="1"/>
              <a:t>maecenas</a:t>
            </a:r>
            <a:r>
              <a:rPr lang="en-US"/>
              <a:t> ligula magna.</a:t>
            </a:r>
          </a:p>
        </p:txBody>
      </p:sp>
      <p:sp>
        <p:nvSpPr>
          <p:cNvPr id="31" name="Text Placeholder 4">
            <a:extLst>
              <a:ext uri="{FF2B5EF4-FFF2-40B4-BE49-F238E27FC236}">
                <a16:creationId xmlns:a16="http://schemas.microsoft.com/office/drawing/2014/main" id="{4431CAEC-1F68-EECF-616E-FFB2851E5F83}"/>
              </a:ext>
            </a:extLst>
          </p:cNvPr>
          <p:cNvSpPr>
            <a:spLocks noGrp="1"/>
          </p:cNvSpPr>
          <p:nvPr>
            <p:ph type="body" sz="quarter" idx="36" hasCustomPrompt="1"/>
          </p:nvPr>
        </p:nvSpPr>
        <p:spPr>
          <a:xfrm>
            <a:off x="6272784" y="4153711"/>
            <a:ext cx="2400300" cy="1367939"/>
          </a:xfrm>
          <a:prstGeom prst="rect">
            <a:avLst/>
          </a:prstGeom>
        </p:spPr>
        <p:txBody>
          <a:bodyPr wrap="square" anchor="t" anchorCtr="0">
            <a:spAutoFit/>
          </a:bodyPr>
          <a:lstStyle>
            <a:lvl1pPr marL="0" marR="0" indent="0" algn="l" defTabSz="914400" rtl="0" eaLnBrk="1" fontAlgn="auto" latinLnBrk="0" hangingPunct="1">
              <a:lnSpc>
                <a:spcPts val="1800"/>
              </a:lnSpc>
              <a:spcBef>
                <a:spcPts val="600"/>
              </a:spcBef>
              <a:spcAft>
                <a:spcPts val="0"/>
              </a:spcAft>
              <a:buClrTx/>
              <a:buSzTx/>
              <a:buFont typeface="Arial" panose="020B0604020202020204" pitchFamily="34" charset="0"/>
              <a:buNone/>
              <a:tabLst/>
              <a:defRPr sz="1200" b="0" i="0">
                <a:solidFill>
                  <a:schemeClr val="tx1"/>
                </a:solidFill>
                <a:latin typeface="Calibri Light" panose="020F0302020204030204" pitchFamily="34" charset="0"/>
                <a:cs typeface="Calibri Light" panose="020F0302020204030204" pitchFamily="34" charset="0"/>
              </a:defRPr>
            </a:lvl1pPr>
          </a:lstStyle>
          <a:p>
            <a:r>
              <a:rPr lang="en-US"/>
              <a:t>Lorem ipsum </a:t>
            </a:r>
            <a:r>
              <a:rPr lang="en-US" err="1"/>
              <a:t>nulla</a:t>
            </a:r>
            <a:r>
              <a:rPr lang="en-US"/>
              <a:t> </a:t>
            </a:r>
            <a:r>
              <a:rPr lang="en-US" err="1"/>
              <a:t>primis</a:t>
            </a:r>
            <a:r>
              <a:rPr lang="en-US"/>
              <a:t> eros mi </a:t>
            </a:r>
            <a:r>
              <a:rPr lang="en-US" err="1"/>
              <a:t>maecenas</a:t>
            </a:r>
            <a:r>
              <a:rPr lang="en-US"/>
              <a:t> ligula magna, </a:t>
            </a:r>
            <a:r>
              <a:rPr lang="en-US" err="1"/>
              <a:t>nibh</a:t>
            </a:r>
            <a:r>
              <a:rPr lang="en-US"/>
              <a:t> </a:t>
            </a:r>
            <a:r>
              <a:rPr lang="en-US" err="1"/>
              <a:t>commodo</a:t>
            </a:r>
            <a:r>
              <a:rPr lang="en-US"/>
              <a:t> </a:t>
            </a:r>
            <a:r>
              <a:rPr lang="en-US" err="1"/>
              <a:t>aenean</a:t>
            </a:r>
            <a:r>
              <a:rPr lang="en-US"/>
              <a:t> </a:t>
            </a:r>
            <a:r>
              <a:rPr lang="en-US" err="1"/>
              <a:t>leo</a:t>
            </a:r>
            <a:r>
              <a:rPr lang="en-US"/>
              <a:t> porta </a:t>
            </a:r>
            <a:r>
              <a:rPr lang="en-US" err="1"/>
              <a:t>duis</a:t>
            </a:r>
            <a:r>
              <a:rPr lang="en-US"/>
              <a:t> magna </a:t>
            </a:r>
            <a:r>
              <a:rPr lang="en-US" err="1"/>
              <a:t>felis</a:t>
            </a:r>
            <a:r>
              <a:rPr lang="en-US"/>
              <a:t> </a:t>
            </a:r>
            <a:r>
              <a:rPr lang="en-US" err="1"/>
              <a:t>bibendum</a:t>
            </a:r>
            <a:r>
              <a:rPr lang="en-US"/>
              <a:t> </a:t>
            </a:r>
            <a:r>
              <a:rPr lang="en-US" err="1"/>
              <a:t>tempor</a:t>
            </a:r>
            <a:r>
              <a:rPr lang="en-US"/>
              <a:t> </a:t>
            </a:r>
            <a:r>
              <a:rPr lang="en-US" err="1"/>
              <a:t>cubilia</a:t>
            </a:r>
            <a:r>
              <a:rPr lang="en-US"/>
              <a:t> gravida </a:t>
            </a:r>
            <a:r>
              <a:rPr lang="en-US" err="1"/>
              <a:t>molestie</a:t>
            </a:r>
            <a:r>
              <a:rPr lang="en-US"/>
              <a:t> a </a:t>
            </a:r>
            <a:r>
              <a:rPr lang="en-US" err="1"/>
              <a:t>pretium</a:t>
            </a:r>
            <a:r>
              <a:rPr lang="en-US"/>
              <a:t> </a:t>
            </a:r>
            <a:r>
              <a:rPr lang="en-US" err="1"/>
              <a:t>egestas</a:t>
            </a:r>
            <a:r>
              <a:rPr lang="en-US"/>
              <a:t> </a:t>
            </a:r>
            <a:r>
              <a:rPr lang="en-US" err="1"/>
              <a:t>iaculis</a:t>
            </a:r>
            <a:r>
              <a:rPr lang="en-US"/>
              <a:t> per, eros sit </a:t>
            </a:r>
            <a:r>
              <a:rPr lang="en-US" err="1"/>
              <a:t>leo</a:t>
            </a:r>
            <a:r>
              <a:rPr lang="en-US"/>
              <a:t> </a:t>
            </a:r>
            <a:r>
              <a:rPr lang="en-US" err="1"/>
              <a:t>augue</a:t>
            </a:r>
            <a:r>
              <a:rPr lang="en-US"/>
              <a:t> tempus</a:t>
            </a:r>
          </a:p>
        </p:txBody>
      </p:sp>
      <p:sp>
        <p:nvSpPr>
          <p:cNvPr id="32" name="Picture Placeholder 3">
            <a:extLst>
              <a:ext uri="{FF2B5EF4-FFF2-40B4-BE49-F238E27FC236}">
                <a16:creationId xmlns:a16="http://schemas.microsoft.com/office/drawing/2014/main" id="{A130B46C-A975-0693-4E58-1B798597C63C}"/>
              </a:ext>
            </a:extLst>
          </p:cNvPr>
          <p:cNvSpPr>
            <a:spLocks noGrp="1"/>
          </p:cNvSpPr>
          <p:nvPr>
            <p:ph type="pic" sz="quarter" idx="37"/>
          </p:nvPr>
        </p:nvSpPr>
        <p:spPr>
          <a:xfrm>
            <a:off x="6272784" y="1752600"/>
            <a:ext cx="2404872" cy="1371600"/>
          </a:xfrm>
          <a:prstGeom prst="rect">
            <a:avLst/>
          </a:prstGeom>
        </p:spPr>
        <p:txBody>
          <a:bodyPr/>
          <a:lstStyle>
            <a:lvl1pPr>
              <a:defRPr>
                <a:solidFill>
                  <a:schemeClr val="tx1"/>
                </a:solidFill>
              </a:defRPr>
            </a:lvl1pPr>
          </a:lstStyle>
          <a:p>
            <a:endParaRPr lang="en-US"/>
          </a:p>
        </p:txBody>
      </p:sp>
      <p:sp>
        <p:nvSpPr>
          <p:cNvPr id="33" name="Text Placeholder 4">
            <a:extLst>
              <a:ext uri="{FF2B5EF4-FFF2-40B4-BE49-F238E27FC236}">
                <a16:creationId xmlns:a16="http://schemas.microsoft.com/office/drawing/2014/main" id="{5489BE05-F5D4-D692-2737-A031D19E8F7C}"/>
              </a:ext>
            </a:extLst>
          </p:cNvPr>
          <p:cNvSpPr>
            <a:spLocks noGrp="1"/>
          </p:cNvSpPr>
          <p:nvPr>
            <p:ph type="body" sz="quarter" idx="38" hasCustomPrompt="1"/>
          </p:nvPr>
        </p:nvSpPr>
        <p:spPr>
          <a:xfrm>
            <a:off x="9055608" y="3423512"/>
            <a:ext cx="2436876" cy="430887"/>
          </a:xfrm>
          <a:prstGeom prst="rect">
            <a:avLst/>
          </a:prstGeom>
        </p:spPr>
        <p:txBody>
          <a:bodyPr wrap="square" anchor="t" anchorCtr="0">
            <a:spAutoFit/>
          </a:bodyPr>
          <a:lstStyle>
            <a:lvl1pPr marL="0" marR="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sz="1400" b="1" i="0">
                <a:solidFill>
                  <a:schemeClr val="tx1"/>
                </a:solidFill>
                <a:latin typeface="Calibri" panose="020F0502020204030204" pitchFamily="34" charset="0"/>
                <a:cs typeface="Calibri" panose="020F0502020204030204" pitchFamily="34" charset="0"/>
              </a:defRPr>
            </a:lvl1pPr>
          </a:lstStyle>
          <a:p>
            <a:r>
              <a:rPr lang="en-US"/>
              <a:t>Lorem ipsum </a:t>
            </a:r>
            <a:r>
              <a:rPr lang="en-US" err="1"/>
              <a:t>nulla</a:t>
            </a:r>
            <a:r>
              <a:rPr lang="en-US"/>
              <a:t> </a:t>
            </a:r>
            <a:r>
              <a:rPr lang="en-US" err="1"/>
              <a:t>primis</a:t>
            </a:r>
            <a:r>
              <a:rPr lang="en-US"/>
              <a:t> eros mi </a:t>
            </a:r>
            <a:r>
              <a:rPr lang="en-US" err="1"/>
              <a:t>maecenas</a:t>
            </a:r>
            <a:r>
              <a:rPr lang="en-US"/>
              <a:t> ligula magna.</a:t>
            </a:r>
          </a:p>
        </p:txBody>
      </p:sp>
      <p:sp>
        <p:nvSpPr>
          <p:cNvPr id="34" name="Text Placeholder 4">
            <a:extLst>
              <a:ext uri="{FF2B5EF4-FFF2-40B4-BE49-F238E27FC236}">
                <a16:creationId xmlns:a16="http://schemas.microsoft.com/office/drawing/2014/main" id="{E7D9DAC9-CD4E-AC01-7AFF-53A067526108}"/>
              </a:ext>
            </a:extLst>
          </p:cNvPr>
          <p:cNvSpPr>
            <a:spLocks noGrp="1"/>
          </p:cNvSpPr>
          <p:nvPr>
            <p:ph type="body" sz="quarter" idx="39" hasCustomPrompt="1"/>
          </p:nvPr>
        </p:nvSpPr>
        <p:spPr>
          <a:xfrm>
            <a:off x="9055608" y="4153711"/>
            <a:ext cx="2400300" cy="1367939"/>
          </a:xfrm>
          <a:prstGeom prst="rect">
            <a:avLst/>
          </a:prstGeom>
        </p:spPr>
        <p:txBody>
          <a:bodyPr wrap="square" anchor="t" anchorCtr="0">
            <a:spAutoFit/>
          </a:bodyPr>
          <a:lstStyle>
            <a:lvl1pPr marL="0" marR="0" indent="0" algn="l" defTabSz="914400" rtl="0" eaLnBrk="1" fontAlgn="auto" latinLnBrk="0" hangingPunct="1">
              <a:lnSpc>
                <a:spcPts val="1800"/>
              </a:lnSpc>
              <a:spcBef>
                <a:spcPts val="600"/>
              </a:spcBef>
              <a:spcAft>
                <a:spcPts val="0"/>
              </a:spcAft>
              <a:buClrTx/>
              <a:buSzTx/>
              <a:buFont typeface="Arial" panose="020B0604020202020204" pitchFamily="34" charset="0"/>
              <a:buNone/>
              <a:tabLst/>
              <a:defRPr sz="1200" b="0" i="0">
                <a:solidFill>
                  <a:schemeClr val="tx1"/>
                </a:solidFill>
                <a:latin typeface="Calibri Light" panose="020F0302020204030204" pitchFamily="34" charset="0"/>
                <a:cs typeface="Calibri Light" panose="020F0302020204030204" pitchFamily="34" charset="0"/>
              </a:defRPr>
            </a:lvl1pPr>
          </a:lstStyle>
          <a:p>
            <a:r>
              <a:rPr lang="en-US"/>
              <a:t>Lorem ipsum </a:t>
            </a:r>
            <a:r>
              <a:rPr lang="en-US" err="1"/>
              <a:t>nulla</a:t>
            </a:r>
            <a:r>
              <a:rPr lang="en-US"/>
              <a:t> </a:t>
            </a:r>
            <a:r>
              <a:rPr lang="en-US" err="1"/>
              <a:t>primis</a:t>
            </a:r>
            <a:r>
              <a:rPr lang="en-US"/>
              <a:t> eros mi </a:t>
            </a:r>
            <a:r>
              <a:rPr lang="en-US" err="1"/>
              <a:t>maecenas</a:t>
            </a:r>
            <a:r>
              <a:rPr lang="en-US"/>
              <a:t> ligula magna, </a:t>
            </a:r>
            <a:r>
              <a:rPr lang="en-US" err="1"/>
              <a:t>nibh</a:t>
            </a:r>
            <a:r>
              <a:rPr lang="en-US"/>
              <a:t> </a:t>
            </a:r>
            <a:r>
              <a:rPr lang="en-US" err="1"/>
              <a:t>commodo</a:t>
            </a:r>
            <a:r>
              <a:rPr lang="en-US"/>
              <a:t> </a:t>
            </a:r>
            <a:r>
              <a:rPr lang="en-US" err="1"/>
              <a:t>aenean</a:t>
            </a:r>
            <a:r>
              <a:rPr lang="en-US"/>
              <a:t> </a:t>
            </a:r>
            <a:r>
              <a:rPr lang="en-US" err="1"/>
              <a:t>leo</a:t>
            </a:r>
            <a:r>
              <a:rPr lang="en-US"/>
              <a:t> porta </a:t>
            </a:r>
            <a:r>
              <a:rPr lang="en-US" err="1"/>
              <a:t>duis</a:t>
            </a:r>
            <a:r>
              <a:rPr lang="en-US"/>
              <a:t> magna </a:t>
            </a:r>
            <a:r>
              <a:rPr lang="en-US" err="1"/>
              <a:t>felis</a:t>
            </a:r>
            <a:r>
              <a:rPr lang="en-US"/>
              <a:t> </a:t>
            </a:r>
            <a:r>
              <a:rPr lang="en-US" err="1"/>
              <a:t>bibendum</a:t>
            </a:r>
            <a:r>
              <a:rPr lang="en-US"/>
              <a:t> </a:t>
            </a:r>
            <a:r>
              <a:rPr lang="en-US" err="1"/>
              <a:t>tempor</a:t>
            </a:r>
            <a:r>
              <a:rPr lang="en-US"/>
              <a:t> </a:t>
            </a:r>
            <a:r>
              <a:rPr lang="en-US" err="1"/>
              <a:t>cubilia</a:t>
            </a:r>
            <a:r>
              <a:rPr lang="en-US"/>
              <a:t> gravida </a:t>
            </a:r>
            <a:r>
              <a:rPr lang="en-US" err="1"/>
              <a:t>molestie</a:t>
            </a:r>
            <a:r>
              <a:rPr lang="en-US"/>
              <a:t> a </a:t>
            </a:r>
            <a:r>
              <a:rPr lang="en-US" err="1"/>
              <a:t>pretium</a:t>
            </a:r>
            <a:r>
              <a:rPr lang="en-US"/>
              <a:t> </a:t>
            </a:r>
            <a:r>
              <a:rPr lang="en-US" err="1"/>
              <a:t>egestas</a:t>
            </a:r>
            <a:r>
              <a:rPr lang="en-US"/>
              <a:t> </a:t>
            </a:r>
            <a:r>
              <a:rPr lang="en-US" err="1"/>
              <a:t>iaculis</a:t>
            </a:r>
            <a:r>
              <a:rPr lang="en-US"/>
              <a:t> per, eros sit </a:t>
            </a:r>
            <a:r>
              <a:rPr lang="en-US" err="1"/>
              <a:t>leo</a:t>
            </a:r>
            <a:endParaRPr lang="en-US"/>
          </a:p>
        </p:txBody>
      </p:sp>
      <p:sp>
        <p:nvSpPr>
          <p:cNvPr id="35" name="Picture Placeholder 3">
            <a:extLst>
              <a:ext uri="{FF2B5EF4-FFF2-40B4-BE49-F238E27FC236}">
                <a16:creationId xmlns:a16="http://schemas.microsoft.com/office/drawing/2014/main" id="{8864BB58-D0FC-A84E-6645-2015C47992DF}"/>
              </a:ext>
            </a:extLst>
          </p:cNvPr>
          <p:cNvSpPr>
            <a:spLocks noGrp="1"/>
          </p:cNvSpPr>
          <p:nvPr>
            <p:ph type="pic" sz="quarter" idx="40"/>
          </p:nvPr>
        </p:nvSpPr>
        <p:spPr>
          <a:xfrm>
            <a:off x="9055608" y="1752600"/>
            <a:ext cx="2404872" cy="1371600"/>
          </a:xfrm>
          <a:prstGeom prst="rect">
            <a:avLst/>
          </a:prstGeom>
        </p:spPr>
        <p:txBody>
          <a:bodyPr/>
          <a:lstStyle>
            <a:lvl1pPr>
              <a:defRPr>
                <a:solidFill>
                  <a:schemeClr val="tx1"/>
                </a:solidFill>
              </a:defRPr>
            </a:lvl1pPr>
          </a:lstStyle>
          <a:p>
            <a:endParaRPr lang="en-US"/>
          </a:p>
        </p:txBody>
      </p:sp>
      <p:sp>
        <p:nvSpPr>
          <p:cNvPr id="36" name="TextBox 35">
            <a:extLst>
              <a:ext uri="{FF2B5EF4-FFF2-40B4-BE49-F238E27FC236}">
                <a16:creationId xmlns:a16="http://schemas.microsoft.com/office/drawing/2014/main" id="{4A45DFC6-6067-D9E4-45B1-0794AF4DB612}"/>
              </a:ext>
            </a:extLst>
          </p:cNvPr>
          <p:cNvSpPr txBox="1"/>
          <p:nvPr userDrawn="1"/>
        </p:nvSpPr>
        <p:spPr>
          <a:xfrm>
            <a:off x="355600" y="127000"/>
            <a:ext cx="0" cy="0"/>
          </a:xfrm>
          <a:prstGeom prst="rect">
            <a:avLst/>
          </a:prstGeom>
          <a:noFill/>
        </p:spPr>
        <p:txBody>
          <a:bodyPr wrap="none" lIns="0" tIns="0" rIns="0" bIns="0" rtlCol="0">
            <a:noAutofit/>
          </a:bodyPr>
          <a:lstStyle/>
          <a:p>
            <a:pPr>
              <a:lnSpc>
                <a:spcPct val="110000"/>
              </a:lnSpc>
              <a:spcBef>
                <a:spcPts val="600"/>
              </a:spcBef>
            </a:pPr>
            <a:endParaRPr lang="en-US" sz="1200" err="1">
              <a:ea typeface="Human Sans" charset="0"/>
              <a:cs typeface="Human Sans" charset="0"/>
            </a:endParaRPr>
          </a:p>
        </p:txBody>
      </p:sp>
      <p:sp>
        <p:nvSpPr>
          <p:cNvPr id="37" name="Title 1">
            <a:extLst>
              <a:ext uri="{FF2B5EF4-FFF2-40B4-BE49-F238E27FC236}">
                <a16:creationId xmlns:a16="http://schemas.microsoft.com/office/drawing/2014/main" id="{A4C6AE97-3EF6-342A-73F5-8CAE83849603}"/>
              </a:ext>
            </a:extLst>
          </p:cNvPr>
          <p:cNvSpPr>
            <a:spLocks noGrp="1"/>
          </p:cNvSpPr>
          <p:nvPr>
            <p:ph type="title" hasCustomPrompt="1"/>
          </p:nvPr>
        </p:nvSpPr>
        <p:spPr>
          <a:xfrm>
            <a:off x="633632" y="722843"/>
            <a:ext cx="10963056" cy="338554"/>
          </a:xfrm>
          <a:prstGeom prst="rect">
            <a:avLst/>
          </a:prstGeom>
        </p:spPr>
        <p:txBody>
          <a:bodyPr/>
          <a:lstStyle>
            <a:lvl1pPr>
              <a:defRPr lang="en-US" sz="2200" b="1" i="0" kern="1200" spc="0" dirty="0">
                <a:solidFill>
                  <a:schemeClr val="tx1"/>
                </a:solidFill>
                <a:effectLst/>
                <a:latin typeface="+mj-lt"/>
                <a:ea typeface="Calibri" panose="020F0502020204030204" pitchFamily="34" charset="0"/>
                <a:cs typeface="Calibri" panose="020F0502020204030204" pitchFamily="34" charset="0"/>
              </a:defRPr>
            </a:lvl1pPr>
          </a:lstStyle>
          <a:p>
            <a:pPr marL="0" lvl="0" indent="0" algn="l" defTabSz="914400" rtl="0" eaLnBrk="1" latinLnBrk="0" hangingPunct="1">
              <a:lnSpc>
                <a:spcPct val="100000"/>
              </a:lnSpc>
              <a:spcBef>
                <a:spcPts val="0"/>
              </a:spcBef>
              <a:spcAft>
                <a:spcPts val="0"/>
              </a:spcAft>
              <a:buFont typeface="Arial" panose="020B0604020202020204" pitchFamily="34" charset="0"/>
              <a:buNone/>
            </a:pPr>
            <a:r>
              <a:rPr lang="en-US">
                <a:effectLst/>
              </a:rPr>
              <a:t>Title Goes Here</a:t>
            </a:r>
            <a:endParaRPr lang="en-US"/>
          </a:p>
        </p:txBody>
      </p:sp>
      <p:sp>
        <p:nvSpPr>
          <p:cNvPr id="38" name="Text Placeholder 10">
            <a:extLst>
              <a:ext uri="{FF2B5EF4-FFF2-40B4-BE49-F238E27FC236}">
                <a16:creationId xmlns:a16="http://schemas.microsoft.com/office/drawing/2014/main" id="{61F69F81-79F3-DBE8-1E3C-BD7CA8218B8F}"/>
              </a:ext>
            </a:extLst>
          </p:cNvPr>
          <p:cNvSpPr>
            <a:spLocks noGrp="1"/>
          </p:cNvSpPr>
          <p:nvPr>
            <p:ph type="body" sz="quarter" idx="28" hasCustomPrompt="1"/>
          </p:nvPr>
        </p:nvSpPr>
        <p:spPr>
          <a:xfrm>
            <a:off x="633632" y="419100"/>
            <a:ext cx="3611880" cy="225706"/>
          </a:xfrm>
          <a:prstGeom prst="rect">
            <a:avLst/>
          </a:prstGeom>
        </p:spPr>
        <p:txBody>
          <a:bodyPr/>
          <a:lstStyle>
            <a:lvl1pPr>
              <a:spcBef>
                <a:spcPts val="0"/>
              </a:spcBef>
              <a:defRPr lang="en-US" sz="1000" b="0" i="0" kern="1200" cap="all" spc="300" baseline="0" dirty="0">
                <a:solidFill>
                  <a:schemeClr val="tx1"/>
                </a:solidFill>
                <a:latin typeface="Calibri" panose="020F0502020204030204" pitchFamily="34" charset="0"/>
                <a:ea typeface="Calibri" panose="020F0502020204030204" pitchFamily="34" charset="0"/>
                <a:cs typeface="Calibri" panose="020F0502020204030204" pitchFamily="34" charset="0"/>
              </a:defRPr>
            </a:lvl1pPr>
          </a:lstStyle>
          <a:p>
            <a:pPr marL="0" lvl="0" indent="0" algn="l" defTabSz="914400" rtl="0" eaLnBrk="1" latinLnBrk="0" hangingPunct="1">
              <a:lnSpc>
                <a:spcPct val="100000"/>
              </a:lnSpc>
              <a:spcBef>
                <a:spcPts val="600"/>
              </a:spcBef>
              <a:spcAft>
                <a:spcPts val="0"/>
              </a:spcAft>
              <a:buFont typeface="Arial" panose="020B0604020202020204" pitchFamily="34" charset="0"/>
              <a:buNone/>
            </a:pPr>
            <a:r>
              <a:rPr lang="en-US"/>
              <a:t>Click to add section title</a:t>
            </a:r>
          </a:p>
        </p:txBody>
      </p:sp>
    </p:spTree>
    <p:extLst>
      <p:ext uri="{BB962C8B-B14F-4D97-AF65-F5344CB8AC3E}">
        <p14:creationId xmlns:p14="http://schemas.microsoft.com/office/powerpoint/2010/main" val="2345438515"/>
      </p:ext>
    </p:extLst>
  </p:cSld>
  <p:clrMapOvr>
    <a:masterClrMapping/>
  </p:clrMapOvr>
  <p:extLst>
    <p:ext uri="{DCECCB84-F9BA-43D5-87BE-67443E8EF086}">
      <p15:sldGuideLst xmlns:p15="http://schemas.microsoft.com/office/powerpoint/2012/main"/>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4 columns with images">
    <p:bg>
      <p:bgPr>
        <a:solidFill>
          <a:schemeClr val="tx1"/>
        </a:solidFill>
        <a:effectLst/>
      </p:bgPr>
    </p:bg>
    <p:spTree>
      <p:nvGrpSpPr>
        <p:cNvPr id="1" name=""/>
        <p:cNvGrpSpPr/>
        <p:nvPr/>
      </p:nvGrpSpPr>
      <p:grpSpPr>
        <a:xfrm>
          <a:off x="0" y="0"/>
          <a:ext cx="0" cy="0"/>
          <a:chOff x="0" y="0"/>
          <a:chExt cx="0" cy="0"/>
        </a:xfrm>
      </p:grpSpPr>
      <p:sp>
        <p:nvSpPr>
          <p:cNvPr id="9" name="Text Placeholder 4">
            <a:extLst>
              <a:ext uri="{FF2B5EF4-FFF2-40B4-BE49-F238E27FC236}">
                <a16:creationId xmlns:a16="http://schemas.microsoft.com/office/drawing/2014/main" id="{DBBECED4-4691-EAD7-0FFE-7393254BBDC9}"/>
              </a:ext>
            </a:extLst>
          </p:cNvPr>
          <p:cNvSpPr>
            <a:spLocks noGrp="1"/>
          </p:cNvSpPr>
          <p:nvPr>
            <p:ph type="body" sz="quarter" idx="26" hasCustomPrompt="1"/>
          </p:nvPr>
        </p:nvSpPr>
        <p:spPr>
          <a:xfrm>
            <a:off x="647700" y="3185407"/>
            <a:ext cx="2436876" cy="430887"/>
          </a:xfrm>
          <a:prstGeom prst="rect">
            <a:avLst/>
          </a:prstGeom>
        </p:spPr>
        <p:txBody>
          <a:bodyPr wrap="square" anchor="t" anchorCtr="0">
            <a:spAutoFit/>
          </a:bodyPr>
          <a:lstStyle>
            <a:lvl1pPr marL="0" marR="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sz="1400" b="1" i="0">
                <a:solidFill>
                  <a:schemeClr val="bg1"/>
                </a:solidFill>
                <a:latin typeface="Calibri" panose="020F0502020204030204" pitchFamily="34" charset="0"/>
                <a:cs typeface="Calibri" panose="020F0502020204030204" pitchFamily="34" charset="0"/>
              </a:defRPr>
            </a:lvl1pPr>
          </a:lstStyle>
          <a:p>
            <a:r>
              <a:rPr lang="en-US"/>
              <a:t>Lorem ipsum </a:t>
            </a:r>
            <a:r>
              <a:rPr lang="en-US" err="1"/>
              <a:t>nulla</a:t>
            </a:r>
            <a:r>
              <a:rPr lang="en-US"/>
              <a:t> </a:t>
            </a:r>
            <a:r>
              <a:rPr lang="en-US" err="1"/>
              <a:t>primis</a:t>
            </a:r>
            <a:r>
              <a:rPr lang="en-US"/>
              <a:t> eros mi </a:t>
            </a:r>
            <a:r>
              <a:rPr lang="en-US" err="1"/>
              <a:t>maecenas</a:t>
            </a:r>
            <a:r>
              <a:rPr lang="en-US"/>
              <a:t> ligula magna.</a:t>
            </a:r>
          </a:p>
        </p:txBody>
      </p:sp>
      <p:sp>
        <p:nvSpPr>
          <p:cNvPr id="10" name="Text Placeholder 4">
            <a:extLst>
              <a:ext uri="{FF2B5EF4-FFF2-40B4-BE49-F238E27FC236}">
                <a16:creationId xmlns:a16="http://schemas.microsoft.com/office/drawing/2014/main" id="{31E7CDA2-C04C-57C2-B779-676BA576EFB7}"/>
              </a:ext>
            </a:extLst>
          </p:cNvPr>
          <p:cNvSpPr>
            <a:spLocks noGrp="1"/>
          </p:cNvSpPr>
          <p:nvPr>
            <p:ph type="body" sz="quarter" idx="27" hasCustomPrompt="1"/>
          </p:nvPr>
        </p:nvSpPr>
        <p:spPr>
          <a:xfrm>
            <a:off x="647700" y="3915606"/>
            <a:ext cx="2400300" cy="2291268"/>
          </a:xfrm>
          <a:prstGeom prst="rect">
            <a:avLst/>
          </a:prstGeom>
        </p:spPr>
        <p:txBody>
          <a:bodyPr wrap="square" anchor="t" anchorCtr="0">
            <a:spAutoFit/>
          </a:bodyPr>
          <a:lstStyle>
            <a:lvl1pPr marL="0" marR="0" indent="0" algn="l" defTabSz="914400" rtl="0" eaLnBrk="1" fontAlgn="auto" latinLnBrk="0" hangingPunct="1">
              <a:lnSpc>
                <a:spcPts val="1800"/>
              </a:lnSpc>
              <a:spcBef>
                <a:spcPts val="600"/>
              </a:spcBef>
              <a:spcAft>
                <a:spcPts val="0"/>
              </a:spcAft>
              <a:buClrTx/>
              <a:buSzTx/>
              <a:buFont typeface="Arial" panose="020B0604020202020204" pitchFamily="34" charset="0"/>
              <a:buNone/>
              <a:tabLst/>
              <a:defRPr sz="1200" b="0" i="0">
                <a:solidFill>
                  <a:schemeClr val="bg1"/>
                </a:solidFill>
                <a:latin typeface="Calibri Light" panose="020F0302020204030204" pitchFamily="34" charset="0"/>
                <a:cs typeface="Calibri Light" panose="020F0302020204030204" pitchFamily="34" charset="0"/>
              </a:defRPr>
            </a:lvl1pPr>
          </a:lstStyle>
          <a:p>
            <a:r>
              <a:rPr lang="en-US"/>
              <a:t>Lorem ipsum </a:t>
            </a:r>
            <a:r>
              <a:rPr lang="en-US" err="1"/>
              <a:t>nulla</a:t>
            </a:r>
            <a:r>
              <a:rPr lang="en-US"/>
              <a:t> </a:t>
            </a:r>
            <a:r>
              <a:rPr lang="en-US" err="1"/>
              <a:t>primis</a:t>
            </a:r>
            <a:r>
              <a:rPr lang="en-US"/>
              <a:t> eros mi </a:t>
            </a:r>
            <a:r>
              <a:rPr lang="en-US" err="1"/>
              <a:t>maecenas</a:t>
            </a:r>
            <a:r>
              <a:rPr lang="en-US"/>
              <a:t> ligula magna, </a:t>
            </a:r>
            <a:r>
              <a:rPr lang="en-US" err="1"/>
              <a:t>nibh</a:t>
            </a:r>
            <a:r>
              <a:rPr lang="en-US"/>
              <a:t> </a:t>
            </a:r>
            <a:r>
              <a:rPr lang="en-US" err="1"/>
              <a:t>commodo</a:t>
            </a:r>
            <a:r>
              <a:rPr lang="en-US"/>
              <a:t> </a:t>
            </a:r>
            <a:r>
              <a:rPr lang="en-US" err="1"/>
              <a:t>aenean</a:t>
            </a:r>
            <a:r>
              <a:rPr lang="en-US"/>
              <a:t> </a:t>
            </a:r>
            <a:r>
              <a:rPr lang="en-US" err="1"/>
              <a:t>leo</a:t>
            </a:r>
            <a:r>
              <a:rPr lang="en-US"/>
              <a:t> porta </a:t>
            </a:r>
            <a:r>
              <a:rPr lang="en-US" err="1"/>
              <a:t>duis</a:t>
            </a:r>
            <a:r>
              <a:rPr lang="en-US"/>
              <a:t> magna </a:t>
            </a:r>
            <a:r>
              <a:rPr lang="en-US" err="1"/>
              <a:t>felis</a:t>
            </a:r>
            <a:r>
              <a:rPr lang="en-US"/>
              <a:t> </a:t>
            </a:r>
            <a:r>
              <a:rPr lang="en-US" err="1"/>
              <a:t>bibendum</a:t>
            </a:r>
            <a:r>
              <a:rPr lang="en-US"/>
              <a:t> </a:t>
            </a:r>
            <a:r>
              <a:rPr lang="en-US" err="1"/>
              <a:t>tempor</a:t>
            </a:r>
            <a:r>
              <a:rPr lang="en-US"/>
              <a:t> </a:t>
            </a:r>
            <a:r>
              <a:rPr lang="en-US" err="1"/>
              <a:t>cubilia</a:t>
            </a:r>
            <a:r>
              <a:rPr lang="en-US"/>
              <a:t> gravida </a:t>
            </a:r>
            <a:r>
              <a:rPr lang="en-US" err="1"/>
              <a:t>molestie</a:t>
            </a:r>
            <a:r>
              <a:rPr lang="en-US"/>
              <a:t> a </a:t>
            </a:r>
            <a:r>
              <a:rPr lang="en-US" err="1"/>
              <a:t>pretium</a:t>
            </a:r>
            <a:r>
              <a:rPr lang="en-US"/>
              <a:t> </a:t>
            </a:r>
            <a:r>
              <a:rPr lang="en-US" err="1"/>
              <a:t>egestas</a:t>
            </a:r>
            <a:r>
              <a:rPr lang="en-US"/>
              <a:t> </a:t>
            </a:r>
            <a:r>
              <a:rPr lang="en-US" err="1"/>
              <a:t>iaculis</a:t>
            </a:r>
            <a:r>
              <a:rPr lang="en-US"/>
              <a:t> per, eros sit </a:t>
            </a:r>
            <a:r>
              <a:rPr lang="en-US" err="1"/>
              <a:t>leo</a:t>
            </a:r>
            <a:r>
              <a:rPr lang="en-US"/>
              <a:t> </a:t>
            </a:r>
            <a:r>
              <a:rPr lang="en-US" err="1"/>
              <a:t>augue</a:t>
            </a:r>
            <a:r>
              <a:rPr lang="en-US"/>
              <a:t> tempus </a:t>
            </a:r>
            <a:r>
              <a:rPr lang="en-US" err="1"/>
              <a:t>consectetur</a:t>
            </a:r>
            <a:r>
              <a:rPr lang="en-US"/>
              <a:t> </a:t>
            </a:r>
            <a:r>
              <a:rPr lang="en-US" err="1"/>
              <a:t>primis</a:t>
            </a:r>
            <a:r>
              <a:rPr lang="en-US"/>
              <a:t> dolor ac </a:t>
            </a:r>
            <a:r>
              <a:rPr lang="en-US" err="1"/>
              <a:t>euismod</a:t>
            </a:r>
            <a:r>
              <a:rPr lang="en-US"/>
              <a:t> </a:t>
            </a:r>
            <a:r>
              <a:rPr lang="en-US" err="1"/>
              <a:t>accumsan</a:t>
            </a:r>
            <a:r>
              <a:rPr lang="en-US"/>
              <a:t>, </a:t>
            </a:r>
            <a:r>
              <a:rPr lang="en-US" err="1"/>
              <a:t>vivamus</a:t>
            </a:r>
            <a:r>
              <a:rPr lang="en-US"/>
              <a:t> </a:t>
            </a:r>
            <a:r>
              <a:rPr lang="en-US" err="1"/>
              <a:t>feugiat</a:t>
            </a:r>
            <a:r>
              <a:rPr lang="en-US"/>
              <a:t> </a:t>
            </a:r>
            <a:r>
              <a:rPr lang="en-US" err="1"/>
              <a:t>elit</a:t>
            </a:r>
            <a:r>
              <a:rPr lang="en-US"/>
              <a:t> </a:t>
            </a:r>
            <a:r>
              <a:rPr lang="en-US" err="1"/>
              <a:t>luctus</a:t>
            </a:r>
            <a:r>
              <a:rPr lang="en-US"/>
              <a:t> libero </a:t>
            </a:r>
            <a:r>
              <a:rPr lang="en-US" err="1"/>
              <a:t>duis</a:t>
            </a:r>
            <a:r>
              <a:rPr lang="en-US"/>
              <a:t> </a:t>
            </a:r>
            <a:r>
              <a:rPr lang="en-US" err="1"/>
              <a:t>elementum</a:t>
            </a:r>
            <a:r>
              <a:rPr lang="en-US"/>
              <a:t> </a:t>
            </a:r>
            <a:r>
              <a:rPr lang="en-US" err="1"/>
              <a:t>etiam</a:t>
            </a:r>
            <a:r>
              <a:rPr lang="en-US"/>
              <a:t> lorem cursus </a:t>
            </a:r>
            <a:r>
              <a:rPr lang="en-US" err="1"/>
              <a:t>hendrerit</a:t>
            </a:r>
            <a:r>
              <a:rPr lang="en-US"/>
              <a:t> </a:t>
            </a:r>
            <a:r>
              <a:rPr lang="en-US" err="1"/>
              <a:t>curae</a:t>
            </a:r>
            <a:r>
              <a:rPr lang="en-US"/>
              <a:t> </a:t>
            </a:r>
            <a:r>
              <a:rPr lang="en-US" err="1"/>
              <a:t>primis</a:t>
            </a:r>
            <a:r>
              <a:rPr lang="en-US"/>
              <a:t> </a:t>
            </a:r>
            <a:r>
              <a:rPr lang="en-US" err="1"/>
              <a:t>cubilia</a:t>
            </a:r>
            <a:r>
              <a:rPr lang="en-US"/>
              <a:t>.</a:t>
            </a:r>
          </a:p>
        </p:txBody>
      </p:sp>
      <p:sp>
        <p:nvSpPr>
          <p:cNvPr id="4" name="Picture Placeholder 3">
            <a:extLst>
              <a:ext uri="{FF2B5EF4-FFF2-40B4-BE49-F238E27FC236}">
                <a16:creationId xmlns:a16="http://schemas.microsoft.com/office/drawing/2014/main" id="{3CA9DA82-9FD9-26A5-10CB-6B8054B04BBA}"/>
              </a:ext>
            </a:extLst>
          </p:cNvPr>
          <p:cNvSpPr>
            <a:spLocks noGrp="1"/>
          </p:cNvSpPr>
          <p:nvPr>
            <p:ph type="pic" sz="quarter" idx="31"/>
          </p:nvPr>
        </p:nvSpPr>
        <p:spPr>
          <a:xfrm>
            <a:off x="647700" y="1514495"/>
            <a:ext cx="2404872" cy="1371600"/>
          </a:xfrm>
          <a:prstGeom prst="rect">
            <a:avLst/>
          </a:prstGeom>
        </p:spPr>
        <p:txBody>
          <a:bodyPr/>
          <a:lstStyle/>
          <a:p>
            <a:endParaRPr lang="en-US"/>
          </a:p>
        </p:txBody>
      </p:sp>
      <p:sp>
        <p:nvSpPr>
          <p:cNvPr id="2" name="Text Placeholder 4">
            <a:extLst>
              <a:ext uri="{FF2B5EF4-FFF2-40B4-BE49-F238E27FC236}">
                <a16:creationId xmlns:a16="http://schemas.microsoft.com/office/drawing/2014/main" id="{71E07365-191F-2AEF-D8B3-0E6070334B55}"/>
              </a:ext>
            </a:extLst>
          </p:cNvPr>
          <p:cNvSpPr>
            <a:spLocks noGrp="1"/>
          </p:cNvSpPr>
          <p:nvPr>
            <p:ph type="body" sz="quarter" idx="32" hasCustomPrompt="1"/>
          </p:nvPr>
        </p:nvSpPr>
        <p:spPr>
          <a:xfrm>
            <a:off x="3453384" y="3185407"/>
            <a:ext cx="2436876" cy="430887"/>
          </a:xfrm>
          <a:prstGeom prst="rect">
            <a:avLst/>
          </a:prstGeom>
        </p:spPr>
        <p:txBody>
          <a:bodyPr wrap="square" anchor="t" anchorCtr="0">
            <a:spAutoFit/>
          </a:bodyPr>
          <a:lstStyle>
            <a:lvl1pPr marL="0" marR="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sz="1400" b="1" i="0">
                <a:solidFill>
                  <a:schemeClr val="bg1"/>
                </a:solidFill>
                <a:latin typeface="Calibri" panose="020F0502020204030204" pitchFamily="34" charset="0"/>
                <a:cs typeface="Calibri" panose="020F0502020204030204" pitchFamily="34" charset="0"/>
              </a:defRPr>
            </a:lvl1pPr>
          </a:lstStyle>
          <a:p>
            <a:r>
              <a:rPr lang="en-US"/>
              <a:t>Lorem ipsum </a:t>
            </a:r>
            <a:r>
              <a:rPr lang="en-US" err="1"/>
              <a:t>nulla</a:t>
            </a:r>
            <a:r>
              <a:rPr lang="en-US"/>
              <a:t> </a:t>
            </a:r>
            <a:r>
              <a:rPr lang="en-US" err="1"/>
              <a:t>primis</a:t>
            </a:r>
            <a:r>
              <a:rPr lang="en-US"/>
              <a:t> eros mi </a:t>
            </a:r>
            <a:r>
              <a:rPr lang="en-US" err="1"/>
              <a:t>maecenas</a:t>
            </a:r>
            <a:r>
              <a:rPr lang="en-US"/>
              <a:t> ligula magna.</a:t>
            </a:r>
          </a:p>
        </p:txBody>
      </p:sp>
      <p:sp>
        <p:nvSpPr>
          <p:cNvPr id="5" name="Text Placeholder 4">
            <a:extLst>
              <a:ext uri="{FF2B5EF4-FFF2-40B4-BE49-F238E27FC236}">
                <a16:creationId xmlns:a16="http://schemas.microsoft.com/office/drawing/2014/main" id="{6D13B958-0014-5BD7-06FC-5AD3F2966879}"/>
              </a:ext>
            </a:extLst>
          </p:cNvPr>
          <p:cNvSpPr>
            <a:spLocks noGrp="1"/>
          </p:cNvSpPr>
          <p:nvPr>
            <p:ph type="body" sz="quarter" idx="33" hasCustomPrompt="1"/>
          </p:nvPr>
        </p:nvSpPr>
        <p:spPr>
          <a:xfrm>
            <a:off x="3453384" y="3915606"/>
            <a:ext cx="2400300" cy="2291268"/>
          </a:xfrm>
          <a:prstGeom prst="rect">
            <a:avLst/>
          </a:prstGeom>
        </p:spPr>
        <p:txBody>
          <a:bodyPr wrap="square" anchor="t" anchorCtr="0">
            <a:spAutoFit/>
          </a:bodyPr>
          <a:lstStyle>
            <a:lvl1pPr marL="0" marR="0" indent="0" algn="l" defTabSz="914400" rtl="0" eaLnBrk="1" fontAlgn="auto" latinLnBrk="0" hangingPunct="1">
              <a:lnSpc>
                <a:spcPts val="1800"/>
              </a:lnSpc>
              <a:spcBef>
                <a:spcPts val="600"/>
              </a:spcBef>
              <a:spcAft>
                <a:spcPts val="0"/>
              </a:spcAft>
              <a:buClrTx/>
              <a:buSzTx/>
              <a:buFont typeface="Arial" panose="020B0604020202020204" pitchFamily="34" charset="0"/>
              <a:buNone/>
              <a:tabLst/>
              <a:defRPr sz="1200" b="0" i="0">
                <a:solidFill>
                  <a:schemeClr val="bg1"/>
                </a:solidFill>
                <a:latin typeface="Calibri Light" panose="020F0302020204030204" pitchFamily="34" charset="0"/>
                <a:cs typeface="Calibri Light" panose="020F0302020204030204" pitchFamily="34" charset="0"/>
              </a:defRPr>
            </a:lvl1pPr>
          </a:lstStyle>
          <a:p>
            <a:r>
              <a:rPr lang="en-US"/>
              <a:t>Lorem ipsum </a:t>
            </a:r>
            <a:r>
              <a:rPr lang="en-US" err="1"/>
              <a:t>nulla</a:t>
            </a:r>
            <a:r>
              <a:rPr lang="en-US"/>
              <a:t> </a:t>
            </a:r>
            <a:r>
              <a:rPr lang="en-US" err="1"/>
              <a:t>primis</a:t>
            </a:r>
            <a:r>
              <a:rPr lang="en-US"/>
              <a:t> eros mi </a:t>
            </a:r>
            <a:r>
              <a:rPr lang="en-US" err="1"/>
              <a:t>maecenas</a:t>
            </a:r>
            <a:r>
              <a:rPr lang="en-US"/>
              <a:t> ligula magna, </a:t>
            </a:r>
            <a:r>
              <a:rPr lang="en-US" err="1"/>
              <a:t>nibh</a:t>
            </a:r>
            <a:r>
              <a:rPr lang="en-US"/>
              <a:t> </a:t>
            </a:r>
            <a:r>
              <a:rPr lang="en-US" err="1"/>
              <a:t>commodo</a:t>
            </a:r>
            <a:r>
              <a:rPr lang="en-US"/>
              <a:t> </a:t>
            </a:r>
            <a:r>
              <a:rPr lang="en-US" err="1"/>
              <a:t>aenean</a:t>
            </a:r>
            <a:r>
              <a:rPr lang="en-US"/>
              <a:t> </a:t>
            </a:r>
            <a:r>
              <a:rPr lang="en-US" err="1"/>
              <a:t>leo</a:t>
            </a:r>
            <a:r>
              <a:rPr lang="en-US"/>
              <a:t> porta </a:t>
            </a:r>
            <a:r>
              <a:rPr lang="en-US" err="1"/>
              <a:t>duis</a:t>
            </a:r>
            <a:r>
              <a:rPr lang="en-US"/>
              <a:t> magna </a:t>
            </a:r>
            <a:r>
              <a:rPr lang="en-US" err="1"/>
              <a:t>felis</a:t>
            </a:r>
            <a:r>
              <a:rPr lang="en-US"/>
              <a:t> </a:t>
            </a:r>
            <a:r>
              <a:rPr lang="en-US" err="1"/>
              <a:t>bibendum</a:t>
            </a:r>
            <a:r>
              <a:rPr lang="en-US"/>
              <a:t> </a:t>
            </a:r>
            <a:r>
              <a:rPr lang="en-US" err="1"/>
              <a:t>tempor</a:t>
            </a:r>
            <a:r>
              <a:rPr lang="en-US"/>
              <a:t> </a:t>
            </a:r>
            <a:r>
              <a:rPr lang="en-US" err="1"/>
              <a:t>cubilia</a:t>
            </a:r>
            <a:r>
              <a:rPr lang="en-US"/>
              <a:t> gravida </a:t>
            </a:r>
            <a:r>
              <a:rPr lang="en-US" err="1"/>
              <a:t>molestie</a:t>
            </a:r>
            <a:r>
              <a:rPr lang="en-US"/>
              <a:t> a </a:t>
            </a:r>
            <a:r>
              <a:rPr lang="en-US" err="1"/>
              <a:t>pretium</a:t>
            </a:r>
            <a:r>
              <a:rPr lang="en-US"/>
              <a:t> </a:t>
            </a:r>
            <a:r>
              <a:rPr lang="en-US" err="1"/>
              <a:t>egestas</a:t>
            </a:r>
            <a:r>
              <a:rPr lang="en-US"/>
              <a:t> </a:t>
            </a:r>
            <a:r>
              <a:rPr lang="en-US" err="1"/>
              <a:t>iaculis</a:t>
            </a:r>
            <a:r>
              <a:rPr lang="en-US"/>
              <a:t> per, eros sit </a:t>
            </a:r>
            <a:r>
              <a:rPr lang="en-US" err="1"/>
              <a:t>leo</a:t>
            </a:r>
            <a:r>
              <a:rPr lang="en-US"/>
              <a:t> </a:t>
            </a:r>
            <a:r>
              <a:rPr lang="en-US" err="1"/>
              <a:t>augue</a:t>
            </a:r>
            <a:r>
              <a:rPr lang="en-US"/>
              <a:t> tempus </a:t>
            </a:r>
            <a:r>
              <a:rPr lang="en-US" err="1"/>
              <a:t>consectetur</a:t>
            </a:r>
            <a:r>
              <a:rPr lang="en-US"/>
              <a:t> </a:t>
            </a:r>
            <a:r>
              <a:rPr lang="en-US" err="1"/>
              <a:t>primis</a:t>
            </a:r>
            <a:r>
              <a:rPr lang="en-US"/>
              <a:t> dolor ac </a:t>
            </a:r>
            <a:r>
              <a:rPr lang="en-US" err="1"/>
              <a:t>euismod</a:t>
            </a:r>
            <a:r>
              <a:rPr lang="en-US"/>
              <a:t> </a:t>
            </a:r>
            <a:r>
              <a:rPr lang="en-US" err="1"/>
              <a:t>accumsan</a:t>
            </a:r>
            <a:r>
              <a:rPr lang="en-US"/>
              <a:t>, </a:t>
            </a:r>
            <a:r>
              <a:rPr lang="en-US" err="1"/>
              <a:t>vivamus</a:t>
            </a:r>
            <a:r>
              <a:rPr lang="en-US"/>
              <a:t> </a:t>
            </a:r>
            <a:r>
              <a:rPr lang="en-US" err="1"/>
              <a:t>feugiat</a:t>
            </a:r>
            <a:r>
              <a:rPr lang="en-US"/>
              <a:t> </a:t>
            </a:r>
            <a:r>
              <a:rPr lang="en-US" err="1"/>
              <a:t>elit</a:t>
            </a:r>
            <a:r>
              <a:rPr lang="en-US"/>
              <a:t> </a:t>
            </a:r>
            <a:r>
              <a:rPr lang="en-US" err="1"/>
              <a:t>luctus</a:t>
            </a:r>
            <a:r>
              <a:rPr lang="en-US"/>
              <a:t> libero </a:t>
            </a:r>
            <a:r>
              <a:rPr lang="en-US" err="1"/>
              <a:t>duis</a:t>
            </a:r>
            <a:r>
              <a:rPr lang="en-US"/>
              <a:t> </a:t>
            </a:r>
            <a:r>
              <a:rPr lang="en-US" err="1"/>
              <a:t>elementum</a:t>
            </a:r>
            <a:r>
              <a:rPr lang="en-US"/>
              <a:t> </a:t>
            </a:r>
            <a:r>
              <a:rPr lang="en-US" err="1"/>
              <a:t>etiam</a:t>
            </a:r>
            <a:r>
              <a:rPr lang="en-US"/>
              <a:t> lorem cursus </a:t>
            </a:r>
            <a:r>
              <a:rPr lang="en-US" err="1"/>
              <a:t>hendrerit</a:t>
            </a:r>
            <a:r>
              <a:rPr lang="en-US"/>
              <a:t> </a:t>
            </a:r>
            <a:r>
              <a:rPr lang="en-US" err="1"/>
              <a:t>curae</a:t>
            </a:r>
            <a:r>
              <a:rPr lang="en-US"/>
              <a:t> </a:t>
            </a:r>
            <a:r>
              <a:rPr lang="en-US" err="1"/>
              <a:t>primis</a:t>
            </a:r>
            <a:r>
              <a:rPr lang="en-US"/>
              <a:t> </a:t>
            </a:r>
            <a:r>
              <a:rPr lang="en-US" err="1"/>
              <a:t>cubilia</a:t>
            </a:r>
            <a:r>
              <a:rPr lang="en-US"/>
              <a:t>.</a:t>
            </a:r>
          </a:p>
        </p:txBody>
      </p:sp>
      <p:sp>
        <p:nvSpPr>
          <p:cNvPr id="7" name="Picture Placeholder 3">
            <a:extLst>
              <a:ext uri="{FF2B5EF4-FFF2-40B4-BE49-F238E27FC236}">
                <a16:creationId xmlns:a16="http://schemas.microsoft.com/office/drawing/2014/main" id="{5D3BEB48-F134-5C30-6B6D-9CE9C41CC7FD}"/>
              </a:ext>
            </a:extLst>
          </p:cNvPr>
          <p:cNvSpPr>
            <a:spLocks noGrp="1"/>
          </p:cNvSpPr>
          <p:nvPr>
            <p:ph type="pic" sz="quarter" idx="34"/>
          </p:nvPr>
        </p:nvSpPr>
        <p:spPr>
          <a:xfrm>
            <a:off x="3453384" y="1514495"/>
            <a:ext cx="2404872" cy="1371600"/>
          </a:xfrm>
          <a:prstGeom prst="rect">
            <a:avLst/>
          </a:prstGeom>
        </p:spPr>
        <p:txBody>
          <a:bodyPr/>
          <a:lstStyle/>
          <a:p>
            <a:endParaRPr lang="en-US"/>
          </a:p>
        </p:txBody>
      </p:sp>
      <p:sp>
        <p:nvSpPr>
          <p:cNvPr id="8" name="Text Placeholder 4">
            <a:extLst>
              <a:ext uri="{FF2B5EF4-FFF2-40B4-BE49-F238E27FC236}">
                <a16:creationId xmlns:a16="http://schemas.microsoft.com/office/drawing/2014/main" id="{F0338E16-D20C-B7FA-8AC3-9C439351E1DA}"/>
              </a:ext>
            </a:extLst>
          </p:cNvPr>
          <p:cNvSpPr>
            <a:spLocks noGrp="1"/>
          </p:cNvSpPr>
          <p:nvPr>
            <p:ph type="body" sz="quarter" idx="35" hasCustomPrompt="1"/>
          </p:nvPr>
        </p:nvSpPr>
        <p:spPr>
          <a:xfrm>
            <a:off x="6272784" y="3185407"/>
            <a:ext cx="2436876" cy="430887"/>
          </a:xfrm>
          <a:prstGeom prst="rect">
            <a:avLst/>
          </a:prstGeom>
        </p:spPr>
        <p:txBody>
          <a:bodyPr wrap="square" anchor="t" anchorCtr="0">
            <a:spAutoFit/>
          </a:bodyPr>
          <a:lstStyle>
            <a:lvl1pPr marL="0" marR="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sz="1400" b="1" i="0">
                <a:solidFill>
                  <a:schemeClr val="bg1"/>
                </a:solidFill>
                <a:latin typeface="Calibri" panose="020F0502020204030204" pitchFamily="34" charset="0"/>
                <a:cs typeface="Calibri" panose="020F0502020204030204" pitchFamily="34" charset="0"/>
              </a:defRPr>
            </a:lvl1pPr>
          </a:lstStyle>
          <a:p>
            <a:r>
              <a:rPr lang="en-US"/>
              <a:t>Lorem ipsum </a:t>
            </a:r>
            <a:r>
              <a:rPr lang="en-US" err="1"/>
              <a:t>nulla</a:t>
            </a:r>
            <a:r>
              <a:rPr lang="en-US"/>
              <a:t> </a:t>
            </a:r>
            <a:r>
              <a:rPr lang="en-US" err="1"/>
              <a:t>primis</a:t>
            </a:r>
            <a:r>
              <a:rPr lang="en-US"/>
              <a:t> eros mi </a:t>
            </a:r>
            <a:r>
              <a:rPr lang="en-US" err="1"/>
              <a:t>maecenas</a:t>
            </a:r>
            <a:r>
              <a:rPr lang="en-US"/>
              <a:t> ligula magna.</a:t>
            </a:r>
          </a:p>
        </p:txBody>
      </p:sp>
      <p:sp>
        <p:nvSpPr>
          <p:cNvPr id="14" name="Text Placeholder 4">
            <a:extLst>
              <a:ext uri="{FF2B5EF4-FFF2-40B4-BE49-F238E27FC236}">
                <a16:creationId xmlns:a16="http://schemas.microsoft.com/office/drawing/2014/main" id="{E6B141DB-BB5A-9CCF-6E8E-737B235FA2D7}"/>
              </a:ext>
            </a:extLst>
          </p:cNvPr>
          <p:cNvSpPr>
            <a:spLocks noGrp="1"/>
          </p:cNvSpPr>
          <p:nvPr>
            <p:ph type="body" sz="quarter" idx="36" hasCustomPrompt="1"/>
          </p:nvPr>
        </p:nvSpPr>
        <p:spPr>
          <a:xfrm>
            <a:off x="6272784" y="3915606"/>
            <a:ext cx="2400300" cy="2291268"/>
          </a:xfrm>
          <a:prstGeom prst="rect">
            <a:avLst/>
          </a:prstGeom>
        </p:spPr>
        <p:txBody>
          <a:bodyPr wrap="square" anchor="t" anchorCtr="0">
            <a:spAutoFit/>
          </a:bodyPr>
          <a:lstStyle>
            <a:lvl1pPr marL="0" marR="0" indent="0" algn="l" defTabSz="914400" rtl="0" eaLnBrk="1" fontAlgn="auto" latinLnBrk="0" hangingPunct="1">
              <a:lnSpc>
                <a:spcPts val="1800"/>
              </a:lnSpc>
              <a:spcBef>
                <a:spcPts val="600"/>
              </a:spcBef>
              <a:spcAft>
                <a:spcPts val="0"/>
              </a:spcAft>
              <a:buClrTx/>
              <a:buSzTx/>
              <a:buFont typeface="Arial" panose="020B0604020202020204" pitchFamily="34" charset="0"/>
              <a:buNone/>
              <a:tabLst/>
              <a:defRPr sz="1200" b="0" i="0">
                <a:solidFill>
                  <a:schemeClr val="bg1"/>
                </a:solidFill>
                <a:latin typeface="Calibri Light" panose="020F0302020204030204" pitchFamily="34" charset="0"/>
                <a:cs typeface="Calibri Light" panose="020F0302020204030204" pitchFamily="34" charset="0"/>
              </a:defRPr>
            </a:lvl1pPr>
          </a:lstStyle>
          <a:p>
            <a:r>
              <a:rPr lang="en-US"/>
              <a:t>Lorem ipsum </a:t>
            </a:r>
            <a:r>
              <a:rPr lang="en-US" err="1"/>
              <a:t>nulla</a:t>
            </a:r>
            <a:r>
              <a:rPr lang="en-US"/>
              <a:t> </a:t>
            </a:r>
            <a:r>
              <a:rPr lang="en-US" err="1"/>
              <a:t>primis</a:t>
            </a:r>
            <a:r>
              <a:rPr lang="en-US"/>
              <a:t> eros mi </a:t>
            </a:r>
            <a:r>
              <a:rPr lang="en-US" err="1"/>
              <a:t>maecenas</a:t>
            </a:r>
            <a:r>
              <a:rPr lang="en-US"/>
              <a:t> ligula magna, </a:t>
            </a:r>
            <a:r>
              <a:rPr lang="en-US" err="1"/>
              <a:t>nibh</a:t>
            </a:r>
            <a:r>
              <a:rPr lang="en-US"/>
              <a:t> </a:t>
            </a:r>
            <a:r>
              <a:rPr lang="en-US" err="1"/>
              <a:t>commodo</a:t>
            </a:r>
            <a:r>
              <a:rPr lang="en-US"/>
              <a:t> </a:t>
            </a:r>
            <a:r>
              <a:rPr lang="en-US" err="1"/>
              <a:t>aenean</a:t>
            </a:r>
            <a:r>
              <a:rPr lang="en-US"/>
              <a:t> </a:t>
            </a:r>
            <a:r>
              <a:rPr lang="en-US" err="1"/>
              <a:t>leo</a:t>
            </a:r>
            <a:r>
              <a:rPr lang="en-US"/>
              <a:t> porta </a:t>
            </a:r>
            <a:r>
              <a:rPr lang="en-US" err="1"/>
              <a:t>duis</a:t>
            </a:r>
            <a:r>
              <a:rPr lang="en-US"/>
              <a:t> magna </a:t>
            </a:r>
            <a:r>
              <a:rPr lang="en-US" err="1"/>
              <a:t>felis</a:t>
            </a:r>
            <a:r>
              <a:rPr lang="en-US"/>
              <a:t> </a:t>
            </a:r>
            <a:r>
              <a:rPr lang="en-US" err="1"/>
              <a:t>bibendum</a:t>
            </a:r>
            <a:r>
              <a:rPr lang="en-US"/>
              <a:t> </a:t>
            </a:r>
            <a:r>
              <a:rPr lang="en-US" err="1"/>
              <a:t>tempor</a:t>
            </a:r>
            <a:r>
              <a:rPr lang="en-US"/>
              <a:t> </a:t>
            </a:r>
            <a:r>
              <a:rPr lang="en-US" err="1"/>
              <a:t>cubilia</a:t>
            </a:r>
            <a:r>
              <a:rPr lang="en-US"/>
              <a:t> gravida </a:t>
            </a:r>
            <a:r>
              <a:rPr lang="en-US" err="1"/>
              <a:t>molestie</a:t>
            </a:r>
            <a:r>
              <a:rPr lang="en-US"/>
              <a:t> a </a:t>
            </a:r>
            <a:r>
              <a:rPr lang="en-US" err="1"/>
              <a:t>pretium</a:t>
            </a:r>
            <a:r>
              <a:rPr lang="en-US"/>
              <a:t> </a:t>
            </a:r>
            <a:r>
              <a:rPr lang="en-US" err="1"/>
              <a:t>egestas</a:t>
            </a:r>
            <a:r>
              <a:rPr lang="en-US"/>
              <a:t> </a:t>
            </a:r>
            <a:r>
              <a:rPr lang="en-US" err="1"/>
              <a:t>iaculis</a:t>
            </a:r>
            <a:r>
              <a:rPr lang="en-US"/>
              <a:t> per, eros sit </a:t>
            </a:r>
            <a:r>
              <a:rPr lang="en-US" err="1"/>
              <a:t>leo</a:t>
            </a:r>
            <a:r>
              <a:rPr lang="en-US"/>
              <a:t> </a:t>
            </a:r>
            <a:r>
              <a:rPr lang="en-US" err="1"/>
              <a:t>augue</a:t>
            </a:r>
            <a:r>
              <a:rPr lang="en-US"/>
              <a:t> tempus </a:t>
            </a:r>
            <a:r>
              <a:rPr lang="en-US" err="1"/>
              <a:t>consectetur</a:t>
            </a:r>
            <a:r>
              <a:rPr lang="en-US"/>
              <a:t> </a:t>
            </a:r>
            <a:r>
              <a:rPr lang="en-US" err="1"/>
              <a:t>primis</a:t>
            </a:r>
            <a:r>
              <a:rPr lang="en-US"/>
              <a:t> dolor ac </a:t>
            </a:r>
            <a:r>
              <a:rPr lang="en-US" err="1"/>
              <a:t>euismod</a:t>
            </a:r>
            <a:r>
              <a:rPr lang="en-US"/>
              <a:t> </a:t>
            </a:r>
            <a:r>
              <a:rPr lang="en-US" err="1"/>
              <a:t>accumsan</a:t>
            </a:r>
            <a:r>
              <a:rPr lang="en-US"/>
              <a:t>, </a:t>
            </a:r>
            <a:r>
              <a:rPr lang="en-US" err="1"/>
              <a:t>vivamus</a:t>
            </a:r>
            <a:r>
              <a:rPr lang="en-US"/>
              <a:t> </a:t>
            </a:r>
            <a:r>
              <a:rPr lang="en-US" err="1"/>
              <a:t>feugiat</a:t>
            </a:r>
            <a:r>
              <a:rPr lang="en-US"/>
              <a:t> </a:t>
            </a:r>
            <a:r>
              <a:rPr lang="en-US" err="1"/>
              <a:t>elit</a:t>
            </a:r>
            <a:r>
              <a:rPr lang="en-US"/>
              <a:t> </a:t>
            </a:r>
            <a:r>
              <a:rPr lang="en-US" err="1"/>
              <a:t>luctus</a:t>
            </a:r>
            <a:r>
              <a:rPr lang="en-US"/>
              <a:t> libero </a:t>
            </a:r>
            <a:r>
              <a:rPr lang="en-US" err="1"/>
              <a:t>duis</a:t>
            </a:r>
            <a:r>
              <a:rPr lang="en-US"/>
              <a:t> </a:t>
            </a:r>
            <a:r>
              <a:rPr lang="en-US" err="1"/>
              <a:t>elementum</a:t>
            </a:r>
            <a:r>
              <a:rPr lang="en-US"/>
              <a:t> </a:t>
            </a:r>
            <a:r>
              <a:rPr lang="en-US" err="1"/>
              <a:t>etiam</a:t>
            </a:r>
            <a:r>
              <a:rPr lang="en-US"/>
              <a:t> lorem cursus </a:t>
            </a:r>
            <a:r>
              <a:rPr lang="en-US" err="1"/>
              <a:t>hendrerit</a:t>
            </a:r>
            <a:r>
              <a:rPr lang="en-US"/>
              <a:t> </a:t>
            </a:r>
            <a:r>
              <a:rPr lang="en-US" err="1"/>
              <a:t>curae</a:t>
            </a:r>
            <a:r>
              <a:rPr lang="en-US"/>
              <a:t> </a:t>
            </a:r>
            <a:r>
              <a:rPr lang="en-US" err="1"/>
              <a:t>primis</a:t>
            </a:r>
            <a:r>
              <a:rPr lang="en-US"/>
              <a:t> </a:t>
            </a:r>
            <a:r>
              <a:rPr lang="en-US" err="1"/>
              <a:t>cubilia</a:t>
            </a:r>
            <a:r>
              <a:rPr lang="en-US"/>
              <a:t>.</a:t>
            </a:r>
          </a:p>
        </p:txBody>
      </p:sp>
      <p:sp>
        <p:nvSpPr>
          <p:cNvPr id="15" name="Picture Placeholder 3">
            <a:extLst>
              <a:ext uri="{FF2B5EF4-FFF2-40B4-BE49-F238E27FC236}">
                <a16:creationId xmlns:a16="http://schemas.microsoft.com/office/drawing/2014/main" id="{0BA6217C-C15D-5705-1523-51C7EE9D2745}"/>
              </a:ext>
            </a:extLst>
          </p:cNvPr>
          <p:cNvSpPr>
            <a:spLocks noGrp="1"/>
          </p:cNvSpPr>
          <p:nvPr>
            <p:ph type="pic" sz="quarter" idx="37"/>
          </p:nvPr>
        </p:nvSpPr>
        <p:spPr>
          <a:xfrm>
            <a:off x="6272784" y="1514495"/>
            <a:ext cx="2404872" cy="1371600"/>
          </a:xfrm>
          <a:prstGeom prst="rect">
            <a:avLst/>
          </a:prstGeom>
        </p:spPr>
        <p:txBody>
          <a:bodyPr/>
          <a:lstStyle/>
          <a:p>
            <a:endParaRPr lang="en-US"/>
          </a:p>
        </p:txBody>
      </p:sp>
      <p:sp>
        <p:nvSpPr>
          <p:cNvPr id="16" name="Text Placeholder 4">
            <a:extLst>
              <a:ext uri="{FF2B5EF4-FFF2-40B4-BE49-F238E27FC236}">
                <a16:creationId xmlns:a16="http://schemas.microsoft.com/office/drawing/2014/main" id="{5A66D88E-80F4-1365-4E17-69F78707BE47}"/>
              </a:ext>
            </a:extLst>
          </p:cNvPr>
          <p:cNvSpPr>
            <a:spLocks noGrp="1"/>
          </p:cNvSpPr>
          <p:nvPr>
            <p:ph type="body" sz="quarter" idx="38" hasCustomPrompt="1"/>
          </p:nvPr>
        </p:nvSpPr>
        <p:spPr>
          <a:xfrm>
            <a:off x="9055608" y="3185407"/>
            <a:ext cx="2436876" cy="430887"/>
          </a:xfrm>
          <a:prstGeom prst="rect">
            <a:avLst/>
          </a:prstGeom>
        </p:spPr>
        <p:txBody>
          <a:bodyPr wrap="square" anchor="t" anchorCtr="0">
            <a:spAutoFit/>
          </a:bodyPr>
          <a:lstStyle>
            <a:lvl1pPr marL="0" marR="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sz="1400" b="1" i="0">
                <a:solidFill>
                  <a:schemeClr val="bg1"/>
                </a:solidFill>
                <a:latin typeface="Calibri" panose="020F0502020204030204" pitchFamily="34" charset="0"/>
                <a:cs typeface="Calibri" panose="020F0502020204030204" pitchFamily="34" charset="0"/>
              </a:defRPr>
            </a:lvl1pPr>
          </a:lstStyle>
          <a:p>
            <a:r>
              <a:rPr lang="en-US"/>
              <a:t>Lorem ipsum </a:t>
            </a:r>
            <a:r>
              <a:rPr lang="en-US" err="1"/>
              <a:t>nulla</a:t>
            </a:r>
            <a:r>
              <a:rPr lang="en-US"/>
              <a:t> </a:t>
            </a:r>
            <a:r>
              <a:rPr lang="en-US" err="1"/>
              <a:t>primis</a:t>
            </a:r>
            <a:r>
              <a:rPr lang="en-US"/>
              <a:t> eros mi </a:t>
            </a:r>
            <a:r>
              <a:rPr lang="en-US" err="1"/>
              <a:t>maecenas</a:t>
            </a:r>
            <a:r>
              <a:rPr lang="en-US"/>
              <a:t> ligula magna.</a:t>
            </a:r>
          </a:p>
        </p:txBody>
      </p:sp>
      <p:sp>
        <p:nvSpPr>
          <p:cNvPr id="17" name="Text Placeholder 4">
            <a:extLst>
              <a:ext uri="{FF2B5EF4-FFF2-40B4-BE49-F238E27FC236}">
                <a16:creationId xmlns:a16="http://schemas.microsoft.com/office/drawing/2014/main" id="{6DAFD4C9-E6EA-68B1-AE47-8BEF8A00F2D7}"/>
              </a:ext>
            </a:extLst>
          </p:cNvPr>
          <p:cNvSpPr>
            <a:spLocks noGrp="1"/>
          </p:cNvSpPr>
          <p:nvPr>
            <p:ph type="body" sz="quarter" idx="39" hasCustomPrompt="1"/>
          </p:nvPr>
        </p:nvSpPr>
        <p:spPr>
          <a:xfrm>
            <a:off x="9055608" y="3915606"/>
            <a:ext cx="2400300" cy="2291268"/>
          </a:xfrm>
          <a:prstGeom prst="rect">
            <a:avLst/>
          </a:prstGeom>
        </p:spPr>
        <p:txBody>
          <a:bodyPr wrap="square" anchor="t" anchorCtr="0">
            <a:spAutoFit/>
          </a:bodyPr>
          <a:lstStyle>
            <a:lvl1pPr marL="0" marR="0" indent="0" algn="l" defTabSz="914400" rtl="0" eaLnBrk="1" fontAlgn="auto" latinLnBrk="0" hangingPunct="1">
              <a:lnSpc>
                <a:spcPts val="1800"/>
              </a:lnSpc>
              <a:spcBef>
                <a:spcPts val="600"/>
              </a:spcBef>
              <a:spcAft>
                <a:spcPts val="0"/>
              </a:spcAft>
              <a:buClrTx/>
              <a:buSzTx/>
              <a:buFont typeface="Arial" panose="020B0604020202020204" pitchFamily="34" charset="0"/>
              <a:buNone/>
              <a:tabLst/>
              <a:defRPr sz="1200" b="0" i="0">
                <a:solidFill>
                  <a:schemeClr val="bg1"/>
                </a:solidFill>
                <a:latin typeface="Calibri Light" panose="020F0302020204030204" pitchFamily="34" charset="0"/>
                <a:cs typeface="Calibri Light" panose="020F0302020204030204" pitchFamily="34" charset="0"/>
              </a:defRPr>
            </a:lvl1pPr>
          </a:lstStyle>
          <a:p>
            <a:r>
              <a:rPr lang="en-US"/>
              <a:t>Lorem ipsum </a:t>
            </a:r>
            <a:r>
              <a:rPr lang="en-US" err="1"/>
              <a:t>nulla</a:t>
            </a:r>
            <a:r>
              <a:rPr lang="en-US"/>
              <a:t> </a:t>
            </a:r>
            <a:r>
              <a:rPr lang="en-US" err="1"/>
              <a:t>primis</a:t>
            </a:r>
            <a:r>
              <a:rPr lang="en-US"/>
              <a:t> eros mi </a:t>
            </a:r>
            <a:r>
              <a:rPr lang="en-US" err="1"/>
              <a:t>maecenas</a:t>
            </a:r>
            <a:r>
              <a:rPr lang="en-US"/>
              <a:t> ligula magna, </a:t>
            </a:r>
            <a:r>
              <a:rPr lang="en-US" err="1"/>
              <a:t>nibh</a:t>
            </a:r>
            <a:r>
              <a:rPr lang="en-US"/>
              <a:t> </a:t>
            </a:r>
            <a:r>
              <a:rPr lang="en-US" err="1"/>
              <a:t>commodo</a:t>
            </a:r>
            <a:r>
              <a:rPr lang="en-US"/>
              <a:t> </a:t>
            </a:r>
            <a:r>
              <a:rPr lang="en-US" err="1"/>
              <a:t>aenean</a:t>
            </a:r>
            <a:r>
              <a:rPr lang="en-US"/>
              <a:t> </a:t>
            </a:r>
            <a:r>
              <a:rPr lang="en-US" err="1"/>
              <a:t>leo</a:t>
            </a:r>
            <a:r>
              <a:rPr lang="en-US"/>
              <a:t> porta </a:t>
            </a:r>
            <a:r>
              <a:rPr lang="en-US" err="1"/>
              <a:t>duis</a:t>
            </a:r>
            <a:r>
              <a:rPr lang="en-US"/>
              <a:t> magna </a:t>
            </a:r>
            <a:r>
              <a:rPr lang="en-US" err="1"/>
              <a:t>felis</a:t>
            </a:r>
            <a:r>
              <a:rPr lang="en-US"/>
              <a:t> </a:t>
            </a:r>
            <a:r>
              <a:rPr lang="en-US" err="1"/>
              <a:t>bibendum</a:t>
            </a:r>
            <a:r>
              <a:rPr lang="en-US"/>
              <a:t> </a:t>
            </a:r>
            <a:r>
              <a:rPr lang="en-US" err="1"/>
              <a:t>tempor</a:t>
            </a:r>
            <a:r>
              <a:rPr lang="en-US"/>
              <a:t> </a:t>
            </a:r>
            <a:r>
              <a:rPr lang="en-US" err="1"/>
              <a:t>cubilia</a:t>
            </a:r>
            <a:r>
              <a:rPr lang="en-US"/>
              <a:t> gravida </a:t>
            </a:r>
            <a:r>
              <a:rPr lang="en-US" err="1"/>
              <a:t>molestie</a:t>
            </a:r>
            <a:r>
              <a:rPr lang="en-US"/>
              <a:t> a </a:t>
            </a:r>
            <a:r>
              <a:rPr lang="en-US" err="1"/>
              <a:t>pretium</a:t>
            </a:r>
            <a:r>
              <a:rPr lang="en-US"/>
              <a:t> </a:t>
            </a:r>
            <a:r>
              <a:rPr lang="en-US" err="1"/>
              <a:t>egestas</a:t>
            </a:r>
            <a:r>
              <a:rPr lang="en-US"/>
              <a:t> </a:t>
            </a:r>
            <a:r>
              <a:rPr lang="en-US" err="1"/>
              <a:t>iaculis</a:t>
            </a:r>
            <a:r>
              <a:rPr lang="en-US"/>
              <a:t> per, eros sit </a:t>
            </a:r>
            <a:r>
              <a:rPr lang="en-US" err="1"/>
              <a:t>leo</a:t>
            </a:r>
            <a:r>
              <a:rPr lang="en-US"/>
              <a:t> </a:t>
            </a:r>
            <a:r>
              <a:rPr lang="en-US" err="1"/>
              <a:t>augue</a:t>
            </a:r>
            <a:r>
              <a:rPr lang="en-US"/>
              <a:t> tempus </a:t>
            </a:r>
            <a:r>
              <a:rPr lang="en-US" err="1"/>
              <a:t>consectetur</a:t>
            </a:r>
            <a:r>
              <a:rPr lang="en-US"/>
              <a:t> </a:t>
            </a:r>
            <a:r>
              <a:rPr lang="en-US" err="1"/>
              <a:t>primis</a:t>
            </a:r>
            <a:r>
              <a:rPr lang="en-US"/>
              <a:t> dolor ac </a:t>
            </a:r>
            <a:r>
              <a:rPr lang="en-US" err="1"/>
              <a:t>euismod</a:t>
            </a:r>
            <a:r>
              <a:rPr lang="en-US"/>
              <a:t> </a:t>
            </a:r>
            <a:r>
              <a:rPr lang="en-US" err="1"/>
              <a:t>accumsan</a:t>
            </a:r>
            <a:r>
              <a:rPr lang="en-US"/>
              <a:t>, </a:t>
            </a:r>
            <a:r>
              <a:rPr lang="en-US" err="1"/>
              <a:t>vivamus</a:t>
            </a:r>
            <a:r>
              <a:rPr lang="en-US"/>
              <a:t> </a:t>
            </a:r>
            <a:r>
              <a:rPr lang="en-US" err="1"/>
              <a:t>feugiat</a:t>
            </a:r>
            <a:r>
              <a:rPr lang="en-US"/>
              <a:t> </a:t>
            </a:r>
            <a:r>
              <a:rPr lang="en-US" err="1"/>
              <a:t>elit</a:t>
            </a:r>
            <a:r>
              <a:rPr lang="en-US"/>
              <a:t> </a:t>
            </a:r>
            <a:r>
              <a:rPr lang="en-US" err="1"/>
              <a:t>luctus</a:t>
            </a:r>
            <a:r>
              <a:rPr lang="en-US"/>
              <a:t> libero </a:t>
            </a:r>
            <a:r>
              <a:rPr lang="en-US" err="1"/>
              <a:t>duis</a:t>
            </a:r>
            <a:r>
              <a:rPr lang="en-US"/>
              <a:t> </a:t>
            </a:r>
            <a:r>
              <a:rPr lang="en-US" err="1"/>
              <a:t>elementum</a:t>
            </a:r>
            <a:r>
              <a:rPr lang="en-US"/>
              <a:t> </a:t>
            </a:r>
            <a:r>
              <a:rPr lang="en-US" err="1"/>
              <a:t>etiam</a:t>
            </a:r>
            <a:r>
              <a:rPr lang="en-US"/>
              <a:t> lorem cursus </a:t>
            </a:r>
            <a:r>
              <a:rPr lang="en-US" err="1"/>
              <a:t>hendrerit</a:t>
            </a:r>
            <a:r>
              <a:rPr lang="en-US"/>
              <a:t> </a:t>
            </a:r>
            <a:r>
              <a:rPr lang="en-US" err="1"/>
              <a:t>curae</a:t>
            </a:r>
            <a:r>
              <a:rPr lang="en-US"/>
              <a:t> </a:t>
            </a:r>
            <a:r>
              <a:rPr lang="en-US" err="1"/>
              <a:t>primis</a:t>
            </a:r>
            <a:r>
              <a:rPr lang="en-US"/>
              <a:t> </a:t>
            </a:r>
            <a:r>
              <a:rPr lang="en-US" err="1"/>
              <a:t>cubilia</a:t>
            </a:r>
            <a:r>
              <a:rPr lang="en-US"/>
              <a:t>.</a:t>
            </a:r>
          </a:p>
        </p:txBody>
      </p:sp>
      <p:sp>
        <p:nvSpPr>
          <p:cNvPr id="18" name="Picture Placeholder 3">
            <a:extLst>
              <a:ext uri="{FF2B5EF4-FFF2-40B4-BE49-F238E27FC236}">
                <a16:creationId xmlns:a16="http://schemas.microsoft.com/office/drawing/2014/main" id="{10FD9B17-7D3A-73D7-A51D-A3A5FF8DA3BC}"/>
              </a:ext>
            </a:extLst>
          </p:cNvPr>
          <p:cNvSpPr>
            <a:spLocks noGrp="1"/>
          </p:cNvSpPr>
          <p:nvPr>
            <p:ph type="pic" sz="quarter" idx="40"/>
          </p:nvPr>
        </p:nvSpPr>
        <p:spPr>
          <a:xfrm>
            <a:off x="9055608" y="1514495"/>
            <a:ext cx="2404872" cy="1371600"/>
          </a:xfrm>
          <a:prstGeom prst="rect">
            <a:avLst/>
          </a:prstGeom>
        </p:spPr>
        <p:txBody>
          <a:bodyPr/>
          <a:lstStyle/>
          <a:p>
            <a:endParaRPr lang="en-US"/>
          </a:p>
        </p:txBody>
      </p:sp>
      <p:sp>
        <p:nvSpPr>
          <p:cNvPr id="11" name="Title 1">
            <a:extLst>
              <a:ext uri="{FF2B5EF4-FFF2-40B4-BE49-F238E27FC236}">
                <a16:creationId xmlns:a16="http://schemas.microsoft.com/office/drawing/2014/main" id="{C757573A-2E3E-A30C-D95D-AAC6A59ECF45}"/>
              </a:ext>
            </a:extLst>
          </p:cNvPr>
          <p:cNvSpPr>
            <a:spLocks noGrp="1"/>
          </p:cNvSpPr>
          <p:nvPr>
            <p:ph type="title" hasCustomPrompt="1"/>
          </p:nvPr>
        </p:nvSpPr>
        <p:spPr>
          <a:xfrm>
            <a:off x="633632" y="722843"/>
            <a:ext cx="10963056" cy="338554"/>
          </a:xfrm>
          <a:prstGeom prst="rect">
            <a:avLst/>
          </a:prstGeom>
        </p:spPr>
        <p:txBody>
          <a:bodyPr/>
          <a:lstStyle>
            <a:lvl1pPr>
              <a:defRPr lang="en-US" sz="2200" b="1" i="0" kern="1200" spc="0" dirty="0">
                <a:solidFill>
                  <a:schemeClr val="bg1"/>
                </a:solidFill>
                <a:effectLst/>
                <a:latin typeface="+mj-lt"/>
                <a:ea typeface="Calibri" panose="020F0502020204030204" pitchFamily="34" charset="0"/>
                <a:cs typeface="Calibri" panose="020F0502020204030204" pitchFamily="34" charset="0"/>
              </a:defRPr>
            </a:lvl1pPr>
          </a:lstStyle>
          <a:p>
            <a:pPr marL="0" lvl="0" indent="0" algn="l" defTabSz="914400" rtl="0" eaLnBrk="1" latinLnBrk="0" hangingPunct="1">
              <a:lnSpc>
                <a:spcPct val="100000"/>
              </a:lnSpc>
              <a:spcBef>
                <a:spcPts val="0"/>
              </a:spcBef>
              <a:spcAft>
                <a:spcPts val="0"/>
              </a:spcAft>
              <a:buFont typeface="Arial" panose="020B0604020202020204" pitchFamily="34" charset="0"/>
              <a:buNone/>
            </a:pPr>
            <a:r>
              <a:rPr lang="en-US">
                <a:effectLst/>
              </a:rPr>
              <a:t>Title Goes Here</a:t>
            </a:r>
            <a:endParaRPr lang="en-US"/>
          </a:p>
        </p:txBody>
      </p:sp>
      <p:sp>
        <p:nvSpPr>
          <p:cNvPr id="12" name="Text Placeholder 10">
            <a:extLst>
              <a:ext uri="{FF2B5EF4-FFF2-40B4-BE49-F238E27FC236}">
                <a16:creationId xmlns:a16="http://schemas.microsoft.com/office/drawing/2014/main" id="{283163BB-DE9A-940B-8DCA-5B0E1392B072}"/>
              </a:ext>
            </a:extLst>
          </p:cNvPr>
          <p:cNvSpPr>
            <a:spLocks noGrp="1"/>
          </p:cNvSpPr>
          <p:nvPr>
            <p:ph type="body" sz="quarter" idx="28" hasCustomPrompt="1"/>
          </p:nvPr>
        </p:nvSpPr>
        <p:spPr>
          <a:xfrm>
            <a:off x="633632" y="419100"/>
            <a:ext cx="3611880" cy="225706"/>
          </a:xfrm>
          <a:prstGeom prst="rect">
            <a:avLst/>
          </a:prstGeom>
        </p:spPr>
        <p:txBody>
          <a:bodyPr/>
          <a:lstStyle>
            <a:lvl1pPr>
              <a:spcBef>
                <a:spcPts val="0"/>
              </a:spcBef>
              <a:defRPr lang="en-US" sz="1000" b="0" i="0" kern="1200" cap="all" spc="300" baseline="0" dirty="0">
                <a:solidFill>
                  <a:schemeClr val="bg1"/>
                </a:solidFill>
                <a:latin typeface="Calibri" panose="020F0502020204030204" pitchFamily="34" charset="0"/>
                <a:ea typeface="Calibri" panose="020F0502020204030204" pitchFamily="34" charset="0"/>
                <a:cs typeface="Calibri" panose="020F0502020204030204" pitchFamily="34" charset="0"/>
              </a:defRPr>
            </a:lvl1pPr>
          </a:lstStyle>
          <a:p>
            <a:pPr marL="0" lvl="0" indent="0" algn="l" defTabSz="914400" rtl="0" eaLnBrk="1" latinLnBrk="0" hangingPunct="1">
              <a:lnSpc>
                <a:spcPct val="100000"/>
              </a:lnSpc>
              <a:spcBef>
                <a:spcPts val="600"/>
              </a:spcBef>
              <a:spcAft>
                <a:spcPts val="0"/>
              </a:spcAft>
              <a:buFont typeface="Arial" panose="020B0604020202020204" pitchFamily="34" charset="0"/>
              <a:buNone/>
            </a:pPr>
            <a:r>
              <a:rPr lang="en-US"/>
              <a:t>Click to add section title</a:t>
            </a:r>
          </a:p>
        </p:txBody>
      </p:sp>
      <p:grpSp>
        <p:nvGrpSpPr>
          <p:cNvPr id="3" name="Group 2">
            <a:extLst>
              <a:ext uri="{FF2B5EF4-FFF2-40B4-BE49-F238E27FC236}">
                <a16:creationId xmlns:a16="http://schemas.microsoft.com/office/drawing/2014/main" id="{8EA3D33B-9AF2-AE2A-BE82-FE57F6BBB701}"/>
              </a:ext>
            </a:extLst>
          </p:cNvPr>
          <p:cNvGrpSpPr/>
          <p:nvPr userDrawn="1"/>
        </p:nvGrpSpPr>
        <p:grpSpPr>
          <a:xfrm>
            <a:off x="610888" y="6472556"/>
            <a:ext cx="372834" cy="131175"/>
            <a:chOff x="14288" y="2035175"/>
            <a:chExt cx="10039350" cy="3532188"/>
          </a:xfrm>
          <a:solidFill>
            <a:schemeClr val="bg1"/>
          </a:solidFill>
        </p:grpSpPr>
        <p:sp>
          <p:nvSpPr>
            <p:cNvPr id="6" name="Freeform 1">
              <a:extLst>
                <a:ext uri="{FF2B5EF4-FFF2-40B4-BE49-F238E27FC236}">
                  <a16:creationId xmlns:a16="http://schemas.microsoft.com/office/drawing/2014/main" id="{A72E6A5F-D67F-9581-8D00-D9CF6832D8FB}"/>
                </a:ext>
              </a:extLst>
            </p:cNvPr>
            <p:cNvSpPr>
              <a:spLocks noChangeArrowheads="1"/>
            </p:cNvSpPr>
            <p:nvPr/>
          </p:nvSpPr>
          <p:spPr bwMode="auto">
            <a:xfrm>
              <a:off x="1519238" y="2035175"/>
              <a:ext cx="1336675" cy="2836863"/>
            </a:xfrm>
            <a:custGeom>
              <a:avLst/>
              <a:gdLst>
                <a:gd name="T0" fmla="*/ 390493 w 3714"/>
                <a:gd name="T1" fmla="*/ 1200682 h 7882"/>
                <a:gd name="T2" fmla="*/ 945462 w 3714"/>
                <a:gd name="T3" fmla="*/ 1200682 h 7882"/>
                <a:gd name="T4" fmla="*/ 945462 w 3714"/>
                <a:gd name="T5" fmla="*/ 611498 h 7882"/>
                <a:gd name="T6" fmla="*/ 698929 w 3714"/>
                <a:gd name="T7" fmla="*/ 364596 h 7882"/>
                <a:gd name="T8" fmla="*/ 637386 w 3714"/>
                <a:gd name="T9" fmla="*/ 364596 h 7882"/>
                <a:gd name="T10" fmla="*/ 390493 w 3714"/>
                <a:gd name="T11" fmla="*/ 611498 h 7882"/>
                <a:gd name="T12" fmla="*/ 390493 w 3714"/>
                <a:gd name="T13" fmla="*/ 1200682 h 7882"/>
                <a:gd name="T14" fmla="*/ 389414 w 3714"/>
                <a:gd name="T15" fmla="*/ 1576795 h 7882"/>
                <a:gd name="T16" fmla="*/ 390493 w 3714"/>
                <a:gd name="T17" fmla="*/ 2224645 h 7882"/>
                <a:gd name="T18" fmla="*/ 637386 w 3714"/>
                <a:gd name="T19" fmla="*/ 2471548 h 7882"/>
                <a:gd name="T20" fmla="*/ 709366 w 3714"/>
                <a:gd name="T21" fmla="*/ 2471548 h 7882"/>
                <a:gd name="T22" fmla="*/ 955899 w 3714"/>
                <a:gd name="T23" fmla="*/ 2224645 h 7882"/>
                <a:gd name="T24" fmla="*/ 955899 w 3714"/>
                <a:gd name="T25" fmla="*/ 1906119 h 7882"/>
                <a:gd name="T26" fmla="*/ 1336315 w 3714"/>
                <a:gd name="T27" fmla="*/ 1906119 h 7882"/>
                <a:gd name="T28" fmla="*/ 1336315 w 3714"/>
                <a:gd name="T29" fmla="*/ 2209528 h 7882"/>
                <a:gd name="T30" fmla="*/ 709366 w 3714"/>
                <a:gd name="T31" fmla="*/ 2836503 h 7882"/>
                <a:gd name="T32" fmla="*/ 626949 w 3714"/>
                <a:gd name="T33" fmla="*/ 2836503 h 7882"/>
                <a:gd name="T34" fmla="*/ 0 w 3714"/>
                <a:gd name="T35" fmla="*/ 2258117 h 7882"/>
                <a:gd name="T36" fmla="*/ 0 w 3714"/>
                <a:gd name="T37" fmla="*/ 675564 h 7882"/>
                <a:gd name="T38" fmla="*/ 626949 w 3714"/>
                <a:gd name="T39" fmla="*/ 0 h 7882"/>
                <a:gd name="T40" fmla="*/ 709366 w 3714"/>
                <a:gd name="T41" fmla="*/ 0 h 7882"/>
                <a:gd name="T42" fmla="*/ 1336315 w 3714"/>
                <a:gd name="T43" fmla="*/ 626975 h 7882"/>
                <a:gd name="T44" fmla="*/ 1334875 w 3714"/>
                <a:gd name="T45" fmla="*/ 1576795 h 7882"/>
                <a:gd name="T46" fmla="*/ 389414 w 3714"/>
                <a:gd name="T47" fmla="*/ 1576795 h 7882"/>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3714" h="7882">
                  <a:moveTo>
                    <a:pt x="1085" y="3336"/>
                  </a:moveTo>
                  <a:lnTo>
                    <a:pt x="2627" y="3336"/>
                  </a:lnTo>
                  <a:lnTo>
                    <a:pt x="2627" y="1699"/>
                  </a:lnTo>
                  <a:cubicBezTo>
                    <a:pt x="2627" y="1242"/>
                    <a:pt x="2399" y="1013"/>
                    <a:pt x="1942" y="1013"/>
                  </a:cubicBezTo>
                  <a:lnTo>
                    <a:pt x="1771" y="1013"/>
                  </a:lnTo>
                  <a:cubicBezTo>
                    <a:pt x="1314" y="1013"/>
                    <a:pt x="1085" y="1242"/>
                    <a:pt x="1085" y="1699"/>
                  </a:cubicBezTo>
                  <a:lnTo>
                    <a:pt x="1085" y="3336"/>
                  </a:lnTo>
                  <a:close/>
                  <a:moveTo>
                    <a:pt x="1082" y="4381"/>
                  </a:moveTo>
                  <a:lnTo>
                    <a:pt x="1085" y="6181"/>
                  </a:lnTo>
                  <a:cubicBezTo>
                    <a:pt x="1085" y="6638"/>
                    <a:pt x="1314" y="6867"/>
                    <a:pt x="1771" y="6867"/>
                  </a:cubicBezTo>
                  <a:lnTo>
                    <a:pt x="1971" y="6867"/>
                  </a:lnTo>
                  <a:cubicBezTo>
                    <a:pt x="2428" y="6867"/>
                    <a:pt x="2656" y="6638"/>
                    <a:pt x="2656" y="6181"/>
                  </a:cubicBezTo>
                  <a:lnTo>
                    <a:pt x="2656" y="5296"/>
                  </a:lnTo>
                  <a:lnTo>
                    <a:pt x="3713" y="5296"/>
                  </a:lnTo>
                  <a:lnTo>
                    <a:pt x="3713" y="6139"/>
                  </a:lnTo>
                  <a:cubicBezTo>
                    <a:pt x="3713" y="7295"/>
                    <a:pt x="3127" y="7881"/>
                    <a:pt x="1971" y="7881"/>
                  </a:cubicBezTo>
                  <a:lnTo>
                    <a:pt x="1742" y="7881"/>
                  </a:lnTo>
                  <a:cubicBezTo>
                    <a:pt x="585" y="7881"/>
                    <a:pt x="0" y="7295"/>
                    <a:pt x="0" y="6274"/>
                  </a:cubicBezTo>
                  <a:lnTo>
                    <a:pt x="0" y="1877"/>
                  </a:lnTo>
                  <a:cubicBezTo>
                    <a:pt x="0" y="585"/>
                    <a:pt x="585" y="0"/>
                    <a:pt x="1742" y="0"/>
                  </a:cubicBezTo>
                  <a:lnTo>
                    <a:pt x="1971" y="0"/>
                  </a:lnTo>
                  <a:cubicBezTo>
                    <a:pt x="3127" y="0"/>
                    <a:pt x="3713" y="585"/>
                    <a:pt x="3713" y="1742"/>
                  </a:cubicBezTo>
                  <a:lnTo>
                    <a:pt x="3709" y="4381"/>
                  </a:lnTo>
                  <a:lnTo>
                    <a:pt x="1082" y="4381"/>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endParaRPr lang="en-US"/>
            </a:p>
          </p:txBody>
        </p:sp>
        <p:sp>
          <p:nvSpPr>
            <p:cNvPr id="13" name="Freeform 2">
              <a:extLst>
                <a:ext uri="{FF2B5EF4-FFF2-40B4-BE49-F238E27FC236}">
                  <a16:creationId xmlns:a16="http://schemas.microsoft.com/office/drawing/2014/main" id="{03DCE5C9-77EF-F14A-2998-878504D9A73D}"/>
                </a:ext>
              </a:extLst>
            </p:cNvPr>
            <p:cNvSpPr>
              <a:spLocks noChangeArrowheads="1"/>
            </p:cNvSpPr>
            <p:nvPr/>
          </p:nvSpPr>
          <p:spPr bwMode="auto">
            <a:xfrm>
              <a:off x="3109913" y="2035175"/>
              <a:ext cx="1368425" cy="3532188"/>
            </a:xfrm>
            <a:custGeom>
              <a:avLst/>
              <a:gdLst>
                <a:gd name="T0" fmla="*/ 390721 w 3800"/>
                <a:gd name="T1" fmla="*/ 2322993 h 9812"/>
                <a:gd name="T2" fmla="*/ 750833 w 3800"/>
                <a:gd name="T3" fmla="*/ 2466628 h 9812"/>
                <a:gd name="T4" fmla="*/ 976983 w 3800"/>
                <a:gd name="T5" fmla="*/ 2240556 h 9812"/>
                <a:gd name="T6" fmla="*/ 976983 w 3800"/>
                <a:gd name="T7" fmla="*/ 596138 h 9812"/>
                <a:gd name="T8" fmla="*/ 750833 w 3800"/>
                <a:gd name="T9" fmla="*/ 370066 h 9812"/>
                <a:gd name="T10" fmla="*/ 390721 w 3800"/>
                <a:gd name="T11" fmla="*/ 514061 h 9812"/>
                <a:gd name="T12" fmla="*/ 390721 w 3800"/>
                <a:gd name="T13" fmla="*/ 2322993 h 9812"/>
                <a:gd name="T14" fmla="*/ 0 w 3800"/>
                <a:gd name="T15" fmla="*/ 30599 h 9812"/>
                <a:gd name="T16" fmla="*/ 390721 w 3800"/>
                <a:gd name="T17" fmla="*/ 30599 h 9812"/>
                <a:gd name="T18" fmla="*/ 390721 w 3800"/>
                <a:gd name="T19" fmla="*/ 210592 h 9812"/>
                <a:gd name="T20" fmla="*/ 868950 w 3800"/>
                <a:gd name="T21" fmla="*/ 0 h 9812"/>
                <a:gd name="T22" fmla="*/ 1368065 w 3800"/>
                <a:gd name="T23" fmla="*/ 549699 h 9812"/>
                <a:gd name="T24" fmla="*/ 1368065 w 3800"/>
                <a:gd name="T25" fmla="*/ 2286995 h 9812"/>
                <a:gd name="T26" fmla="*/ 868950 w 3800"/>
                <a:gd name="T27" fmla="*/ 2837054 h 9812"/>
                <a:gd name="T28" fmla="*/ 390721 w 3800"/>
                <a:gd name="T29" fmla="*/ 2636541 h 9812"/>
                <a:gd name="T30" fmla="*/ 390721 w 3800"/>
                <a:gd name="T31" fmla="*/ 3531828 h 9812"/>
                <a:gd name="T32" fmla="*/ 0 w 3800"/>
                <a:gd name="T33" fmla="*/ 3531828 h 9812"/>
                <a:gd name="T34" fmla="*/ 0 w 3800"/>
                <a:gd name="T35" fmla="*/ 30599 h 9812"/>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3800" h="9812">
                  <a:moveTo>
                    <a:pt x="1085" y="6453"/>
                  </a:moveTo>
                  <a:cubicBezTo>
                    <a:pt x="1385" y="6710"/>
                    <a:pt x="1728" y="6852"/>
                    <a:pt x="2085" y="6852"/>
                  </a:cubicBezTo>
                  <a:cubicBezTo>
                    <a:pt x="2485" y="6852"/>
                    <a:pt x="2713" y="6667"/>
                    <a:pt x="2713" y="6224"/>
                  </a:cubicBezTo>
                  <a:lnTo>
                    <a:pt x="2713" y="1656"/>
                  </a:lnTo>
                  <a:cubicBezTo>
                    <a:pt x="2713" y="1213"/>
                    <a:pt x="2485" y="1028"/>
                    <a:pt x="2085" y="1028"/>
                  </a:cubicBezTo>
                  <a:cubicBezTo>
                    <a:pt x="1728" y="1028"/>
                    <a:pt x="1385" y="1170"/>
                    <a:pt x="1085" y="1428"/>
                  </a:cubicBezTo>
                  <a:lnTo>
                    <a:pt x="1085" y="6453"/>
                  </a:lnTo>
                  <a:close/>
                  <a:moveTo>
                    <a:pt x="0" y="85"/>
                  </a:moveTo>
                  <a:lnTo>
                    <a:pt x="1085" y="85"/>
                  </a:lnTo>
                  <a:lnTo>
                    <a:pt x="1085" y="585"/>
                  </a:lnTo>
                  <a:cubicBezTo>
                    <a:pt x="1342" y="314"/>
                    <a:pt x="1785" y="0"/>
                    <a:pt x="2413" y="0"/>
                  </a:cubicBezTo>
                  <a:cubicBezTo>
                    <a:pt x="3342" y="0"/>
                    <a:pt x="3799" y="614"/>
                    <a:pt x="3799" y="1527"/>
                  </a:cubicBezTo>
                  <a:lnTo>
                    <a:pt x="3799" y="6353"/>
                  </a:lnTo>
                  <a:cubicBezTo>
                    <a:pt x="3799" y="7267"/>
                    <a:pt x="3342" y="7881"/>
                    <a:pt x="2413" y="7881"/>
                  </a:cubicBezTo>
                  <a:cubicBezTo>
                    <a:pt x="1785" y="7881"/>
                    <a:pt x="1342" y="7581"/>
                    <a:pt x="1085" y="7324"/>
                  </a:cubicBezTo>
                  <a:lnTo>
                    <a:pt x="1085" y="9811"/>
                  </a:lnTo>
                  <a:lnTo>
                    <a:pt x="0" y="9811"/>
                  </a:lnTo>
                  <a:lnTo>
                    <a:pt x="0" y="85"/>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endParaRPr lang="en-US"/>
            </a:p>
          </p:txBody>
        </p:sp>
        <p:sp>
          <p:nvSpPr>
            <p:cNvPr id="19" name="Freeform 3">
              <a:extLst>
                <a:ext uri="{FF2B5EF4-FFF2-40B4-BE49-F238E27FC236}">
                  <a16:creationId xmlns:a16="http://schemas.microsoft.com/office/drawing/2014/main" id="{CAA1EDB7-FF4F-C5B6-D5A1-3873CB3F7C48}"/>
                </a:ext>
              </a:extLst>
            </p:cNvPr>
            <p:cNvSpPr>
              <a:spLocks noChangeArrowheads="1"/>
            </p:cNvSpPr>
            <p:nvPr/>
          </p:nvSpPr>
          <p:spPr bwMode="auto">
            <a:xfrm>
              <a:off x="4711700" y="2035175"/>
              <a:ext cx="1328738" cy="2836863"/>
            </a:xfrm>
            <a:custGeom>
              <a:avLst/>
              <a:gdLst>
                <a:gd name="T0" fmla="*/ 937679 w 3690"/>
                <a:gd name="T1" fmla="*/ 2338019 h 7882"/>
                <a:gd name="T2" fmla="*/ 937679 w 3690"/>
                <a:gd name="T3" fmla="*/ 1422750 h 7882"/>
                <a:gd name="T4" fmla="*/ 582988 w 3690"/>
                <a:gd name="T5" fmla="*/ 1556999 h 7882"/>
                <a:gd name="T6" fmla="*/ 392500 w 3690"/>
                <a:gd name="T7" fmla="*/ 1844573 h 7882"/>
                <a:gd name="T8" fmla="*/ 392500 w 3690"/>
                <a:gd name="T9" fmla="*/ 2266035 h 7882"/>
                <a:gd name="T10" fmla="*/ 582988 w 3690"/>
                <a:gd name="T11" fmla="*/ 2466149 h 7882"/>
                <a:gd name="T12" fmla="*/ 937679 w 3690"/>
                <a:gd name="T13" fmla="*/ 2338019 h 7882"/>
                <a:gd name="T14" fmla="*/ 2161 w 3690"/>
                <a:gd name="T15" fmla="*/ 1839174 h 7882"/>
                <a:gd name="T16" fmla="*/ 413025 w 3690"/>
                <a:gd name="T17" fmla="*/ 1253950 h 7882"/>
                <a:gd name="T18" fmla="*/ 937679 w 3690"/>
                <a:gd name="T19" fmla="*/ 1073991 h 7882"/>
                <a:gd name="T20" fmla="*/ 937679 w 3690"/>
                <a:gd name="T21" fmla="*/ 611498 h 7882"/>
                <a:gd name="T22" fmla="*/ 690656 w 3690"/>
                <a:gd name="T23" fmla="*/ 359557 h 7882"/>
                <a:gd name="T24" fmla="*/ 627280 w 3690"/>
                <a:gd name="T25" fmla="*/ 359557 h 7882"/>
                <a:gd name="T26" fmla="*/ 380257 w 3690"/>
                <a:gd name="T27" fmla="*/ 611498 h 7882"/>
                <a:gd name="T28" fmla="*/ 380257 w 3690"/>
                <a:gd name="T29" fmla="*/ 1004527 h 7882"/>
                <a:gd name="T30" fmla="*/ 0 w 3690"/>
                <a:gd name="T31" fmla="*/ 1004527 h 7882"/>
                <a:gd name="T32" fmla="*/ 0 w 3690"/>
                <a:gd name="T33" fmla="*/ 626975 h 7882"/>
                <a:gd name="T34" fmla="*/ 627280 w 3690"/>
                <a:gd name="T35" fmla="*/ 0 h 7882"/>
                <a:gd name="T36" fmla="*/ 701098 w 3690"/>
                <a:gd name="T37" fmla="*/ 0 h 7882"/>
                <a:gd name="T38" fmla="*/ 1328378 w 3690"/>
                <a:gd name="T39" fmla="*/ 626975 h 7882"/>
                <a:gd name="T40" fmla="*/ 1328378 w 3690"/>
                <a:gd name="T41" fmla="*/ 2805550 h 7882"/>
                <a:gd name="T42" fmla="*/ 937679 w 3690"/>
                <a:gd name="T43" fmla="*/ 2805550 h 7882"/>
                <a:gd name="T44" fmla="*/ 937679 w 3690"/>
                <a:gd name="T45" fmla="*/ 2630631 h 7882"/>
                <a:gd name="T46" fmla="*/ 459477 w 3690"/>
                <a:gd name="T47" fmla="*/ 2836503 h 7882"/>
                <a:gd name="T48" fmla="*/ 2161 w 3690"/>
                <a:gd name="T49" fmla="*/ 2348096 h 7882"/>
                <a:gd name="T50" fmla="*/ 2161 w 3690"/>
                <a:gd name="T51" fmla="*/ 1839174 h 7882"/>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3690" h="7882">
                  <a:moveTo>
                    <a:pt x="2604" y="6496"/>
                  </a:moveTo>
                  <a:lnTo>
                    <a:pt x="2604" y="3953"/>
                  </a:lnTo>
                  <a:lnTo>
                    <a:pt x="1619" y="4326"/>
                  </a:lnTo>
                  <a:cubicBezTo>
                    <a:pt x="1219" y="4483"/>
                    <a:pt x="1090" y="4683"/>
                    <a:pt x="1090" y="5125"/>
                  </a:cubicBezTo>
                  <a:lnTo>
                    <a:pt x="1090" y="6296"/>
                  </a:lnTo>
                  <a:cubicBezTo>
                    <a:pt x="1090" y="6667"/>
                    <a:pt x="1276" y="6852"/>
                    <a:pt x="1619" y="6852"/>
                  </a:cubicBezTo>
                  <a:cubicBezTo>
                    <a:pt x="1947" y="6852"/>
                    <a:pt x="2247" y="6738"/>
                    <a:pt x="2604" y="6496"/>
                  </a:cubicBezTo>
                  <a:close/>
                  <a:moveTo>
                    <a:pt x="6" y="5110"/>
                  </a:moveTo>
                  <a:cubicBezTo>
                    <a:pt x="6" y="4155"/>
                    <a:pt x="320" y="3769"/>
                    <a:pt x="1147" y="3484"/>
                  </a:cubicBezTo>
                  <a:lnTo>
                    <a:pt x="2604" y="2984"/>
                  </a:lnTo>
                  <a:lnTo>
                    <a:pt x="2604" y="1699"/>
                  </a:lnTo>
                  <a:cubicBezTo>
                    <a:pt x="2604" y="1242"/>
                    <a:pt x="2375" y="999"/>
                    <a:pt x="1918" y="999"/>
                  </a:cubicBezTo>
                  <a:lnTo>
                    <a:pt x="1742" y="999"/>
                  </a:lnTo>
                  <a:cubicBezTo>
                    <a:pt x="1285" y="999"/>
                    <a:pt x="1056" y="1242"/>
                    <a:pt x="1056" y="1699"/>
                  </a:cubicBezTo>
                  <a:lnTo>
                    <a:pt x="1056" y="2791"/>
                  </a:lnTo>
                  <a:lnTo>
                    <a:pt x="0" y="2791"/>
                  </a:lnTo>
                  <a:lnTo>
                    <a:pt x="0" y="1742"/>
                  </a:lnTo>
                  <a:cubicBezTo>
                    <a:pt x="0" y="585"/>
                    <a:pt x="586" y="0"/>
                    <a:pt x="1742" y="0"/>
                  </a:cubicBezTo>
                  <a:lnTo>
                    <a:pt x="1947" y="0"/>
                  </a:lnTo>
                  <a:cubicBezTo>
                    <a:pt x="3104" y="0"/>
                    <a:pt x="3689" y="585"/>
                    <a:pt x="3689" y="1742"/>
                  </a:cubicBezTo>
                  <a:lnTo>
                    <a:pt x="3689" y="7795"/>
                  </a:lnTo>
                  <a:lnTo>
                    <a:pt x="2604" y="7795"/>
                  </a:lnTo>
                  <a:lnTo>
                    <a:pt x="2604" y="7309"/>
                  </a:lnTo>
                  <a:cubicBezTo>
                    <a:pt x="2304" y="7595"/>
                    <a:pt x="1904" y="7881"/>
                    <a:pt x="1276" y="7881"/>
                  </a:cubicBezTo>
                  <a:cubicBezTo>
                    <a:pt x="406" y="7881"/>
                    <a:pt x="6" y="7381"/>
                    <a:pt x="6" y="6524"/>
                  </a:cubicBezTo>
                  <a:lnTo>
                    <a:pt x="6" y="5110"/>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endParaRPr lang="en-US"/>
            </a:p>
          </p:txBody>
        </p:sp>
        <p:sp>
          <p:nvSpPr>
            <p:cNvPr id="20" name="Freeform 4">
              <a:extLst>
                <a:ext uri="{FF2B5EF4-FFF2-40B4-BE49-F238E27FC236}">
                  <a16:creationId xmlns:a16="http://schemas.microsoft.com/office/drawing/2014/main" id="{942D6DC7-58F1-6297-1C4B-96E91142EA81}"/>
                </a:ext>
              </a:extLst>
            </p:cNvPr>
            <p:cNvSpPr>
              <a:spLocks noChangeArrowheads="1"/>
            </p:cNvSpPr>
            <p:nvPr/>
          </p:nvSpPr>
          <p:spPr bwMode="auto">
            <a:xfrm>
              <a:off x="6292850" y="2035175"/>
              <a:ext cx="2262188" cy="2806700"/>
            </a:xfrm>
            <a:custGeom>
              <a:avLst/>
              <a:gdLst>
                <a:gd name="T0" fmla="*/ 1326358 w 6285"/>
                <a:gd name="T1" fmla="*/ 2806340 h 7796"/>
                <a:gd name="T2" fmla="*/ 935470 w 6285"/>
                <a:gd name="T3" fmla="*/ 2806340 h 7796"/>
                <a:gd name="T4" fmla="*/ 935470 w 6285"/>
                <a:gd name="T5" fmla="*/ 570628 h 7796"/>
                <a:gd name="T6" fmla="*/ 750463 w 6285"/>
                <a:gd name="T7" fmla="*/ 370098 h 7796"/>
                <a:gd name="T8" fmla="*/ 390889 w 6285"/>
                <a:gd name="T9" fmla="*/ 508705 h 7796"/>
                <a:gd name="T10" fmla="*/ 390889 w 6285"/>
                <a:gd name="T11" fmla="*/ 2806340 h 7796"/>
                <a:gd name="T12" fmla="*/ 0 w 6285"/>
                <a:gd name="T13" fmla="*/ 2806340 h 7796"/>
                <a:gd name="T14" fmla="*/ 0 w 6285"/>
                <a:gd name="T15" fmla="*/ 30602 h 7796"/>
                <a:gd name="T16" fmla="*/ 390889 w 6285"/>
                <a:gd name="T17" fmla="*/ 30602 h 7796"/>
                <a:gd name="T18" fmla="*/ 390889 w 6285"/>
                <a:gd name="T19" fmla="*/ 210611 h 7796"/>
                <a:gd name="T20" fmla="*/ 868882 w 6285"/>
                <a:gd name="T21" fmla="*/ 0 h 7796"/>
                <a:gd name="T22" fmla="*/ 1274888 w 6285"/>
                <a:gd name="T23" fmla="*/ 226091 h 7796"/>
                <a:gd name="T24" fmla="*/ 1804351 w 6285"/>
                <a:gd name="T25" fmla="*/ 0 h 7796"/>
                <a:gd name="T26" fmla="*/ 2261828 w 6285"/>
                <a:gd name="T27" fmla="*/ 488184 h 7796"/>
                <a:gd name="T28" fmla="*/ 2261828 w 6285"/>
                <a:gd name="T29" fmla="*/ 2806340 h 7796"/>
                <a:gd name="T30" fmla="*/ 1870939 w 6285"/>
                <a:gd name="T31" fmla="*/ 2806340 h 7796"/>
                <a:gd name="T32" fmla="*/ 1870939 w 6285"/>
                <a:gd name="T33" fmla="*/ 570628 h 7796"/>
                <a:gd name="T34" fmla="*/ 1685933 w 6285"/>
                <a:gd name="T35" fmla="*/ 370098 h 7796"/>
                <a:gd name="T36" fmla="*/ 1326358 w 6285"/>
                <a:gd name="T37" fmla="*/ 508705 h 7796"/>
                <a:gd name="T38" fmla="*/ 1326358 w 6285"/>
                <a:gd name="T39" fmla="*/ 2806340 h 779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6285" h="7796">
                  <a:moveTo>
                    <a:pt x="3685" y="7795"/>
                  </a:moveTo>
                  <a:lnTo>
                    <a:pt x="2599" y="7795"/>
                  </a:lnTo>
                  <a:lnTo>
                    <a:pt x="2599" y="1585"/>
                  </a:lnTo>
                  <a:cubicBezTo>
                    <a:pt x="2599" y="1199"/>
                    <a:pt x="2414" y="1028"/>
                    <a:pt x="2085" y="1028"/>
                  </a:cubicBezTo>
                  <a:cubicBezTo>
                    <a:pt x="1785" y="1028"/>
                    <a:pt x="1471" y="1142"/>
                    <a:pt x="1086" y="1413"/>
                  </a:cubicBezTo>
                  <a:lnTo>
                    <a:pt x="1086" y="7795"/>
                  </a:lnTo>
                  <a:lnTo>
                    <a:pt x="0" y="7795"/>
                  </a:lnTo>
                  <a:lnTo>
                    <a:pt x="0" y="85"/>
                  </a:lnTo>
                  <a:lnTo>
                    <a:pt x="1086" y="85"/>
                  </a:lnTo>
                  <a:lnTo>
                    <a:pt x="1086" y="585"/>
                  </a:lnTo>
                  <a:cubicBezTo>
                    <a:pt x="1400" y="285"/>
                    <a:pt x="1814" y="0"/>
                    <a:pt x="2414" y="0"/>
                  </a:cubicBezTo>
                  <a:cubicBezTo>
                    <a:pt x="2971" y="0"/>
                    <a:pt x="3342" y="228"/>
                    <a:pt x="3542" y="628"/>
                  </a:cubicBezTo>
                  <a:cubicBezTo>
                    <a:pt x="3928" y="299"/>
                    <a:pt x="4385" y="0"/>
                    <a:pt x="5013" y="0"/>
                  </a:cubicBezTo>
                  <a:cubicBezTo>
                    <a:pt x="5855" y="0"/>
                    <a:pt x="6284" y="514"/>
                    <a:pt x="6284" y="1356"/>
                  </a:cubicBezTo>
                  <a:lnTo>
                    <a:pt x="6284" y="7795"/>
                  </a:lnTo>
                  <a:lnTo>
                    <a:pt x="5198" y="7795"/>
                  </a:lnTo>
                  <a:lnTo>
                    <a:pt x="5198" y="1585"/>
                  </a:lnTo>
                  <a:cubicBezTo>
                    <a:pt x="5198" y="1199"/>
                    <a:pt x="5013" y="1028"/>
                    <a:pt x="4684" y="1028"/>
                  </a:cubicBezTo>
                  <a:cubicBezTo>
                    <a:pt x="4385" y="1028"/>
                    <a:pt x="4070" y="1142"/>
                    <a:pt x="3685" y="1413"/>
                  </a:cubicBezTo>
                  <a:lnTo>
                    <a:pt x="3685" y="7795"/>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endParaRPr lang="en-US"/>
            </a:p>
          </p:txBody>
        </p:sp>
        <p:sp>
          <p:nvSpPr>
            <p:cNvPr id="21" name="Freeform 5">
              <a:extLst>
                <a:ext uri="{FF2B5EF4-FFF2-40B4-BE49-F238E27FC236}">
                  <a16:creationId xmlns:a16="http://schemas.microsoft.com/office/drawing/2014/main" id="{21A808F1-6531-C955-6713-56373013A2A2}"/>
                </a:ext>
              </a:extLst>
            </p:cNvPr>
            <p:cNvSpPr>
              <a:spLocks noChangeArrowheads="1"/>
            </p:cNvSpPr>
            <p:nvPr/>
          </p:nvSpPr>
          <p:spPr bwMode="auto">
            <a:xfrm>
              <a:off x="14288" y="2322513"/>
              <a:ext cx="1004887" cy="2274887"/>
            </a:xfrm>
            <a:custGeom>
              <a:avLst/>
              <a:gdLst>
                <a:gd name="T0" fmla="*/ 1004527 w 2790"/>
                <a:gd name="T1" fmla="*/ 0 h 6317"/>
                <a:gd name="T2" fmla="*/ 1004527 w 2790"/>
                <a:gd name="T3" fmla="*/ 510652 h 6317"/>
                <a:gd name="T4" fmla="*/ 346488 w 2790"/>
                <a:gd name="T5" fmla="*/ 1137624 h 6317"/>
                <a:gd name="T6" fmla="*/ 1004527 w 2790"/>
                <a:gd name="T7" fmla="*/ 1752711 h 6317"/>
                <a:gd name="T8" fmla="*/ 1004527 w 2790"/>
                <a:gd name="T9" fmla="*/ 2274527 h 6317"/>
                <a:gd name="T10" fmla="*/ 0 w 2790"/>
                <a:gd name="T11" fmla="*/ 1331009 h 6317"/>
                <a:gd name="T12" fmla="*/ 0 w 2790"/>
                <a:gd name="T13" fmla="*/ 955042 h 6317"/>
                <a:gd name="T14" fmla="*/ 1004527 w 2790"/>
                <a:gd name="T15" fmla="*/ 0 h 6317"/>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2790" h="6317">
                  <a:moveTo>
                    <a:pt x="2789" y="0"/>
                  </a:moveTo>
                  <a:lnTo>
                    <a:pt x="2789" y="1418"/>
                  </a:lnTo>
                  <a:lnTo>
                    <a:pt x="962" y="3159"/>
                  </a:lnTo>
                  <a:lnTo>
                    <a:pt x="2789" y="4867"/>
                  </a:lnTo>
                  <a:lnTo>
                    <a:pt x="2789" y="6316"/>
                  </a:lnTo>
                  <a:lnTo>
                    <a:pt x="0" y="3696"/>
                  </a:lnTo>
                  <a:lnTo>
                    <a:pt x="0" y="2652"/>
                  </a:lnTo>
                  <a:lnTo>
                    <a:pt x="2789"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endParaRPr lang="en-US"/>
            </a:p>
          </p:txBody>
        </p:sp>
        <p:sp>
          <p:nvSpPr>
            <p:cNvPr id="22" name="Freeform 6">
              <a:extLst>
                <a:ext uri="{FF2B5EF4-FFF2-40B4-BE49-F238E27FC236}">
                  <a16:creationId xmlns:a16="http://schemas.microsoft.com/office/drawing/2014/main" id="{A08AD016-744B-E9C0-2B4F-C768C1386687}"/>
                </a:ext>
              </a:extLst>
            </p:cNvPr>
            <p:cNvSpPr>
              <a:spLocks noChangeArrowheads="1"/>
            </p:cNvSpPr>
            <p:nvPr/>
          </p:nvSpPr>
          <p:spPr bwMode="auto">
            <a:xfrm>
              <a:off x="9050338" y="2322513"/>
              <a:ext cx="1003300" cy="2274887"/>
            </a:xfrm>
            <a:custGeom>
              <a:avLst/>
              <a:gdLst>
                <a:gd name="T0" fmla="*/ 1002940 w 2789"/>
                <a:gd name="T1" fmla="*/ 955042 h 6317"/>
                <a:gd name="T2" fmla="*/ 1002940 w 2789"/>
                <a:gd name="T3" fmla="*/ 1331009 h 6317"/>
                <a:gd name="T4" fmla="*/ 0 w 2789"/>
                <a:gd name="T5" fmla="*/ 2274527 h 6317"/>
                <a:gd name="T6" fmla="*/ 0 w 2789"/>
                <a:gd name="T7" fmla="*/ 1752711 h 6317"/>
                <a:gd name="T8" fmla="*/ 656876 w 2789"/>
                <a:gd name="T9" fmla="*/ 1137624 h 6317"/>
                <a:gd name="T10" fmla="*/ 0 w 2789"/>
                <a:gd name="T11" fmla="*/ 510652 h 6317"/>
                <a:gd name="T12" fmla="*/ 0 w 2789"/>
                <a:gd name="T13" fmla="*/ 0 h 6317"/>
                <a:gd name="T14" fmla="*/ 1002940 w 2789"/>
                <a:gd name="T15" fmla="*/ 955042 h 6317"/>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2789" h="6317">
                  <a:moveTo>
                    <a:pt x="2788" y="2652"/>
                  </a:moveTo>
                  <a:lnTo>
                    <a:pt x="2788" y="3696"/>
                  </a:lnTo>
                  <a:lnTo>
                    <a:pt x="0" y="6316"/>
                  </a:lnTo>
                  <a:lnTo>
                    <a:pt x="0" y="4867"/>
                  </a:lnTo>
                  <a:lnTo>
                    <a:pt x="1826" y="3159"/>
                  </a:lnTo>
                  <a:lnTo>
                    <a:pt x="0" y="1418"/>
                  </a:lnTo>
                  <a:lnTo>
                    <a:pt x="0" y="0"/>
                  </a:lnTo>
                  <a:lnTo>
                    <a:pt x="2788" y="2652"/>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endParaRPr lang="en-US"/>
            </a:p>
          </p:txBody>
        </p:sp>
      </p:grpSp>
      <p:sp>
        <p:nvSpPr>
          <p:cNvPr id="23" name="Footer Placeholder 14">
            <a:extLst>
              <a:ext uri="{FF2B5EF4-FFF2-40B4-BE49-F238E27FC236}">
                <a16:creationId xmlns:a16="http://schemas.microsoft.com/office/drawing/2014/main" id="{084ED5BE-D18C-F194-4149-77B2ED4F943F}"/>
              </a:ext>
            </a:extLst>
          </p:cNvPr>
          <p:cNvSpPr txBox="1">
            <a:spLocks/>
          </p:cNvSpPr>
          <p:nvPr userDrawn="1"/>
        </p:nvSpPr>
        <p:spPr>
          <a:xfrm>
            <a:off x="1206203" y="6411603"/>
            <a:ext cx="2157779" cy="228599"/>
          </a:xfrm>
          <a:prstGeom prst="rect">
            <a:avLst/>
          </a:prstGeom>
        </p:spPr>
        <p:txBody>
          <a:bodyPr vert="horz" lIns="0" tIns="0" rIns="0" bIns="0" rtlCol="0" anchor="ctr"/>
          <a:lstStyle>
            <a:defPPr>
              <a:defRPr lang="en-US"/>
            </a:defPPr>
            <a:lvl1pPr marL="0" algn="r" defTabSz="914400" rtl="0" eaLnBrk="1" latinLnBrk="0" hangingPunct="1">
              <a:defRPr sz="600" b="0" i="0" kern="1200">
                <a:solidFill>
                  <a:schemeClr val="tx1"/>
                </a:solidFill>
                <a:latin typeface="+mn-lt"/>
                <a:ea typeface="Calibri" panose="020F0502020204030204" pitchFamily="34" charset="0"/>
                <a:cs typeface="Calibri" panose="020F050202020403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b="0" i="0">
                <a:solidFill>
                  <a:schemeClr val="bg1"/>
                </a:solidFill>
                <a:latin typeface="+mn-lt"/>
              </a:rPr>
              <a:t>EPAM Proprietary &amp; Confidential</a:t>
            </a:r>
            <a:r>
              <a:rPr lang="ru-RU" b="0" i="0">
                <a:solidFill>
                  <a:schemeClr val="bg1"/>
                </a:solidFill>
                <a:latin typeface="+mn-lt"/>
              </a:rPr>
              <a:t> </a:t>
            </a:r>
            <a:endParaRPr lang="en-US" b="0" i="0">
              <a:solidFill>
                <a:schemeClr val="bg1"/>
              </a:solidFill>
              <a:latin typeface="+mn-lt"/>
            </a:endParaRPr>
          </a:p>
        </p:txBody>
      </p:sp>
      <p:pic>
        <p:nvPicPr>
          <p:cNvPr id="26" name="Graphic 25">
            <a:extLst>
              <a:ext uri="{FF2B5EF4-FFF2-40B4-BE49-F238E27FC236}">
                <a16:creationId xmlns:a16="http://schemas.microsoft.com/office/drawing/2014/main" id="{77CFE5E6-A3D8-1B22-0D6B-9CC9FC99AF95}"/>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820266" y="6419060"/>
            <a:ext cx="762921" cy="205636"/>
          </a:xfrm>
          <a:prstGeom prst="rect">
            <a:avLst/>
          </a:prstGeom>
        </p:spPr>
      </p:pic>
    </p:spTree>
    <p:extLst>
      <p:ext uri="{BB962C8B-B14F-4D97-AF65-F5344CB8AC3E}">
        <p14:creationId xmlns:p14="http://schemas.microsoft.com/office/powerpoint/2010/main" val="3038846018"/>
      </p:ext>
    </p:extLst>
  </p:cSld>
  <p:clrMapOvr>
    <a:masterClrMapping/>
  </p:clrMapOvr>
  <p:extLst>
    <p:ext uri="{DCECCB84-F9BA-43D5-87BE-67443E8EF086}">
      <p15:sldGuideLst xmlns:p15="http://schemas.microsoft.com/office/powerpoint/2012/main"/>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4_column_text_LM">
    <p:bg>
      <p:bgPr>
        <a:solidFill>
          <a:schemeClr val="bg1"/>
        </a:solidFill>
        <a:effectLst/>
      </p:bgPr>
    </p:bg>
    <p:spTree>
      <p:nvGrpSpPr>
        <p:cNvPr id="1" name=""/>
        <p:cNvGrpSpPr/>
        <p:nvPr/>
      </p:nvGrpSpPr>
      <p:grpSpPr>
        <a:xfrm>
          <a:off x="0" y="0"/>
          <a:ext cx="0" cy="0"/>
          <a:chOff x="0" y="0"/>
          <a:chExt cx="0" cy="0"/>
        </a:xfrm>
      </p:grpSpPr>
      <p:sp>
        <p:nvSpPr>
          <p:cNvPr id="9" name="Text Placeholder 4">
            <a:extLst>
              <a:ext uri="{FF2B5EF4-FFF2-40B4-BE49-F238E27FC236}">
                <a16:creationId xmlns:a16="http://schemas.microsoft.com/office/drawing/2014/main" id="{DBBECED4-4691-EAD7-0FFE-7393254BBDC9}"/>
              </a:ext>
            </a:extLst>
          </p:cNvPr>
          <p:cNvSpPr>
            <a:spLocks noGrp="1"/>
          </p:cNvSpPr>
          <p:nvPr>
            <p:ph type="body" sz="quarter" idx="26" hasCustomPrompt="1"/>
          </p:nvPr>
        </p:nvSpPr>
        <p:spPr>
          <a:xfrm>
            <a:off x="647700" y="1726692"/>
            <a:ext cx="2436876" cy="430887"/>
          </a:xfrm>
          <a:prstGeom prst="rect">
            <a:avLst/>
          </a:prstGeom>
        </p:spPr>
        <p:txBody>
          <a:bodyPr wrap="square" anchor="t" anchorCtr="0">
            <a:spAutoFit/>
          </a:bodyPr>
          <a:lstStyle>
            <a:lvl1pPr marL="0" marR="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sz="1400" b="1" i="0">
                <a:solidFill>
                  <a:schemeClr val="tx1"/>
                </a:solidFill>
                <a:latin typeface="Calibri" panose="020F0502020204030204" pitchFamily="34" charset="0"/>
                <a:cs typeface="Calibri" panose="020F0502020204030204" pitchFamily="34" charset="0"/>
              </a:defRPr>
            </a:lvl1pPr>
          </a:lstStyle>
          <a:p>
            <a:r>
              <a:rPr lang="en-US"/>
              <a:t>Lorem ipsum </a:t>
            </a:r>
            <a:r>
              <a:rPr lang="en-US" err="1"/>
              <a:t>nulla</a:t>
            </a:r>
            <a:r>
              <a:rPr lang="en-US"/>
              <a:t> </a:t>
            </a:r>
            <a:r>
              <a:rPr lang="en-US" err="1"/>
              <a:t>primis</a:t>
            </a:r>
            <a:r>
              <a:rPr lang="en-US"/>
              <a:t> eros mi </a:t>
            </a:r>
            <a:r>
              <a:rPr lang="en-US" err="1"/>
              <a:t>maecenas</a:t>
            </a:r>
            <a:r>
              <a:rPr lang="en-US"/>
              <a:t> ligula magna.</a:t>
            </a:r>
          </a:p>
        </p:txBody>
      </p:sp>
      <p:sp>
        <p:nvSpPr>
          <p:cNvPr id="10" name="Text Placeholder 4">
            <a:extLst>
              <a:ext uri="{FF2B5EF4-FFF2-40B4-BE49-F238E27FC236}">
                <a16:creationId xmlns:a16="http://schemas.microsoft.com/office/drawing/2014/main" id="{31E7CDA2-C04C-57C2-B779-676BA576EFB7}"/>
              </a:ext>
            </a:extLst>
          </p:cNvPr>
          <p:cNvSpPr>
            <a:spLocks noGrp="1"/>
          </p:cNvSpPr>
          <p:nvPr>
            <p:ph type="body" sz="quarter" idx="27" hasCustomPrompt="1"/>
          </p:nvPr>
        </p:nvSpPr>
        <p:spPr>
          <a:xfrm>
            <a:off x="647700" y="2456891"/>
            <a:ext cx="2400300" cy="2291268"/>
          </a:xfrm>
          <a:prstGeom prst="rect">
            <a:avLst/>
          </a:prstGeom>
        </p:spPr>
        <p:txBody>
          <a:bodyPr wrap="square" anchor="t" anchorCtr="0">
            <a:spAutoFit/>
          </a:bodyPr>
          <a:lstStyle>
            <a:lvl1pPr marL="0" marR="0" indent="0" algn="l" defTabSz="914400" rtl="0" eaLnBrk="1" fontAlgn="auto" latinLnBrk="0" hangingPunct="1">
              <a:lnSpc>
                <a:spcPts val="1800"/>
              </a:lnSpc>
              <a:spcBef>
                <a:spcPts val="600"/>
              </a:spcBef>
              <a:spcAft>
                <a:spcPts val="0"/>
              </a:spcAft>
              <a:buClrTx/>
              <a:buSzTx/>
              <a:buFont typeface="Arial" panose="020B0604020202020204" pitchFamily="34" charset="0"/>
              <a:buNone/>
              <a:tabLst/>
              <a:defRPr sz="1200" b="0" i="0">
                <a:solidFill>
                  <a:schemeClr val="tx1"/>
                </a:solidFill>
                <a:latin typeface="Calibri Light" panose="020F0302020204030204" pitchFamily="34" charset="0"/>
                <a:cs typeface="Calibri Light" panose="020F0302020204030204" pitchFamily="34" charset="0"/>
              </a:defRPr>
            </a:lvl1pPr>
          </a:lstStyle>
          <a:p>
            <a:r>
              <a:rPr lang="en-US"/>
              <a:t>Lorem ipsum </a:t>
            </a:r>
            <a:r>
              <a:rPr lang="en-US" err="1"/>
              <a:t>nulla</a:t>
            </a:r>
            <a:r>
              <a:rPr lang="en-US"/>
              <a:t> </a:t>
            </a:r>
            <a:r>
              <a:rPr lang="en-US" err="1"/>
              <a:t>primis</a:t>
            </a:r>
            <a:r>
              <a:rPr lang="en-US"/>
              <a:t> eros mi </a:t>
            </a:r>
            <a:r>
              <a:rPr lang="en-US" err="1"/>
              <a:t>maecenas</a:t>
            </a:r>
            <a:r>
              <a:rPr lang="en-US"/>
              <a:t> ligula magna, </a:t>
            </a:r>
            <a:r>
              <a:rPr lang="en-US" err="1"/>
              <a:t>nibh</a:t>
            </a:r>
            <a:r>
              <a:rPr lang="en-US"/>
              <a:t> </a:t>
            </a:r>
            <a:r>
              <a:rPr lang="en-US" err="1"/>
              <a:t>commodo</a:t>
            </a:r>
            <a:r>
              <a:rPr lang="en-US"/>
              <a:t> </a:t>
            </a:r>
            <a:r>
              <a:rPr lang="en-US" err="1"/>
              <a:t>aenean</a:t>
            </a:r>
            <a:r>
              <a:rPr lang="en-US"/>
              <a:t> </a:t>
            </a:r>
            <a:r>
              <a:rPr lang="en-US" err="1"/>
              <a:t>leo</a:t>
            </a:r>
            <a:r>
              <a:rPr lang="en-US"/>
              <a:t> porta </a:t>
            </a:r>
            <a:r>
              <a:rPr lang="en-US" err="1"/>
              <a:t>duis</a:t>
            </a:r>
            <a:r>
              <a:rPr lang="en-US"/>
              <a:t> magna </a:t>
            </a:r>
            <a:r>
              <a:rPr lang="en-US" err="1"/>
              <a:t>felis</a:t>
            </a:r>
            <a:r>
              <a:rPr lang="en-US"/>
              <a:t> </a:t>
            </a:r>
            <a:r>
              <a:rPr lang="en-US" err="1"/>
              <a:t>bibendum</a:t>
            </a:r>
            <a:r>
              <a:rPr lang="en-US"/>
              <a:t> </a:t>
            </a:r>
            <a:r>
              <a:rPr lang="en-US" err="1"/>
              <a:t>tempor</a:t>
            </a:r>
            <a:r>
              <a:rPr lang="en-US"/>
              <a:t> </a:t>
            </a:r>
            <a:r>
              <a:rPr lang="en-US" err="1"/>
              <a:t>cubilia</a:t>
            </a:r>
            <a:r>
              <a:rPr lang="en-US"/>
              <a:t> gravida </a:t>
            </a:r>
            <a:r>
              <a:rPr lang="en-US" err="1"/>
              <a:t>molestie</a:t>
            </a:r>
            <a:r>
              <a:rPr lang="en-US"/>
              <a:t> a </a:t>
            </a:r>
            <a:r>
              <a:rPr lang="en-US" err="1"/>
              <a:t>pretium</a:t>
            </a:r>
            <a:r>
              <a:rPr lang="en-US"/>
              <a:t> </a:t>
            </a:r>
            <a:r>
              <a:rPr lang="en-US" err="1"/>
              <a:t>egestas</a:t>
            </a:r>
            <a:r>
              <a:rPr lang="en-US"/>
              <a:t> </a:t>
            </a:r>
            <a:r>
              <a:rPr lang="en-US" err="1"/>
              <a:t>iaculis</a:t>
            </a:r>
            <a:r>
              <a:rPr lang="en-US"/>
              <a:t> per, eros sit </a:t>
            </a:r>
            <a:r>
              <a:rPr lang="en-US" err="1"/>
              <a:t>leo</a:t>
            </a:r>
            <a:r>
              <a:rPr lang="en-US"/>
              <a:t> </a:t>
            </a:r>
            <a:r>
              <a:rPr lang="en-US" err="1"/>
              <a:t>augue</a:t>
            </a:r>
            <a:r>
              <a:rPr lang="en-US"/>
              <a:t> tempus </a:t>
            </a:r>
            <a:r>
              <a:rPr lang="en-US" err="1"/>
              <a:t>consectetur</a:t>
            </a:r>
            <a:r>
              <a:rPr lang="en-US"/>
              <a:t> </a:t>
            </a:r>
            <a:r>
              <a:rPr lang="en-US" err="1"/>
              <a:t>primis</a:t>
            </a:r>
            <a:r>
              <a:rPr lang="en-US"/>
              <a:t> dolor ac </a:t>
            </a:r>
            <a:r>
              <a:rPr lang="en-US" err="1"/>
              <a:t>euismod</a:t>
            </a:r>
            <a:r>
              <a:rPr lang="en-US"/>
              <a:t> </a:t>
            </a:r>
            <a:r>
              <a:rPr lang="en-US" err="1"/>
              <a:t>accumsan</a:t>
            </a:r>
            <a:r>
              <a:rPr lang="en-US"/>
              <a:t>, </a:t>
            </a:r>
            <a:r>
              <a:rPr lang="en-US" err="1"/>
              <a:t>vivamus</a:t>
            </a:r>
            <a:r>
              <a:rPr lang="en-US"/>
              <a:t> </a:t>
            </a:r>
            <a:r>
              <a:rPr lang="en-US" err="1"/>
              <a:t>feugiat</a:t>
            </a:r>
            <a:r>
              <a:rPr lang="en-US"/>
              <a:t> </a:t>
            </a:r>
            <a:r>
              <a:rPr lang="en-US" err="1"/>
              <a:t>elit</a:t>
            </a:r>
            <a:r>
              <a:rPr lang="en-US"/>
              <a:t> </a:t>
            </a:r>
            <a:r>
              <a:rPr lang="en-US" err="1"/>
              <a:t>luctus</a:t>
            </a:r>
            <a:r>
              <a:rPr lang="en-US"/>
              <a:t> libero </a:t>
            </a:r>
            <a:r>
              <a:rPr lang="en-US" err="1"/>
              <a:t>duis</a:t>
            </a:r>
            <a:r>
              <a:rPr lang="en-US"/>
              <a:t> </a:t>
            </a:r>
            <a:r>
              <a:rPr lang="en-US" err="1"/>
              <a:t>elementum</a:t>
            </a:r>
            <a:r>
              <a:rPr lang="en-US"/>
              <a:t> </a:t>
            </a:r>
            <a:r>
              <a:rPr lang="en-US" err="1"/>
              <a:t>etiam</a:t>
            </a:r>
            <a:r>
              <a:rPr lang="en-US"/>
              <a:t> lorem cursus </a:t>
            </a:r>
            <a:r>
              <a:rPr lang="en-US" err="1"/>
              <a:t>hendrerit</a:t>
            </a:r>
            <a:r>
              <a:rPr lang="en-US"/>
              <a:t> </a:t>
            </a:r>
            <a:r>
              <a:rPr lang="en-US" err="1"/>
              <a:t>curae</a:t>
            </a:r>
            <a:r>
              <a:rPr lang="en-US"/>
              <a:t> </a:t>
            </a:r>
            <a:r>
              <a:rPr lang="en-US" err="1"/>
              <a:t>primis</a:t>
            </a:r>
            <a:r>
              <a:rPr lang="en-US"/>
              <a:t> </a:t>
            </a:r>
            <a:r>
              <a:rPr lang="en-US" err="1"/>
              <a:t>cubilia</a:t>
            </a:r>
            <a:r>
              <a:rPr lang="en-US"/>
              <a:t>.</a:t>
            </a:r>
          </a:p>
        </p:txBody>
      </p:sp>
      <p:sp>
        <p:nvSpPr>
          <p:cNvPr id="2" name="Text Placeholder 4">
            <a:extLst>
              <a:ext uri="{FF2B5EF4-FFF2-40B4-BE49-F238E27FC236}">
                <a16:creationId xmlns:a16="http://schemas.microsoft.com/office/drawing/2014/main" id="{71E07365-191F-2AEF-D8B3-0E6070334B55}"/>
              </a:ext>
            </a:extLst>
          </p:cNvPr>
          <p:cNvSpPr>
            <a:spLocks noGrp="1"/>
          </p:cNvSpPr>
          <p:nvPr>
            <p:ph type="body" sz="quarter" idx="32" hasCustomPrompt="1"/>
          </p:nvPr>
        </p:nvSpPr>
        <p:spPr>
          <a:xfrm>
            <a:off x="3453384" y="1726692"/>
            <a:ext cx="2436876" cy="430887"/>
          </a:xfrm>
          <a:prstGeom prst="rect">
            <a:avLst/>
          </a:prstGeom>
        </p:spPr>
        <p:txBody>
          <a:bodyPr wrap="square" anchor="t" anchorCtr="0">
            <a:spAutoFit/>
          </a:bodyPr>
          <a:lstStyle>
            <a:lvl1pPr marL="0" marR="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sz="1400" b="1" i="0">
                <a:solidFill>
                  <a:schemeClr val="tx1"/>
                </a:solidFill>
                <a:latin typeface="Calibri" panose="020F0502020204030204" pitchFamily="34" charset="0"/>
                <a:cs typeface="Calibri" panose="020F0502020204030204" pitchFamily="34" charset="0"/>
              </a:defRPr>
            </a:lvl1pPr>
          </a:lstStyle>
          <a:p>
            <a:r>
              <a:rPr lang="en-US"/>
              <a:t>Lorem ipsum </a:t>
            </a:r>
            <a:r>
              <a:rPr lang="en-US" err="1"/>
              <a:t>nulla</a:t>
            </a:r>
            <a:r>
              <a:rPr lang="en-US"/>
              <a:t> </a:t>
            </a:r>
            <a:r>
              <a:rPr lang="en-US" err="1"/>
              <a:t>primis</a:t>
            </a:r>
            <a:r>
              <a:rPr lang="en-US"/>
              <a:t> eros mi </a:t>
            </a:r>
            <a:r>
              <a:rPr lang="en-US" err="1"/>
              <a:t>maecenas</a:t>
            </a:r>
            <a:r>
              <a:rPr lang="en-US"/>
              <a:t> ligula magna.</a:t>
            </a:r>
          </a:p>
        </p:txBody>
      </p:sp>
      <p:sp>
        <p:nvSpPr>
          <p:cNvPr id="5" name="Text Placeholder 4">
            <a:extLst>
              <a:ext uri="{FF2B5EF4-FFF2-40B4-BE49-F238E27FC236}">
                <a16:creationId xmlns:a16="http://schemas.microsoft.com/office/drawing/2014/main" id="{6D13B958-0014-5BD7-06FC-5AD3F2966879}"/>
              </a:ext>
            </a:extLst>
          </p:cNvPr>
          <p:cNvSpPr>
            <a:spLocks noGrp="1"/>
          </p:cNvSpPr>
          <p:nvPr>
            <p:ph type="body" sz="quarter" idx="33" hasCustomPrompt="1"/>
          </p:nvPr>
        </p:nvSpPr>
        <p:spPr>
          <a:xfrm>
            <a:off x="3453384" y="2456891"/>
            <a:ext cx="2400300" cy="2291268"/>
          </a:xfrm>
          <a:prstGeom prst="rect">
            <a:avLst/>
          </a:prstGeom>
        </p:spPr>
        <p:txBody>
          <a:bodyPr wrap="square" anchor="t" anchorCtr="0">
            <a:spAutoFit/>
          </a:bodyPr>
          <a:lstStyle>
            <a:lvl1pPr marL="0" marR="0" indent="0" algn="l" defTabSz="914400" rtl="0" eaLnBrk="1" fontAlgn="auto" latinLnBrk="0" hangingPunct="1">
              <a:lnSpc>
                <a:spcPts val="1800"/>
              </a:lnSpc>
              <a:spcBef>
                <a:spcPts val="600"/>
              </a:spcBef>
              <a:spcAft>
                <a:spcPts val="0"/>
              </a:spcAft>
              <a:buClrTx/>
              <a:buSzTx/>
              <a:buFont typeface="Arial" panose="020B0604020202020204" pitchFamily="34" charset="0"/>
              <a:buNone/>
              <a:tabLst/>
              <a:defRPr sz="1200" b="0" i="0">
                <a:solidFill>
                  <a:schemeClr val="tx1"/>
                </a:solidFill>
                <a:latin typeface="Calibri Light" panose="020F0302020204030204" pitchFamily="34" charset="0"/>
                <a:cs typeface="Calibri Light" panose="020F0302020204030204" pitchFamily="34" charset="0"/>
              </a:defRPr>
            </a:lvl1pPr>
          </a:lstStyle>
          <a:p>
            <a:r>
              <a:rPr lang="en-US"/>
              <a:t>Lorem ipsum </a:t>
            </a:r>
            <a:r>
              <a:rPr lang="en-US" err="1"/>
              <a:t>nulla</a:t>
            </a:r>
            <a:r>
              <a:rPr lang="en-US"/>
              <a:t> </a:t>
            </a:r>
            <a:r>
              <a:rPr lang="en-US" err="1"/>
              <a:t>primis</a:t>
            </a:r>
            <a:r>
              <a:rPr lang="en-US"/>
              <a:t> eros mi </a:t>
            </a:r>
            <a:r>
              <a:rPr lang="en-US" err="1"/>
              <a:t>maecenas</a:t>
            </a:r>
            <a:r>
              <a:rPr lang="en-US"/>
              <a:t> ligula magna, </a:t>
            </a:r>
            <a:r>
              <a:rPr lang="en-US" err="1"/>
              <a:t>nibh</a:t>
            </a:r>
            <a:r>
              <a:rPr lang="en-US"/>
              <a:t> </a:t>
            </a:r>
            <a:r>
              <a:rPr lang="en-US" err="1"/>
              <a:t>commodo</a:t>
            </a:r>
            <a:r>
              <a:rPr lang="en-US"/>
              <a:t> </a:t>
            </a:r>
            <a:r>
              <a:rPr lang="en-US" err="1"/>
              <a:t>aenean</a:t>
            </a:r>
            <a:r>
              <a:rPr lang="en-US"/>
              <a:t> </a:t>
            </a:r>
            <a:r>
              <a:rPr lang="en-US" err="1"/>
              <a:t>leo</a:t>
            </a:r>
            <a:r>
              <a:rPr lang="en-US"/>
              <a:t> porta </a:t>
            </a:r>
            <a:r>
              <a:rPr lang="en-US" err="1"/>
              <a:t>duis</a:t>
            </a:r>
            <a:r>
              <a:rPr lang="en-US"/>
              <a:t> magna </a:t>
            </a:r>
            <a:r>
              <a:rPr lang="en-US" err="1"/>
              <a:t>felis</a:t>
            </a:r>
            <a:r>
              <a:rPr lang="en-US"/>
              <a:t> </a:t>
            </a:r>
            <a:r>
              <a:rPr lang="en-US" err="1"/>
              <a:t>bibendum</a:t>
            </a:r>
            <a:r>
              <a:rPr lang="en-US"/>
              <a:t> </a:t>
            </a:r>
            <a:r>
              <a:rPr lang="en-US" err="1"/>
              <a:t>tempor</a:t>
            </a:r>
            <a:r>
              <a:rPr lang="en-US"/>
              <a:t> </a:t>
            </a:r>
            <a:r>
              <a:rPr lang="en-US" err="1"/>
              <a:t>cubilia</a:t>
            </a:r>
            <a:r>
              <a:rPr lang="en-US"/>
              <a:t> gravida </a:t>
            </a:r>
            <a:r>
              <a:rPr lang="en-US" err="1"/>
              <a:t>molestie</a:t>
            </a:r>
            <a:r>
              <a:rPr lang="en-US"/>
              <a:t> a </a:t>
            </a:r>
            <a:r>
              <a:rPr lang="en-US" err="1"/>
              <a:t>pretium</a:t>
            </a:r>
            <a:r>
              <a:rPr lang="en-US"/>
              <a:t> </a:t>
            </a:r>
            <a:r>
              <a:rPr lang="en-US" err="1"/>
              <a:t>egestas</a:t>
            </a:r>
            <a:r>
              <a:rPr lang="en-US"/>
              <a:t> </a:t>
            </a:r>
            <a:r>
              <a:rPr lang="en-US" err="1"/>
              <a:t>iaculis</a:t>
            </a:r>
            <a:r>
              <a:rPr lang="en-US"/>
              <a:t> per, eros sit </a:t>
            </a:r>
            <a:r>
              <a:rPr lang="en-US" err="1"/>
              <a:t>leo</a:t>
            </a:r>
            <a:r>
              <a:rPr lang="en-US"/>
              <a:t> </a:t>
            </a:r>
            <a:r>
              <a:rPr lang="en-US" err="1"/>
              <a:t>augue</a:t>
            </a:r>
            <a:r>
              <a:rPr lang="en-US"/>
              <a:t> tempus </a:t>
            </a:r>
            <a:r>
              <a:rPr lang="en-US" err="1"/>
              <a:t>consectetur</a:t>
            </a:r>
            <a:r>
              <a:rPr lang="en-US"/>
              <a:t> </a:t>
            </a:r>
            <a:r>
              <a:rPr lang="en-US" err="1"/>
              <a:t>primis</a:t>
            </a:r>
            <a:r>
              <a:rPr lang="en-US"/>
              <a:t> dolor ac </a:t>
            </a:r>
            <a:r>
              <a:rPr lang="en-US" err="1"/>
              <a:t>euismod</a:t>
            </a:r>
            <a:r>
              <a:rPr lang="en-US"/>
              <a:t> </a:t>
            </a:r>
            <a:r>
              <a:rPr lang="en-US" err="1"/>
              <a:t>accumsan</a:t>
            </a:r>
            <a:r>
              <a:rPr lang="en-US"/>
              <a:t>, </a:t>
            </a:r>
            <a:r>
              <a:rPr lang="en-US" err="1"/>
              <a:t>vivamus</a:t>
            </a:r>
            <a:r>
              <a:rPr lang="en-US"/>
              <a:t> </a:t>
            </a:r>
            <a:r>
              <a:rPr lang="en-US" err="1"/>
              <a:t>feugiat</a:t>
            </a:r>
            <a:r>
              <a:rPr lang="en-US"/>
              <a:t> </a:t>
            </a:r>
            <a:r>
              <a:rPr lang="en-US" err="1"/>
              <a:t>elit</a:t>
            </a:r>
            <a:r>
              <a:rPr lang="en-US"/>
              <a:t> </a:t>
            </a:r>
            <a:r>
              <a:rPr lang="en-US" err="1"/>
              <a:t>luctus</a:t>
            </a:r>
            <a:r>
              <a:rPr lang="en-US"/>
              <a:t> libero </a:t>
            </a:r>
            <a:r>
              <a:rPr lang="en-US" err="1"/>
              <a:t>duis</a:t>
            </a:r>
            <a:r>
              <a:rPr lang="en-US"/>
              <a:t> </a:t>
            </a:r>
            <a:r>
              <a:rPr lang="en-US" err="1"/>
              <a:t>elementum</a:t>
            </a:r>
            <a:r>
              <a:rPr lang="en-US"/>
              <a:t> </a:t>
            </a:r>
            <a:r>
              <a:rPr lang="en-US" err="1"/>
              <a:t>etiam</a:t>
            </a:r>
            <a:r>
              <a:rPr lang="en-US"/>
              <a:t> lorem cursus </a:t>
            </a:r>
            <a:r>
              <a:rPr lang="en-US" err="1"/>
              <a:t>hendrerit</a:t>
            </a:r>
            <a:r>
              <a:rPr lang="en-US"/>
              <a:t> </a:t>
            </a:r>
            <a:r>
              <a:rPr lang="en-US" err="1"/>
              <a:t>curae</a:t>
            </a:r>
            <a:r>
              <a:rPr lang="en-US"/>
              <a:t> </a:t>
            </a:r>
            <a:r>
              <a:rPr lang="en-US" err="1"/>
              <a:t>primis</a:t>
            </a:r>
            <a:r>
              <a:rPr lang="en-US"/>
              <a:t> </a:t>
            </a:r>
            <a:r>
              <a:rPr lang="en-US" err="1"/>
              <a:t>cubilia</a:t>
            </a:r>
            <a:r>
              <a:rPr lang="en-US"/>
              <a:t>.</a:t>
            </a:r>
          </a:p>
        </p:txBody>
      </p:sp>
      <p:sp>
        <p:nvSpPr>
          <p:cNvPr id="8" name="Text Placeholder 4">
            <a:extLst>
              <a:ext uri="{FF2B5EF4-FFF2-40B4-BE49-F238E27FC236}">
                <a16:creationId xmlns:a16="http://schemas.microsoft.com/office/drawing/2014/main" id="{F0338E16-D20C-B7FA-8AC3-9C439351E1DA}"/>
              </a:ext>
            </a:extLst>
          </p:cNvPr>
          <p:cNvSpPr>
            <a:spLocks noGrp="1"/>
          </p:cNvSpPr>
          <p:nvPr>
            <p:ph type="body" sz="quarter" idx="35" hasCustomPrompt="1"/>
          </p:nvPr>
        </p:nvSpPr>
        <p:spPr>
          <a:xfrm>
            <a:off x="6272784" y="1726692"/>
            <a:ext cx="2436876" cy="430887"/>
          </a:xfrm>
          <a:prstGeom prst="rect">
            <a:avLst/>
          </a:prstGeom>
        </p:spPr>
        <p:txBody>
          <a:bodyPr wrap="square" anchor="t" anchorCtr="0">
            <a:spAutoFit/>
          </a:bodyPr>
          <a:lstStyle>
            <a:lvl1pPr marL="0" marR="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sz="1400" b="1" i="0">
                <a:solidFill>
                  <a:schemeClr val="tx1"/>
                </a:solidFill>
                <a:latin typeface="Calibri" panose="020F0502020204030204" pitchFamily="34" charset="0"/>
                <a:cs typeface="Calibri" panose="020F0502020204030204" pitchFamily="34" charset="0"/>
              </a:defRPr>
            </a:lvl1pPr>
          </a:lstStyle>
          <a:p>
            <a:r>
              <a:rPr lang="en-US"/>
              <a:t>Lorem ipsum </a:t>
            </a:r>
            <a:r>
              <a:rPr lang="en-US" err="1"/>
              <a:t>nulla</a:t>
            </a:r>
            <a:r>
              <a:rPr lang="en-US"/>
              <a:t> </a:t>
            </a:r>
            <a:r>
              <a:rPr lang="en-US" err="1"/>
              <a:t>primis</a:t>
            </a:r>
            <a:r>
              <a:rPr lang="en-US"/>
              <a:t> eros mi </a:t>
            </a:r>
            <a:r>
              <a:rPr lang="en-US" err="1"/>
              <a:t>maecenas</a:t>
            </a:r>
            <a:r>
              <a:rPr lang="en-US"/>
              <a:t> ligula magna.</a:t>
            </a:r>
          </a:p>
        </p:txBody>
      </p:sp>
      <p:sp>
        <p:nvSpPr>
          <p:cNvPr id="14" name="Text Placeholder 4">
            <a:extLst>
              <a:ext uri="{FF2B5EF4-FFF2-40B4-BE49-F238E27FC236}">
                <a16:creationId xmlns:a16="http://schemas.microsoft.com/office/drawing/2014/main" id="{E6B141DB-BB5A-9CCF-6E8E-737B235FA2D7}"/>
              </a:ext>
            </a:extLst>
          </p:cNvPr>
          <p:cNvSpPr>
            <a:spLocks noGrp="1"/>
          </p:cNvSpPr>
          <p:nvPr>
            <p:ph type="body" sz="quarter" idx="36" hasCustomPrompt="1"/>
          </p:nvPr>
        </p:nvSpPr>
        <p:spPr>
          <a:xfrm>
            <a:off x="6272784" y="2456891"/>
            <a:ext cx="2400300" cy="2291268"/>
          </a:xfrm>
          <a:prstGeom prst="rect">
            <a:avLst/>
          </a:prstGeom>
        </p:spPr>
        <p:txBody>
          <a:bodyPr wrap="square" anchor="t" anchorCtr="0">
            <a:spAutoFit/>
          </a:bodyPr>
          <a:lstStyle>
            <a:lvl1pPr marL="0" marR="0" indent="0" algn="l" defTabSz="914400" rtl="0" eaLnBrk="1" fontAlgn="auto" latinLnBrk="0" hangingPunct="1">
              <a:lnSpc>
                <a:spcPts val="1800"/>
              </a:lnSpc>
              <a:spcBef>
                <a:spcPts val="600"/>
              </a:spcBef>
              <a:spcAft>
                <a:spcPts val="0"/>
              </a:spcAft>
              <a:buClrTx/>
              <a:buSzTx/>
              <a:buFont typeface="Arial" panose="020B0604020202020204" pitchFamily="34" charset="0"/>
              <a:buNone/>
              <a:tabLst/>
              <a:defRPr sz="1200" b="0" i="0">
                <a:solidFill>
                  <a:schemeClr val="tx1"/>
                </a:solidFill>
                <a:latin typeface="Calibri Light" panose="020F0302020204030204" pitchFamily="34" charset="0"/>
                <a:cs typeface="Calibri Light" panose="020F0302020204030204" pitchFamily="34" charset="0"/>
              </a:defRPr>
            </a:lvl1pPr>
          </a:lstStyle>
          <a:p>
            <a:r>
              <a:rPr lang="en-US"/>
              <a:t>Lorem ipsum </a:t>
            </a:r>
            <a:r>
              <a:rPr lang="en-US" err="1"/>
              <a:t>nulla</a:t>
            </a:r>
            <a:r>
              <a:rPr lang="en-US"/>
              <a:t> </a:t>
            </a:r>
            <a:r>
              <a:rPr lang="en-US" err="1"/>
              <a:t>primis</a:t>
            </a:r>
            <a:r>
              <a:rPr lang="en-US"/>
              <a:t> eros mi </a:t>
            </a:r>
            <a:r>
              <a:rPr lang="en-US" err="1"/>
              <a:t>maecenas</a:t>
            </a:r>
            <a:r>
              <a:rPr lang="en-US"/>
              <a:t> ligula magna, </a:t>
            </a:r>
            <a:r>
              <a:rPr lang="en-US" err="1"/>
              <a:t>nibh</a:t>
            </a:r>
            <a:r>
              <a:rPr lang="en-US"/>
              <a:t> </a:t>
            </a:r>
            <a:r>
              <a:rPr lang="en-US" err="1"/>
              <a:t>commodo</a:t>
            </a:r>
            <a:r>
              <a:rPr lang="en-US"/>
              <a:t> </a:t>
            </a:r>
            <a:r>
              <a:rPr lang="en-US" err="1"/>
              <a:t>aenean</a:t>
            </a:r>
            <a:r>
              <a:rPr lang="en-US"/>
              <a:t> </a:t>
            </a:r>
            <a:r>
              <a:rPr lang="en-US" err="1"/>
              <a:t>leo</a:t>
            </a:r>
            <a:r>
              <a:rPr lang="en-US"/>
              <a:t> porta </a:t>
            </a:r>
            <a:r>
              <a:rPr lang="en-US" err="1"/>
              <a:t>duis</a:t>
            </a:r>
            <a:r>
              <a:rPr lang="en-US"/>
              <a:t> magna </a:t>
            </a:r>
            <a:r>
              <a:rPr lang="en-US" err="1"/>
              <a:t>felis</a:t>
            </a:r>
            <a:r>
              <a:rPr lang="en-US"/>
              <a:t> </a:t>
            </a:r>
            <a:r>
              <a:rPr lang="en-US" err="1"/>
              <a:t>bibendum</a:t>
            </a:r>
            <a:r>
              <a:rPr lang="en-US"/>
              <a:t> </a:t>
            </a:r>
            <a:r>
              <a:rPr lang="en-US" err="1"/>
              <a:t>tempor</a:t>
            </a:r>
            <a:r>
              <a:rPr lang="en-US"/>
              <a:t> </a:t>
            </a:r>
            <a:r>
              <a:rPr lang="en-US" err="1"/>
              <a:t>cubilia</a:t>
            </a:r>
            <a:r>
              <a:rPr lang="en-US"/>
              <a:t> gravida </a:t>
            </a:r>
            <a:r>
              <a:rPr lang="en-US" err="1"/>
              <a:t>molestie</a:t>
            </a:r>
            <a:r>
              <a:rPr lang="en-US"/>
              <a:t> a </a:t>
            </a:r>
            <a:r>
              <a:rPr lang="en-US" err="1"/>
              <a:t>pretium</a:t>
            </a:r>
            <a:r>
              <a:rPr lang="en-US"/>
              <a:t> </a:t>
            </a:r>
            <a:r>
              <a:rPr lang="en-US" err="1"/>
              <a:t>egestas</a:t>
            </a:r>
            <a:r>
              <a:rPr lang="en-US"/>
              <a:t> </a:t>
            </a:r>
            <a:r>
              <a:rPr lang="en-US" err="1"/>
              <a:t>iaculis</a:t>
            </a:r>
            <a:r>
              <a:rPr lang="en-US"/>
              <a:t> per, eros sit </a:t>
            </a:r>
            <a:r>
              <a:rPr lang="en-US" err="1"/>
              <a:t>leo</a:t>
            </a:r>
            <a:r>
              <a:rPr lang="en-US"/>
              <a:t> </a:t>
            </a:r>
            <a:r>
              <a:rPr lang="en-US" err="1"/>
              <a:t>augue</a:t>
            </a:r>
            <a:r>
              <a:rPr lang="en-US"/>
              <a:t> tempus </a:t>
            </a:r>
            <a:r>
              <a:rPr lang="en-US" err="1"/>
              <a:t>consectetur</a:t>
            </a:r>
            <a:r>
              <a:rPr lang="en-US"/>
              <a:t> </a:t>
            </a:r>
            <a:r>
              <a:rPr lang="en-US" err="1"/>
              <a:t>primis</a:t>
            </a:r>
            <a:r>
              <a:rPr lang="en-US"/>
              <a:t> dolor ac </a:t>
            </a:r>
            <a:r>
              <a:rPr lang="en-US" err="1"/>
              <a:t>euismod</a:t>
            </a:r>
            <a:r>
              <a:rPr lang="en-US"/>
              <a:t> </a:t>
            </a:r>
            <a:r>
              <a:rPr lang="en-US" err="1"/>
              <a:t>accumsan</a:t>
            </a:r>
            <a:r>
              <a:rPr lang="en-US"/>
              <a:t>, </a:t>
            </a:r>
            <a:r>
              <a:rPr lang="en-US" err="1"/>
              <a:t>vivamus</a:t>
            </a:r>
            <a:r>
              <a:rPr lang="en-US"/>
              <a:t> </a:t>
            </a:r>
            <a:r>
              <a:rPr lang="en-US" err="1"/>
              <a:t>feugiat</a:t>
            </a:r>
            <a:r>
              <a:rPr lang="en-US"/>
              <a:t> </a:t>
            </a:r>
            <a:r>
              <a:rPr lang="en-US" err="1"/>
              <a:t>elit</a:t>
            </a:r>
            <a:r>
              <a:rPr lang="en-US"/>
              <a:t> </a:t>
            </a:r>
            <a:r>
              <a:rPr lang="en-US" err="1"/>
              <a:t>luctus</a:t>
            </a:r>
            <a:r>
              <a:rPr lang="en-US"/>
              <a:t> libero </a:t>
            </a:r>
            <a:r>
              <a:rPr lang="en-US" err="1"/>
              <a:t>duis</a:t>
            </a:r>
            <a:r>
              <a:rPr lang="en-US"/>
              <a:t> </a:t>
            </a:r>
            <a:r>
              <a:rPr lang="en-US" err="1"/>
              <a:t>elementum</a:t>
            </a:r>
            <a:r>
              <a:rPr lang="en-US"/>
              <a:t> </a:t>
            </a:r>
            <a:r>
              <a:rPr lang="en-US" err="1"/>
              <a:t>etiam</a:t>
            </a:r>
            <a:r>
              <a:rPr lang="en-US"/>
              <a:t> lorem cursus </a:t>
            </a:r>
            <a:r>
              <a:rPr lang="en-US" err="1"/>
              <a:t>hendrerit</a:t>
            </a:r>
            <a:r>
              <a:rPr lang="en-US"/>
              <a:t> </a:t>
            </a:r>
            <a:r>
              <a:rPr lang="en-US" err="1"/>
              <a:t>curae</a:t>
            </a:r>
            <a:r>
              <a:rPr lang="en-US"/>
              <a:t> </a:t>
            </a:r>
            <a:r>
              <a:rPr lang="en-US" err="1"/>
              <a:t>primis</a:t>
            </a:r>
            <a:r>
              <a:rPr lang="en-US"/>
              <a:t> </a:t>
            </a:r>
            <a:r>
              <a:rPr lang="en-US" err="1"/>
              <a:t>cubilia</a:t>
            </a:r>
            <a:r>
              <a:rPr lang="en-US"/>
              <a:t>.</a:t>
            </a:r>
          </a:p>
        </p:txBody>
      </p:sp>
      <p:sp>
        <p:nvSpPr>
          <p:cNvPr id="16" name="Text Placeholder 4">
            <a:extLst>
              <a:ext uri="{FF2B5EF4-FFF2-40B4-BE49-F238E27FC236}">
                <a16:creationId xmlns:a16="http://schemas.microsoft.com/office/drawing/2014/main" id="{5A66D88E-80F4-1365-4E17-69F78707BE47}"/>
              </a:ext>
            </a:extLst>
          </p:cNvPr>
          <p:cNvSpPr>
            <a:spLocks noGrp="1"/>
          </p:cNvSpPr>
          <p:nvPr>
            <p:ph type="body" sz="quarter" idx="38" hasCustomPrompt="1"/>
          </p:nvPr>
        </p:nvSpPr>
        <p:spPr>
          <a:xfrm>
            <a:off x="9055608" y="1726692"/>
            <a:ext cx="2436876" cy="430887"/>
          </a:xfrm>
          <a:prstGeom prst="rect">
            <a:avLst/>
          </a:prstGeom>
        </p:spPr>
        <p:txBody>
          <a:bodyPr wrap="square" anchor="t" anchorCtr="0">
            <a:spAutoFit/>
          </a:bodyPr>
          <a:lstStyle>
            <a:lvl1pPr marL="0" marR="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sz="1400" b="1" i="0">
                <a:solidFill>
                  <a:schemeClr val="tx1"/>
                </a:solidFill>
                <a:latin typeface="Calibri" panose="020F0502020204030204" pitchFamily="34" charset="0"/>
                <a:cs typeface="Calibri" panose="020F0502020204030204" pitchFamily="34" charset="0"/>
              </a:defRPr>
            </a:lvl1pPr>
          </a:lstStyle>
          <a:p>
            <a:r>
              <a:rPr lang="en-US"/>
              <a:t>Lorem ipsum </a:t>
            </a:r>
            <a:r>
              <a:rPr lang="en-US" err="1"/>
              <a:t>nulla</a:t>
            </a:r>
            <a:r>
              <a:rPr lang="en-US"/>
              <a:t> </a:t>
            </a:r>
            <a:r>
              <a:rPr lang="en-US" err="1"/>
              <a:t>primis</a:t>
            </a:r>
            <a:r>
              <a:rPr lang="en-US"/>
              <a:t> eros mi </a:t>
            </a:r>
            <a:r>
              <a:rPr lang="en-US" err="1"/>
              <a:t>maecenas</a:t>
            </a:r>
            <a:r>
              <a:rPr lang="en-US"/>
              <a:t> ligula magna.</a:t>
            </a:r>
          </a:p>
        </p:txBody>
      </p:sp>
      <p:sp>
        <p:nvSpPr>
          <p:cNvPr id="17" name="Text Placeholder 4">
            <a:extLst>
              <a:ext uri="{FF2B5EF4-FFF2-40B4-BE49-F238E27FC236}">
                <a16:creationId xmlns:a16="http://schemas.microsoft.com/office/drawing/2014/main" id="{6DAFD4C9-E6EA-68B1-AE47-8BEF8A00F2D7}"/>
              </a:ext>
            </a:extLst>
          </p:cNvPr>
          <p:cNvSpPr>
            <a:spLocks noGrp="1"/>
          </p:cNvSpPr>
          <p:nvPr>
            <p:ph type="body" sz="quarter" idx="39" hasCustomPrompt="1"/>
          </p:nvPr>
        </p:nvSpPr>
        <p:spPr>
          <a:xfrm>
            <a:off x="9055608" y="2456891"/>
            <a:ext cx="2400300" cy="2291268"/>
          </a:xfrm>
          <a:prstGeom prst="rect">
            <a:avLst/>
          </a:prstGeom>
        </p:spPr>
        <p:txBody>
          <a:bodyPr wrap="square" anchor="t" anchorCtr="0">
            <a:spAutoFit/>
          </a:bodyPr>
          <a:lstStyle>
            <a:lvl1pPr marL="0" marR="0" indent="0" algn="l" defTabSz="914400" rtl="0" eaLnBrk="1" fontAlgn="auto" latinLnBrk="0" hangingPunct="1">
              <a:lnSpc>
                <a:spcPts val="1800"/>
              </a:lnSpc>
              <a:spcBef>
                <a:spcPts val="600"/>
              </a:spcBef>
              <a:spcAft>
                <a:spcPts val="0"/>
              </a:spcAft>
              <a:buClrTx/>
              <a:buSzTx/>
              <a:buFont typeface="Arial" panose="020B0604020202020204" pitchFamily="34" charset="0"/>
              <a:buNone/>
              <a:tabLst/>
              <a:defRPr sz="1200" b="0" i="0">
                <a:solidFill>
                  <a:schemeClr val="tx1"/>
                </a:solidFill>
                <a:latin typeface="Calibri Light" panose="020F0302020204030204" pitchFamily="34" charset="0"/>
                <a:cs typeface="Calibri Light" panose="020F0302020204030204" pitchFamily="34" charset="0"/>
              </a:defRPr>
            </a:lvl1pPr>
          </a:lstStyle>
          <a:p>
            <a:r>
              <a:rPr lang="en-US"/>
              <a:t>Lorem ipsum </a:t>
            </a:r>
            <a:r>
              <a:rPr lang="en-US" err="1"/>
              <a:t>nulla</a:t>
            </a:r>
            <a:r>
              <a:rPr lang="en-US"/>
              <a:t> </a:t>
            </a:r>
            <a:r>
              <a:rPr lang="en-US" err="1"/>
              <a:t>primis</a:t>
            </a:r>
            <a:r>
              <a:rPr lang="en-US"/>
              <a:t> eros mi </a:t>
            </a:r>
            <a:r>
              <a:rPr lang="en-US" err="1"/>
              <a:t>maecenas</a:t>
            </a:r>
            <a:r>
              <a:rPr lang="en-US"/>
              <a:t> ligula magna, </a:t>
            </a:r>
            <a:r>
              <a:rPr lang="en-US" err="1"/>
              <a:t>nibh</a:t>
            </a:r>
            <a:r>
              <a:rPr lang="en-US"/>
              <a:t> </a:t>
            </a:r>
            <a:r>
              <a:rPr lang="en-US" err="1"/>
              <a:t>commodo</a:t>
            </a:r>
            <a:r>
              <a:rPr lang="en-US"/>
              <a:t> </a:t>
            </a:r>
            <a:r>
              <a:rPr lang="en-US" err="1"/>
              <a:t>aenean</a:t>
            </a:r>
            <a:r>
              <a:rPr lang="en-US"/>
              <a:t> </a:t>
            </a:r>
            <a:r>
              <a:rPr lang="en-US" err="1"/>
              <a:t>leo</a:t>
            </a:r>
            <a:r>
              <a:rPr lang="en-US"/>
              <a:t> porta </a:t>
            </a:r>
            <a:r>
              <a:rPr lang="en-US" err="1"/>
              <a:t>duis</a:t>
            </a:r>
            <a:r>
              <a:rPr lang="en-US"/>
              <a:t> magna </a:t>
            </a:r>
            <a:r>
              <a:rPr lang="en-US" err="1"/>
              <a:t>felis</a:t>
            </a:r>
            <a:r>
              <a:rPr lang="en-US"/>
              <a:t> </a:t>
            </a:r>
            <a:r>
              <a:rPr lang="en-US" err="1"/>
              <a:t>bibendum</a:t>
            </a:r>
            <a:r>
              <a:rPr lang="en-US"/>
              <a:t> </a:t>
            </a:r>
            <a:r>
              <a:rPr lang="en-US" err="1"/>
              <a:t>tempor</a:t>
            </a:r>
            <a:r>
              <a:rPr lang="en-US"/>
              <a:t> </a:t>
            </a:r>
            <a:r>
              <a:rPr lang="en-US" err="1"/>
              <a:t>cubilia</a:t>
            </a:r>
            <a:r>
              <a:rPr lang="en-US"/>
              <a:t> gravida </a:t>
            </a:r>
            <a:r>
              <a:rPr lang="en-US" err="1"/>
              <a:t>molestie</a:t>
            </a:r>
            <a:r>
              <a:rPr lang="en-US"/>
              <a:t> a </a:t>
            </a:r>
            <a:r>
              <a:rPr lang="en-US" err="1"/>
              <a:t>pretium</a:t>
            </a:r>
            <a:r>
              <a:rPr lang="en-US"/>
              <a:t> </a:t>
            </a:r>
            <a:r>
              <a:rPr lang="en-US" err="1"/>
              <a:t>egestas</a:t>
            </a:r>
            <a:r>
              <a:rPr lang="en-US"/>
              <a:t> </a:t>
            </a:r>
            <a:r>
              <a:rPr lang="en-US" err="1"/>
              <a:t>iaculis</a:t>
            </a:r>
            <a:r>
              <a:rPr lang="en-US"/>
              <a:t> per, eros sit </a:t>
            </a:r>
            <a:r>
              <a:rPr lang="en-US" err="1"/>
              <a:t>leo</a:t>
            </a:r>
            <a:r>
              <a:rPr lang="en-US"/>
              <a:t> </a:t>
            </a:r>
            <a:r>
              <a:rPr lang="en-US" err="1"/>
              <a:t>augue</a:t>
            </a:r>
            <a:r>
              <a:rPr lang="en-US"/>
              <a:t> tempus </a:t>
            </a:r>
            <a:r>
              <a:rPr lang="en-US" err="1"/>
              <a:t>consectetur</a:t>
            </a:r>
            <a:r>
              <a:rPr lang="en-US"/>
              <a:t> </a:t>
            </a:r>
            <a:r>
              <a:rPr lang="en-US" err="1"/>
              <a:t>primis</a:t>
            </a:r>
            <a:r>
              <a:rPr lang="en-US"/>
              <a:t> dolor ac </a:t>
            </a:r>
            <a:r>
              <a:rPr lang="en-US" err="1"/>
              <a:t>euismod</a:t>
            </a:r>
            <a:r>
              <a:rPr lang="en-US"/>
              <a:t> </a:t>
            </a:r>
            <a:r>
              <a:rPr lang="en-US" err="1"/>
              <a:t>accumsan</a:t>
            </a:r>
            <a:r>
              <a:rPr lang="en-US"/>
              <a:t>, </a:t>
            </a:r>
            <a:r>
              <a:rPr lang="en-US" err="1"/>
              <a:t>vivamus</a:t>
            </a:r>
            <a:r>
              <a:rPr lang="en-US"/>
              <a:t> </a:t>
            </a:r>
            <a:r>
              <a:rPr lang="en-US" err="1"/>
              <a:t>feugiat</a:t>
            </a:r>
            <a:r>
              <a:rPr lang="en-US"/>
              <a:t> </a:t>
            </a:r>
            <a:r>
              <a:rPr lang="en-US" err="1"/>
              <a:t>elit</a:t>
            </a:r>
            <a:r>
              <a:rPr lang="en-US"/>
              <a:t> </a:t>
            </a:r>
            <a:r>
              <a:rPr lang="en-US" err="1"/>
              <a:t>luctus</a:t>
            </a:r>
            <a:r>
              <a:rPr lang="en-US"/>
              <a:t> libero </a:t>
            </a:r>
            <a:r>
              <a:rPr lang="en-US" err="1"/>
              <a:t>duis</a:t>
            </a:r>
            <a:r>
              <a:rPr lang="en-US"/>
              <a:t> </a:t>
            </a:r>
            <a:r>
              <a:rPr lang="en-US" err="1"/>
              <a:t>elementum</a:t>
            </a:r>
            <a:r>
              <a:rPr lang="en-US"/>
              <a:t> </a:t>
            </a:r>
            <a:r>
              <a:rPr lang="en-US" err="1"/>
              <a:t>etiam</a:t>
            </a:r>
            <a:r>
              <a:rPr lang="en-US"/>
              <a:t> lorem cursus </a:t>
            </a:r>
            <a:r>
              <a:rPr lang="en-US" err="1"/>
              <a:t>hendrerit</a:t>
            </a:r>
            <a:r>
              <a:rPr lang="en-US"/>
              <a:t> </a:t>
            </a:r>
            <a:r>
              <a:rPr lang="en-US" err="1"/>
              <a:t>curae</a:t>
            </a:r>
            <a:r>
              <a:rPr lang="en-US"/>
              <a:t> </a:t>
            </a:r>
            <a:r>
              <a:rPr lang="en-US" err="1"/>
              <a:t>primis</a:t>
            </a:r>
            <a:r>
              <a:rPr lang="en-US"/>
              <a:t> </a:t>
            </a:r>
            <a:r>
              <a:rPr lang="en-US" err="1"/>
              <a:t>cubilia</a:t>
            </a:r>
            <a:r>
              <a:rPr lang="en-US"/>
              <a:t>.</a:t>
            </a:r>
          </a:p>
        </p:txBody>
      </p:sp>
      <p:sp>
        <p:nvSpPr>
          <p:cNvPr id="12" name="Title 1">
            <a:extLst>
              <a:ext uri="{FF2B5EF4-FFF2-40B4-BE49-F238E27FC236}">
                <a16:creationId xmlns:a16="http://schemas.microsoft.com/office/drawing/2014/main" id="{31F95F3A-7B10-D333-C597-76CA219379DE}"/>
              </a:ext>
            </a:extLst>
          </p:cNvPr>
          <p:cNvSpPr>
            <a:spLocks noGrp="1"/>
          </p:cNvSpPr>
          <p:nvPr>
            <p:ph type="title" hasCustomPrompt="1"/>
          </p:nvPr>
        </p:nvSpPr>
        <p:spPr>
          <a:xfrm>
            <a:off x="633632" y="722843"/>
            <a:ext cx="10963056" cy="338554"/>
          </a:xfrm>
          <a:prstGeom prst="rect">
            <a:avLst/>
          </a:prstGeom>
        </p:spPr>
        <p:txBody>
          <a:bodyPr/>
          <a:lstStyle>
            <a:lvl1pPr>
              <a:defRPr lang="en-US" sz="2200" b="1" i="0" kern="1200" spc="0" dirty="0">
                <a:solidFill>
                  <a:schemeClr val="tx1"/>
                </a:solidFill>
                <a:effectLst/>
                <a:latin typeface="+mj-lt"/>
                <a:ea typeface="Calibri" panose="020F0502020204030204" pitchFamily="34" charset="0"/>
                <a:cs typeface="Calibri" panose="020F0502020204030204" pitchFamily="34" charset="0"/>
              </a:defRPr>
            </a:lvl1pPr>
          </a:lstStyle>
          <a:p>
            <a:pPr marL="0" lvl="0" indent="0" algn="l" defTabSz="914400" rtl="0" eaLnBrk="1" latinLnBrk="0" hangingPunct="1">
              <a:lnSpc>
                <a:spcPct val="100000"/>
              </a:lnSpc>
              <a:spcBef>
                <a:spcPts val="0"/>
              </a:spcBef>
              <a:spcAft>
                <a:spcPts val="0"/>
              </a:spcAft>
              <a:buFont typeface="Arial" panose="020B0604020202020204" pitchFamily="34" charset="0"/>
              <a:buNone/>
            </a:pPr>
            <a:r>
              <a:rPr lang="en-US">
                <a:effectLst/>
              </a:rPr>
              <a:t>Title Goes Here</a:t>
            </a:r>
            <a:endParaRPr lang="en-US"/>
          </a:p>
        </p:txBody>
      </p:sp>
      <p:sp>
        <p:nvSpPr>
          <p:cNvPr id="13" name="Text Placeholder 10">
            <a:extLst>
              <a:ext uri="{FF2B5EF4-FFF2-40B4-BE49-F238E27FC236}">
                <a16:creationId xmlns:a16="http://schemas.microsoft.com/office/drawing/2014/main" id="{8B3584CA-4A15-8168-99B7-4B007706728F}"/>
              </a:ext>
            </a:extLst>
          </p:cNvPr>
          <p:cNvSpPr>
            <a:spLocks noGrp="1"/>
          </p:cNvSpPr>
          <p:nvPr>
            <p:ph type="body" sz="quarter" idx="28" hasCustomPrompt="1"/>
          </p:nvPr>
        </p:nvSpPr>
        <p:spPr>
          <a:xfrm>
            <a:off x="633632" y="419100"/>
            <a:ext cx="3611880" cy="225706"/>
          </a:xfrm>
          <a:prstGeom prst="rect">
            <a:avLst/>
          </a:prstGeom>
        </p:spPr>
        <p:txBody>
          <a:bodyPr/>
          <a:lstStyle>
            <a:lvl1pPr>
              <a:spcBef>
                <a:spcPts val="0"/>
              </a:spcBef>
              <a:defRPr lang="en-US" sz="1000" b="0" i="0" kern="1200" cap="all" spc="300" baseline="0" dirty="0">
                <a:solidFill>
                  <a:schemeClr val="tx1"/>
                </a:solidFill>
                <a:latin typeface="Calibri" panose="020F0502020204030204" pitchFamily="34" charset="0"/>
                <a:ea typeface="Calibri" panose="020F0502020204030204" pitchFamily="34" charset="0"/>
                <a:cs typeface="Calibri" panose="020F0502020204030204" pitchFamily="34" charset="0"/>
              </a:defRPr>
            </a:lvl1pPr>
          </a:lstStyle>
          <a:p>
            <a:pPr marL="0" lvl="0" indent="0" algn="l" defTabSz="914400" rtl="0" eaLnBrk="1" latinLnBrk="0" hangingPunct="1">
              <a:lnSpc>
                <a:spcPct val="100000"/>
              </a:lnSpc>
              <a:spcBef>
                <a:spcPts val="600"/>
              </a:spcBef>
              <a:spcAft>
                <a:spcPts val="0"/>
              </a:spcAft>
              <a:buFont typeface="Arial" panose="020B0604020202020204" pitchFamily="34" charset="0"/>
              <a:buNone/>
            </a:pPr>
            <a:r>
              <a:rPr lang="en-US"/>
              <a:t>Click to add section title</a:t>
            </a:r>
          </a:p>
        </p:txBody>
      </p:sp>
    </p:spTree>
    <p:extLst>
      <p:ext uri="{BB962C8B-B14F-4D97-AF65-F5344CB8AC3E}">
        <p14:creationId xmlns:p14="http://schemas.microsoft.com/office/powerpoint/2010/main" val="74654190"/>
      </p:ext>
    </p:extLst>
  </p:cSld>
  <p:clrMapOvr>
    <a:masterClrMapping/>
  </p:clrMapOvr>
  <p:extLst>
    <p:ext uri="{DCECCB84-F9BA-43D5-87BE-67443E8EF086}">
      <p15:sldGuideLst xmlns:p15="http://schemas.microsoft.com/office/powerpoint/2012/main"/>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4_column_text">
    <p:bg>
      <p:bgPr>
        <a:solidFill>
          <a:schemeClr val="tx1"/>
        </a:solidFill>
        <a:effectLst/>
      </p:bgPr>
    </p:bg>
    <p:spTree>
      <p:nvGrpSpPr>
        <p:cNvPr id="1" name=""/>
        <p:cNvGrpSpPr/>
        <p:nvPr/>
      </p:nvGrpSpPr>
      <p:grpSpPr>
        <a:xfrm>
          <a:off x="0" y="0"/>
          <a:ext cx="0" cy="0"/>
          <a:chOff x="0" y="0"/>
          <a:chExt cx="0" cy="0"/>
        </a:xfrm>
      </p:grpSpPr>
      <p:sp>
        <p:nvSpPr>
          <p:cNvPr id="9" name="Text Placeholder 4">
            <a:extLst>
              <a:ext uri="{FF2B5EF4-FFF2-40B4-BE49-F238E27FC236}">
                <a16:creationId xmlns:a16="http://schemas.microsoft.com/office/drawing/2014/main" id="{DBBECED4-4691-EAD7-0FFE-7393254BBDC9}"/>
              </a:ext>
            </a:extLst>
          </p:cNvPr>
          <p:cNvSpPr>
            <a:spLocks noGrp="1"/>
          </p:cNvSpPr>
          <p:nvPr>
            <p:ph type="body" sz="quarter" idx="26" hasCustomPrompt="1"/>
          </p:nvPr>
        </p:nvSpPr>
        <p:spPr>
          <a:xfrm>
            <a:off x="647700" y="1726692"/>
            <a:ext cx="2436876" cy="430887"/>
          </a:xfrm>
          <a:prstGeom prst="rect">
            <a:avLst/>
          </a:prstGeom>
        </p:spPr>
        <p:txBody>
          <a:bodyPr wrap="square" anchor="t" anchorCtr="0">
            <a:spAutoFit/>
          </a:bodyPr>
          <a:lstStyle>
            <a:lvl1pPr marL="0" marR="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sz="1400" b="1" i="0">
                <a:solidFill>
                  <a:schemeClr val="bg1"/>
                </a:solidFill>
                <a:latin typeface="Calibri" panose="020F0502020204030204" pitchFamily="34" charset="0"/>
                <a:cs typeface="Calibri" panose="020F0502020204030204" pitchFamily="34" charset="0"/>
              </a:defRPr>
            </a:lvl1pPr>
          </a:lstStyle>
          <a:p>
            <a:r>
              <a:rPr lang="en-US"/>
              <a:t>Lorem ipsum </a:t>
            </a:r>
            <a:r>
              <a:rPr lang="en-US" err="1"/>
              <a:t>nulla</a:t>
            </a:r>
            <a:r>
              <a:rPr lang="en-US"/>
              <a:t> </a:t>
            </a:r>
            <a:r>
              <a:rPr lang="en-US" err="1"/>
              <a:t>primis</a:t>
            </a:r>
            <a:r>
              <a:rPr lang="en-US"/>
              <a:t> eros mi </a:t>
            </a:r>
            <a:r>
              <a:rPr lang="en-US" err="1"/>
              <a:t>maecenas</a:t>
            </a:r>
            <a:r>
              <a:rPr lang="en-US"/>
              <a:t> ligula magna.</a:t>
            </a:r>
          </a:p>
        </p:txBody>
      </p:sp>
      <p:sp>
        <p:nvSpPr>
          <p:cNvPr id="10" name="Text Placeholder 4">
            <a:extLst>
              <a:ext uri="{FF2B5EF4-FFF2-40B4-BE49-F238E27FC236}">
                <a16:creationId xmlns:a16="http://schemas.microsoft.com/office/drawing/2014/main" id="{31E7CDA2-C04C-57C2-B779-676BA576EFB7}"/>
              </a:ext>
            </a:extLst>
          </p:cNvPr>
          <p:cNvSpPr>
            <a:spLocks noGrp="1"/>
          </p:cNvSpPr>
          <p:nvPr>
            <p:ph type="body" sz="quarter" idx="27" hasCustomPrompt="1"/>
          </p:nvPr>
        </p:nvSpPr>
        <p:spPr>
          <a:xfrm>
            <a:off x="647700" y="2456891"/>
            <a:ext cx="2400300" cy="2291268"/>
          </a:xfrm>
          <a:prstGeom prst="rect">
            <a:avLst/>
          </a:prstGeom>
        </p:spPr>
        <p:txBody>
          <a:bodyPr wrap="square" anchor="t" anchorCtr="0">
            <a:spAutoFit/>
          </a:bodyPr>
          <a:lstStyle>
            <a:lvl1pPr marL="0" marR="0" indent="0" algn="l" defTabSz="914400" rtl="0" eaLnBrk="1" fontAlgn="auto" latinLnBrk="0" hangingPunct="1">
              <a:lnSpc>
                <a:spcPts val="1800"/>
              </a:lnSpc>
              <a:spcBef>
                <a:spcPts val="600"/>
              </a:spcBef>
              <a:spcAft>
                <a:spcPts val="0"/>
              </a:spcAft>
              <a:buClrTx/>
              <a:buSzTx/>
              <a:buFont typeface="Arial" panose="020B0604020202020204" pitchFamily="34" charset="0"/>
              <a:buNone/>
              <a:tabLst/>
              <a:defRPr sz="1200" b="0" i="0">
                <a:solidFill>
                  <a:schemeClr val="bg1"/>
                </a:solidFill>
                <a:latin typeface="Calibri Light" panose="020F0302020204030204" pitchFamily="34" charset="0"/>
                <a:cs typeface="Calibri Light" panose="020F0302020204030204" pitchFamily="34" charset="0"/>
              </a:defRPr>
            </a:lvl1pPr>
          </a:lstStyle>
          <a:p>
            <a:r>
              <a:rPr lang="en-US"/>
              <a:t>Lorem ipsum </a:t>
            </a:r>
            <a:r>
              <a:rPr lang="en-US" err="1"/>
              <a:t>nulla</a:t>
            </a:r>
            <a:r>
              <a:rPr lang="en-US"/>
              <a:t> </a:t>
            </a:r>
            <a:r>
              <a:rPr lang="en-US" err="1"/>
              <a:t>primis</a:t>
            </a:r>
            <a:r>
              <a:rPr lang="en-US"/>
              <a:t> eros mi </a:t>
            </a:r>
            <a:r>
              <a:rPr lang="en-US" err="1"/>
              <a:t>maecenas</a:t>
            </a:r>
            <a:r>
              <a:rPr lang="en-US"/>
              <a:t> ligula magna, </a:t>
            </a:r>
            <a:r>
              <a:rPr lang="en-US" err="1"/>
              <a:t>nibh</a:t>
            </a:r>
            <a:r>
              <a:rPr lang="en-US"/>
              <a:t> </a:t>
            </a:r>
            <a:r>
              <a:rPr lang="en-US" err="1"/>
              <a:t>commodo</a:t>
            </a:r>
            <a:r>
              <a:rPr lang="en-US"/>
              <a:t> </a:t>
            </a:r>
            <a:r>
              <a:rPr lang="en-US" err="1"/>
              <a:t>aenean</a:t>
            </a:r>
            <a:r>
              <a:rPr lang="en-US"/>
              <a:t> </a:t>
            </a:r>
            <a:r>
              <a:rPr lang="en-US" err="1"/>
              <a:t>leo</a:t>
            </a:r>
            <a:r>
              <a:rPr lang="en-US"/>
              <a:t> porta </a:t>
            </a:r>
            <a:r>
              <a:rPr lang="en-US" err="1"/>
              <a:t>duis</a:t>
            </a:r>
            <a:r>
              <a:rPr lang="en-US"/>
              <a:t> magna </a:t>
            </a:r>
            <a:r>
              <a:rPr lang="en-US" err="1"/>
              <a:t>felis</a:t>
            </a:r>
            <a:r>
              <a:rPr lang="en-US"/>
              <a:t> </a:t>
            </a:r>
            <a:r>
              <a:rPr lang="en-US" err="1"/>
              <a:t>bibendum</a:t>
            </a:r>
            <a:r>
              <a:rPr lang="en-US"/>
              <a:t> </a:t>
            </a:r>
            <a:r>
              <a:rPr lang="en-US" err="1"/>
              <a:t>tempor</a:t>
            </a:r>
            <a:r>
              <a:rPr lang="en-US"/>
              <a:t> </a:t>
            </a:r>
            <a:r>
              <a:rPr lang="en-US" err="1"/>
              <a:t>cubilia</a:t>
            </a:r>
            <a:r>
              <a:rPr lang="en-US"/>
              <a:t> gravida </a:t>
            </a:r>
            <a:r>
              <a:rPr lang="en-US" err="1"/>
              <a:t>molestie</a:t>
            </a:r>
            <a:r>
              <a:rPr lang="en-US"/>
              <a:t> a </a:t>
            </a:r>
            <a:r>
              <a:rPr lang="en-US" err="1"/>
              <a:t>pretium</a:t>
            </a:r>
            <a:r>
              <a:rPr lang="en-US"/>
              <a:t> </a:t>
            </a:r>
            <a:r>
              <a:rPr lang="en-US" err="1"/>
              <a:t>egestas</a:t>
            </a:r>
            <a:r>
              <a:rPr lang="en-US"/>
              <a:t> </a:t>
            </a:r>
            <a:r>
              <a:rPr lang="en-US" err="1"/>
              <a:t>iaculis</a:t>
            </a:r>
            <a:r>
              <a:rPr lang="en-US"/>
              <a:t> per, eros sit </a:t>
            </a:r>
            <a:r>
              <a:rPr lang="en-US" err="1"/>
              <a:t>leo</a:t>
            </a:r>
            <a:r>
              <a:rPr lang="en-US"/>
              <a:t> </a:t>
            </a:r>
            <a:r>
              <a:rPr lang="en-US" err="1"/>
              <a:t>augue</a:t>
            </a:r>
            <a:r>
              <a:rPr lang="en-US"/>
              <a:t> tempus </a:t>
            </a:r>
            <a:r>
              <a:rPr lang="en-US" err="1"/>
              <a:t>consectetur</a:t>
            </a:r>
            <a:r>
              <a:rPr lang="en-US"/>
              <a:t> </a:t>
            </a:r>
            <a:r>
              <a:rPr lang="en-US" err="1"/>
              <a:t>primis</a:t>
            </a:r>
            <a:r>
              <a:rPr lang="en-US"/>
              <a:t> dolor ac </a:t>
            </a:r>
            <a:r>
              <a:rPr lang="en-US" err="1"/>
              <a:t>euismod</a:t>
            </a:r>
            <a:r>
              <a:rPr lang="en-US"/>
              <a:t> </a:t>
            </a:r>
            <a:r>
              <a:rPr lang="en-US" err="1"/>
              <a:t>accumsan</a:t>
            </a:r>
            <a:r>
              <a:rPr lang="en-US"/>
              <a:t>, </a:t>
            </a:r>
            <a:r>
              <a:rPr lang="en-US" err="1"/>
              <a:t>vivamus</a:t>
            </a:r>
            <a:r>
              <a:rPr lang="en-US"/>
              <a:t> </a:t>
            </a:r>
            <a:r>
              <a:rPr lang="en-US" err="1"/>
              <a:t>feugiat</a:t>
            </a:r>
            <a:r>
              <a:rPr lang="en-US"/>
              <a:t> </a:t>
            </a:r>
            <a:r>
              <a:rPr lang="en-US" err="1"/>
              <a:t>elit</a:t>
            </a:r>
            <a:r>
              <a:rPr lang="en-US"/>
              <a:t> </a:t>
            </a:r>
            <a:r>
              <a:rPr lang="en-US" err="1"/>
              <a:t>luctus</a:t>
            </a:r>
            <a:r>
              <a:rPr lang="en-US"/>
              <a:t> libero </a:t>
            </a:r>
            <a:r>
              <a:rPr lang="en-US" err="1"/>
              <a:t>duis</a:t>
            </a:r>
            <a:r>
              <a:rPr lang="en-US"/>
              <a:t> </a:t>
            </a:r>
            <a:r>
              <a:rPr lang="en-US" err="1"/>
              <a:t>elementum</a:t>
            </a:r>
            <a:r>
              <a:rPr lang="en-US"/>
              <a:t> </a:t>
            </a:r>
            <a:r>
              <a:rPr lang="en-US" err="1"/>
              <a:t>etiam</a:t>
            </a:r>
            <a:r>
              <a:rPr lang="en-US"/>
              <a:t> lorem cursus </a:t>
            </a:r>
            <a:r>
              <a:rPr lang="en-US" err="1"/>
              <a:t>hendrerit</a:t>
            </a:r>
            <a:r>
              <a:rPr lang="en-US"/>
              <a:t> </a:t>
            </a:r>
            <a:r>
              <a:rPr lang="en-US" err="1"/>
              <a:t>curae</a:t>
            </a:r>
            <a:r>
              <a:rPr lang="en-US"/>
              <a:t> </a:t>
            </a:r>
            <a:r>
              <a:rPr lang="en-US" err="1"/>
              <a:t>primis</a:t>
            </a:r>
            <a:r>
              <a:rPr lang="en-US"/>
              <a:t> </a:t>
            </a:r>
            <a:r>
              <a:rPr lang="en-US" err="1"/>
              <a:t>cubilia</a:t>
            </a:r>
            <a:r>
              <a:rPr lang="en-US"/>
              <a:t>.</a:t>
            </a:r>
          </a:p>
        </p:txBody>
      </p:sp>
      <p:sp>
        <p:nvSpPr>
          <p:cNvPr id="2" name="Text Placeholder 4">
            <a:extLst>
              <a:ext uri="{FF2B5EF4-FFF2-40B4-BE49-F238E27FC236}">
                <a16:creationId xmlns:a16="http://schemas.microsoft.com/office/drawing/2014/main" id="{71E07365-191F-2AEF-D8B3-0E6070334B55}"/>
              </a:ext>
            </a:extLst>
          </p:cNvPr>
          <p:cNvSpPr>
            <a:spLocks noGrp="1"/>
          </p:cNvSpPr>
          <p:nvPr>
            <p:ph type="body" sz="quarter" idx="32" hasCustomPrompt="1"/>
          </p:nvPr>
        </p:nvSpPr>
        <p:spPr>
          <a:xfrm>
            <a:off x="3453384" y="1726692"/>
            <a:ext cx="2436876" cy="430887"/>
          </a:xfrm>
          <a:prstGeom prst="rect">
            <a:avLst/>
          </a:prstGeom>
        </p:spPr>
        <p:txBody>
          <a:bodyPr wrap="square" anchor="t" anchorCtr="0">
            <a:spAutoFit/>
          </a:bodyPr>
          <a:lstStyle>
            <a:lvl1pPr marL="0" marR="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sz="1400" b="1" i="0">
                <a:solidFill>
                  <a:schemeClr val="bg1"/>
                </a:solidFill>
                <a:latin typeface="Calibri" panose="020F0502020204030204" pitchFamily="34" charset="0"/>
                <a:cs typeface="Calibri" panose="020F0502020204030204" pitchFamily="34" charset="0"/>
              </a:defRPr>
            </a:lvl1pPr>
          </a:lstStyle>
          <a:p>
            <a:r>
              <a:rPr lang="en-US"/>
              <a:t>Lorem ipsum </a:t>
            </a:r>
            <a:r>
              <a:rPr lang="en-US" err="1"/>
              <a:t>nulla</a:t>
            </a:r>
            <a:r>
              <a:rPr lang="en-US"/>
              <a:t> </a:t>
            </a:r>
            <a:r>
              <a:rPr lang="en-US" err="1"/>
              <a:t>primis</a:t>
            </a:r>
            <a:r>
              <a:rPr lang="en-US"/>
              <a:t> eros mi </a:t>
            </a:r>
            <a:r>
              <a:rPr lang="en-US" err="1"/>
              <a:t>maecenas</a:t>
            </a:r>
            <a:r>
              <a:rPr lang="en-US"/>
              <a:t> ligula magna.</a:t>
            </a:r>
          </a:p>
        </p:txBody>
      </p:sp>
      <p:sp>
        <p:nvSpPr>
          <p:cNvPr id="5" name="Text Placeholder 4">
            <a:extLst>
              <a:ext uri="{FF2B5EF4-FFF2-40B4-BE49-F238E27FC236}">
                <a16:creationId xmlns:a16="http://schemas.microsoft.com/office/drawing/2014/main" id="{6D13B958-0014-5BD7-06FC-5AD3F2966879}"/>
              </a:ext>
            </a:extLst>
          </p:cNvPr>
          <p:cNvSpPr>
            <a:spLocks noGrp="1"/>
          </p:cNvSpPr>
          <p:nvPr>
            <p:ph type="body" sz="quarter" idx="33" hasCustomPrompt="1"/>
          </p:nvPr>
        </p:nvSpPr>
        <p:spPr>
          <a:xfrm>
            <a:off x="3453384" y="2456891"/>
            <a:ext cx="2400300" cy="2291268"/>
          </a:xfrm>
          <a:prstGeom prst="rect">
            <a:avLst/>
          </a:prstGeom>
        </p:spPr>
        <p:txBody>
          <a:bodyPr wrap="square" anchor="t" anchorCtr="0">
            <a:spAutoFit/>
          </a:bodyPr>
          <a:lstStyle>
            <a:lvl1pPr marL="0" marR="0" indent="0" algn="l" defTabSz="914400" rtl="0" eaLnBrk="1" fontAlgn="auto" latinLnBrk="0" hangingPunct="1">
              <a:lnSpc>
                <a:spcPts val="1800"/>
              </a:lnSpc>
              <a:spcBef>
                <a:spcPts val="600"/>
              </a:spcBef>
              <a:spcAft>
                <a:spcPts val="0"/>
              </a:spcAft>
              <a:buClrTx/>
              <a:buSzTx/>
              <a:buFont typeface="Arial" panose="020B0604020202020204" pitchFamily="34" charset="0"/>
              <a:buNone/>
              <a:tabLst/>
              <a:defRPr sz="1200" b="0" i="0">
                <a:solidFill>
                  <a:schemeClr val="bg1"/>
                </a:solidFill>
                <a:latin typeface="Calibri Light" panose="020F0302020204030204" pitchFamily="34" charset="0"/>
                <a:cs typeface="Calibri Light" panose="020F0302020204030204" pitchFamily="34" charset="0"/>
              </a:defRPr>
            </a:lvl1pPr>
          </a:lstStyle>
          <a:p>
            <a:r>
              <a:rPr lang="en-US"/>
              <a:t>Lorem ipsum </a:t>
            </a:r>
            <a:r>
              <a:rPr lang="en-US" err="1"/>
              <a:t>nulla</a:t>
            </a:r>
            <a:r>
              <a:rPr lang="en-US"/>
              <a:t> </a:t>
            </a:r>
            <a:r>
              <a:rPr lang="en-US" err="1"/>
              <a:t>primis</a:t>
            </a:r>
            <a:r>
              <a:rPr lang="en-US"/>
              <a:t> eros mi </a:t>
            </a:r>
            <a:r>
              <a:rPr lang="en-US" err="1"/>
              <a:t>maecenas</a:t>
            </a:r>
            <a:r>
              <a:rPr lang="en-US"/>
              <a:t> ligula magna, </a:t>
            </a:r>
            <a:r>
              <a:rPr lang="en-US" err="1"/>
              <a:t>nibh</a:t>
            </a:r>
            <a:r>
              <a:rPr lang="en-US"/>
              <a:t> </a:t>
            </a:r>
            <a:r>
              <a:rPr lang="en-US" err="1"/>
              <a:t>commodo</a:t>
            </a:r>
            <a:r>
              <a:rPr lang="en-US"/>
              <a:t> </a:t>
            </a:r>
            <a:r>
              <a:rPr lang="en-US" err="1"/>
              <a:t>aenean</a:t>
            </a:r>
            <a:r>
              <a:rPr lang="en-US"/>
              <a:t> </a:t>
            </a:r>
            <a:r>
              <a:rPr lang="en-US" err="1"/>
              <a:t>leo</a:t>
            </a:r>
            <a:r>
              <a:rPr lang="en-US"/>
              <a:t> porta </a:t>
            </a:r>
            <a:r>
              <a:rPr lang="en-US" err="1"/>
              <a:t>duis</a:t>
            </a:r>
            <a:r>
              <a:rPr lang="en-US"/>
              <a:t> magna </a:t>
            </a:r>
            <a:r>
              <a:rPr lang="en-US" err="1"/>
              <a:t>felis</a:t>
            </a:r>
            <a:r>
              <a:rPr lang="en-US"/>
              <a:t> </a:t>
            </a:r>
            <a:r>
              <a:rPr lang="en-US" err="1"/>
              <a:t>bibendum</a:t>
            </a:r>
            <a:r>
              <a:rPr lang="en-US"/>
              <a:t> </a:t>
            </a:r>
            <a:r>
              <a:rPr lang="en-US" err="1"/>
              <a:t>tempor</a:t>
            </a:r>
            <a:r>
              <a:rPr lang="en-US"/>
              <a:t> </a:t>
            </a:r>
            <a:r>
              <a:rPr lang="en-US" err="1"/>
              <a:t>cubilia</a:t>
            </a:r>
            <a:r>
              <a:rPr lang="en-US"/>
              <a:t> gravida </a:t>
            </a:r>
            <a:r>
              <a:rPr lang="en-US" err="1"/>
              <a:t>molestie</a:t>
            </a:r>
            <a:r>
              <a:rPr lang="en-US"/>
              <a:t> a </a:t>
            </a:r>
            <a:r>
              <a:rPr lang="en-US" err="1"/>
              <a:t>pretium</a:t>
            </a:r>
            <a:r>
              <a:rPr lang="en-US"/>
              <a:t> </a:t>
            </a:r>
            <a:r>
              <a:rPr lang="en-US" err="1"/>
              <a:t>egestas</a:t>
            </a:r>
            <a:r>
              <a:rPr lang="en-US"/>
              <a:t> </a:t>
            </a:r>
            <a:r>
              <a:rPr lang="en-US" err="1"/>
              <a:t>iaculis</a:t>
            </a:r>
            <a:r>
              <a:rPr lang="en-US"/>
              <a:t> per, eros sit </a:t>
            </a:r>
            <a:r>
              <a:rPr lang="en-US" err="1"/>
              <a:t>leo</a:t>
            </a:r>
            <a:r>
              <a:rPr lang="en-US"/>
              <a:t> </a:t>
            </a:r>
            <a:r>
              <a:rPr lang="en-US" err="1"/>
              <a:t>augue</a:t>
            </a:r>
            <a:r>
              <a:rPr lang="en-US"/>
              <a:t> tempus </a:t>
            </a:r>
            <a:r>
              <a:rPr lang="en-US" err="1"/>
              <a:t>consectetur</a:t>
            </a:r>
            <a:r>
              <a:rPr lang="en-US"/>
              <a:t> </a:t>
            </a:r>
            <a:r>
              <a:rPr lang="en-US" err="1"/>
              <a:t>primis</a:t>
            </a:r>
            <a:r>
              <a:rPr lang="en-US"/>
              <a:t> dolor ac </a:t>
            </a:r>
            <a:r>
              <a:rPr lang="en-US" err="1"/>
              <a:t>euismod</a:t>
            </a:r>
            <a:r>
              <a:rPr lang="en-US"/>
              <a:t> </a:t>
            </a:r>
            <a:r>
              <a:rPr lang="en-US" err="1"/>
              <a:t>accumsan</a:t>
            </a:r>
            <a:r>
              <a:rPr lang="en-US"/>
              <a:t>, </a:t>
            </a:r>
            <a:r>
              <a:rPr lang="en-US" err="1"/>
              <a:t>vivamus</a:t>
            </a:r>
            <a:r>
              <a:rPr lang="en-US"/>
              <a:t> </a:t>
            </a:r>
            <a:r>
              <a:rPr lang="en-US" err="1"/>
              <a:t>feugiat</a:t>
            </a:r>
            <a:r>
              <a:rPr lang="en-US"/>
              <a:t> </a:t>
            </a:r>
            <a:r>
              <a:rPr lang="en-US" err="1"/>
              <a:t>elit</a:t>
            </a:r>
            <a:r>
              <a:rPr lang="en-US"/>
              <a:t> </a:t>
            </a:r>
            <a:r>
              <a:rPr lang="en-US" err="1"/>
              <a:t>luctus</a:t>
            </a:r>
            <a:r>
              <a:rPr lang="en-US"/>
              <a:t> libero </a:t>
            </a:r>
            <a:r>
              <a:rPr lang="en-US" err="1"/>
              <a:t>duis</a:t>
            </a:r>
            <a:r>
              <a:rPr lang="en-US"/>
              <a:t> </a:t>
            </a:r>
            <a:r>
              <a:rPr lang="en-US" err="1"/>
              <a:t>elementum</a:t>
            </a:r>
            <a:r>
              <a:rPr lang="en-US"/>
              <a:t> </a:t>
            </a:r>
            <a:r>
              <a:rPr lang="en-US" err="1"/>
              <a:t>etiam</a:t>
            </a:r>
            <a:r>
              <a:rPr lang="en-US"/>
              <a:t> lorem cursus </a:t>
            </a:r>
            <a:r>
              <a:rPr lang="en-US" err="1"/>
              <a:t>hendrerit</a:t>
            </a:r>
            <a:r>
              <a:rPr lang="en-US"/>
              <a:t> </a:t>
            </a:r>
            <a:r>
              <a:rPr lang="en-US" err="1"/>
              <a:t>curae</a:t>
            </a:r>
            <a:r>
              <a:rPr lang="en-US"/>
              <a:t> </a:t>
            </a:r>
            <a:r>
              <a:rPr lang="en-US" err="1"/>
              <a:t>primis</a:t>
            </a:r>
            <a:r>
              <a:rPr lang="en-US"/>
              <a:t> </a:t>
            </a:r>
            <a:r>
              <a:rPr lang="en-US" err="1"/>
              <a:t>cubilia</a:t>
            </a:r>
            <a:r>
              <a:rPr lang="en-US"/>
              <a:t>.</a:t>
            </a:r>
          </a:p>
        </p:txBody>
      </p:sp>
      <p:sp>
        <p:nvSpPr>
          <p:cNvPr id="8" name="Text Placeholder 4">
            <a:extLst>
              <a:ext uri="{FF2B5EF4-FFF2-40B4-BE49-F238E27FC236}">
                <a16:creationId xmlns:a16="http://schemas.microsoft.com/office/drawing/2014/main" id="{F0338E16-D20C-B7FA-8AC3-9C439351E1DA}"/>
              </a:ext>
            </a:extLst>
          </p:cNvPr>
          <p:cNvSpPr>
            <a:spLocks noGrp="1"/>
          </p:cNvSpPr>
          <p:nvPr>
            <p:ph type="body" sz="quarter" idx="35" hasCustomPrompt="1"/>
          </p:nvPr>
        </p:nvSpPr>
        <p:spPr>
          <a:xfrm>
            <a:off x="6272784" y="1726692"/>
            <a:ext cx="2436876" cy="430887"/>
          </a:xfrm>
          <a:prstGeom prst="rect">
            <a:avLst/>
          </a:prstGeom>
        </p:spPr>
        <p:txBody>
          <a:bodyPr wrap="square" anchor="t" anchorCtr="0">
            <a:spAutoFit/>
          </a:bodyPr>
          <a:lstStyle>
            <a:lvl1pPr marL="0" marR="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sz="1400" b="1" i="0">
                <a:solidFill>
                  <a:schemeClr val="bg1"/>
                </a:solidFill>
                <a:latin typeface="Calibri" panose="020F0502020204030204" pitchFamily="34" charset="0"/>
                <a:cs typeface="Calibri" panose="020F0502020204030204" pitchFamily="34" charset="0"/>
              </a:defRPr>
            </a:lvl1pPr>
          </a:lstStyle>
          <a:p>
            <a:r>
              <a:rPr lang="en-US"/>
              <a:t>Lorem ipsum </a:t>
            </a:r>
            <a:r>
              <a:rPr lang="en-US" err="1"/>
              <a:t>nulla</a:t>
            </a:r>
            <a:r>
              <a:rPr lang="en-US"/>
              <a:t> </a:t>
            </a:r>
            <a:r>
              <a:rPr lang="en-US" err="1"/>
              <a:t>primis</a:t>
            </a:r>
            <a:r>
              <a:rPr lang="en-US"/>
              <a:t> eros mi </a:t>
            </a:r>
            <a:r>
              <a:rPr lang="en-US" err="1"/>
              <a:t>maecenas</a:t>
            </a:r>
            <a:r>
              <a:rPr lang="en-US"/>
              <a:t> ligula magna.</a:t>
            </a:r>
          </a:p>
        </p:txBody>
      </p:sp>
      <p:sp>
        <p:nvSpPr>
          <p:cNvPr id="14" name="Text Placeholder 4">
            <a:extLst>
              <a:ext uri="{FF2B5EF4-FFF2-40B4-BE49-F238E27FC236}">
                <a16:creationId xmlns:a16="http://schemas.microsoft.com/office/drawing/2014/main" id="{E6B141DB-BB5A-9CCF-6E8E-737B235FA2D7}"/>
              </a:ext>
            </a:extLst>
          </p:cNvPr>
          <p:cNvSpPr>
            <a:spLocks noGrp="1"/>
          </p:cNvSpPr>
          <p:nvPr>
            <p:ph type="body" sz="quarter" idx="36" hasCustomPrompt="1"/>
          </p:nvPr>
        </p:nvSpPr>
        <p:spPr>
          <a:xfrm>
            <a:off x="6272784" y="2456891"/>
            <a:ext cx="2400300" cy="2291268"/>
          </a:xfrm>
          <a:prstGeom prst="rect">
            <a:avLst/>
          </a:prstGeom>
        </p:spPr>
        <p:txBody>
          <a:bodyPr wrap="square" anchor="t" anchorCtr="0">
            <a:spAutoFit/>
          </a:bodyPr>
          <a:lstStyle>
            <a:lvl1pPr marL="0" marR="0" indent="0" algn="l" defTabSz="914400" rtl="0" eaLnBrk="1" fontAlgn="auto" latinLnBrk="0" hangingPunct="1">
              <a:lnSpc>
                <a:spcPts val="1800"/>
              </a:lnSpc>
              <a:spcBef>
                <a:spcPts val="600"/>
              </a:spcBef>
              <a:spcAft>
                <a:spcPts val="0"/>
              </a:spcAft>
              <a:buClrTx/>
              <a:buSzTx/>
              <a:buFont typeface="Arial" panose="020B0604020202020204" pitchFamily="34" charset="0"/>
              <a:buNone/>
              <a:tabLst/>
              <a:defRPr sz="1200" b="0" i="0">
                <a:solidFill>
                  <a:schemeClr val="bg1"/>
                </a:solidFill>
                <a:latin typeface="Calibri Light" panose="020F0302020204030204" pitchFamily="34" charset="0"/>
                <a:cs typeface="Calibri Light" panose="020F0302020204030204" pitchFamily="34" charset="0"/>
              </a:defRPr>
            </a:lvl1pPr>
          </a:lstStyle>
          <a:p>
            <a:r>
              <a:rPr lang="en-US"/>
              <a:t>Lorem ipsum </a:t>
            </a:r>
            <a:r>
              <a:rPr lang="en-US" err="1"/>
              <a:t>nulla</a:t>
            </a:r>
            <a:r>
              <a:rPr lang="en-US"/>
              <a:t> </a:t>
            </a:r>
            <a:r>
              <a:rPr lang="en-US" err="1"/>
              <a:t>primis</a:t>
            </a:r>
            <a:r>
              <a:rPr lang="en-US"/>
              <a:t> eros mi </a:t>
            </a:r>
            <a:r>
              <a:rPr lang="en-US" err="1"/>
              <a:t>maecenas</a:t>
            </a:r>
            <a:r>
              <a:rPr lang="en-US"/>
              <a:t> ligula magna, </a:t>
            </a:r>
            <a:r>
              <a:rPr lang="en-US" err="1"/>
              <a:t>nibh</a:t>
            </a:r>
            <a:r>
              <a:rPr lang="en-US"/>
              <a:t> </a:t>
            </a:r>
            <a:r>
              <a:rPr lang="en-US" err="1"/>
              <a:t>commodo</a:t>
            </a:r>
            <a:r>
              <a:rPr lang="en-US"/>
              <a:t> </a:t>
            </a:r>
            <a:r>
              <a:rPr lang="en-US" err="1"/>
              <a:t>aenean</a:t>
            </a:r>
            <a:r>
              <a:rPr lang="en-US"/>
              <a:t> </a:t>
            </a:r>
            <a:r>
              <a:rPr lang="en-US" err="1"/>
              <a:t>leo</a:t>
            </a:r>
            <a:r>
              <a:rPr lang="en-US"/>
              <a:t> porta </a:t>
            </a:r>
            <a:r>
              <a:rPr lang="en-US" err="1"/>
              <a:t>duis</a:t>
            </a:r>
            <a:r>
              <a:rPr lang="en-US"/>
              <a:t> magna </a:t>
            </a:r>
            <a:r>
              <a:rPr lang="en-US" err="1"/>
              <a:t>felis</a:t>
            </a:r>
            <a:r>
              <a:rPr lang="en-US"/>
              <a:t> </a:t>
            </a:r>
            <a:r>
              <a:rPr lang="en-US" err="1"/>
              <a:t>bibendum</a:t>
            </a:r>
            <a:r>
              <a:rPr lang="en-US"/>
              <a:t> </a:t>
            </a:r>
            <a:r>
              <a:rPr lang="en-US" err="1"/>
              <a:t>tempor</a:t>
            </a:r>
            <a:r>
              <a:rPr lang="en-US"/>
              <a:t> </a:t>
            </a:r>
            <a:r>
              <a:rPr lang="en-US" err="1"/>
              <a:t>cubilia</a:t>
            </a:r>
            <a:r>
              <a:rPr lang="en-US"/>
              <a:t> gravida </a:t>
            </a:r>
            <a:r>
              <a:rPr lang="en-US" err="1"/>
              <a:t>molestie</a:t>
            </a:r>
            <a:r>
              <a:rPr lang="en-US"/>
              <a:t> a </a:t>
            </a:r>
            <a:r>
              <a:rPr lang="en-US" err="1"/>
              <a:t>pretium</a:t>
            </a:r>
            <a:r>
              <a:rPr lang="en-US"/>
              <a:t> </a:t>
            </a:r>
            <a:r>
              <a:rPr lang="en-US" err="1"/>
              <a:t>egestas</a:t>
            </a:r>
            <a:r>
              <a:rPr lang="en-US"/>
              <a:t> </a:t>
            </a:r>
            <a:r>
              <a:rPr lang="en-US" err="1"/>
              <a:t>iaculis</a:t>
            </a:r>
            <a:r>
              <a:rPr lang="en-US"/>
              <a:t> per, eros sit </a:t>
            </a:r>
            <a:r>
              <a:rPr lang="en-US" err="1"/>
              <a:t>leo</a:t>
            </a:r>
            <a:r>
              <a:rPr lang="en-US"/>
              <a:t> </a:t>
            </a:r>
            <a:r>
              <a:rPr lang="en-US" err="1"/>
              <a:t>augue</a:t>
            </a:r>
            <a:r>
              <a:rPr lang="en-US"/>
              <a:t> tempus </a:t>
            </a:r>
            <a:r>
              <a:rPr lang="en-US" err="1"/>
              <a:t>consectetur</a:t>
            </a:r>
            <a:r>
              <a:rPr lang="en-US"/>
              <a:t> </a:t>
            </a:r>
            <a:r>
              <a:rPr lang="en-US" err="1"/>
              <a:t>primis</a:t>
            </a:r>
            <a:r>
              <a:rPr lang="en-US"/>
              <a:t> dolor ac </a:t>
            </a:r>
            <a:r>
              <a:rPr lang="en-US" err="1"/>
              <a:t>euismod</a:t>
            </a:r>
            <a:r>
              <a:rPr lang="en-US"/>
              <a:t> </a:t>
            </a:r>
            <a:r>
              <a:rPr lang="en-US" err="1"/>
              <a:t>accumsan</a:t>
            </a:r>
            <a:r>
              <a:rPr lang="en-US"/>
              <a:t>, </a:t>
            </a:r>
            <a:r>
              <a:rPr lang="en-US" err="1"/>
              <a:t>vivamus</a:t>
            </a:r>
            <a:r>
              <a:rPr lang="en-US"/>
              <a:t> </a:t>
            </a:r>
            <a:r>
              <a:rPr lang="en-US" err="1"/>
              <a:t>feugiat</a:t>
            </a:r>
            <a:r>
              <a:rPr lang="en-US"/>
              <a:t> </a:t>
            </a:r>
            <a:r>
              <a:rPr lang="en-US" err="1"/>
              <a:t>elit</a:t>
            </a:r>
            <a:r>
              <a:rPr lang="en-US"/>
              <a:t> </a:t>
            </a:r>
            <a:r>
              <a:rPr lang="en-US" err="1"/>
              <a:t>luctus</a:t>
            </a:r>
            <a:r>
              <a:rPr lang="en-US"/>
              <a:t> libero </a:t>
            </a:r>
            <a:r>
              <a:rPr lang="en-US" err="1"/>
              <a:t>duis</a:t>
            </a:r>
            <a:r>
              <a:rPr lang="en-US"/>
              <a:t> </a:t>
            </a:r>
            <a:r>
              <a:rPr lang="en-US" err="1"/>
              <a:t>elementum</a:t>
            </a:r>
            <a:r>
              <a:rPr lang="en-US"/>
              <a:t> </a:t>
            </a:r>
            <a:r>
              <a:rPr lang="en-US" err="1"/>
              <a:t>etiam</a:t>
            </a:r>
            <a:r>
              <a:rPr lang="en-US"/>
              <a:t> lorem cursus </a:t>
            </a:r>
            <a:r>
              <a:rPr lang="en-US" err="1"/>
              <a:t>hendrerit</a:t>
            </a:r>
            <a:r>
              <a:rPr lang="en-US"/>
              <a:t> </a:t>
            </a:r>
            <a:r>
              <a:rPr lang="en-US" err="1"/>
              <a:t>curae</a:t>
            </a:r>
            <a:r>
              <a:rPr lang="en-US"/>
              <a:t> </a:t>
            </a:r>
            <a:r>
              <a:rPr lang="en-US" err="1"/>
              <a:t>primis</a:t>
            </a:r>
            <a:r>
              <a:rPr lang="en-US"/>
              <a:t> </a:t>
            </a:r>
            <a:r>
              <a:rPr lang="en-US" err="1"/>
              <a:t>cubilia</a:t>
            </a:r>
            <a:r>
              <a:rPr lang="en-US"/>
              <a:t>.</a:t>
            </a:r>
          </a:p>
        </p:txBody>
      </p:sp>
      <p:sp>
        <p:nvSpPr>
          <p:cNvPr id="16" name="Text Placeholder 4">
            <a:extLst>
              <a:ext uri="{FF2B5EF4-FFF2-40B4-BE49-F238E27FC236}">
                <a16:creationId xmlns:a16="http://schemas.microsoft.com/office/drawing/2014/main" id="{5A66D88E-80F4-1365-4E17-69F78707BE47}"/>
              </a:ext>
            </a:extLst>
          </p:cNvPr>
          <p:cNvSpPr>
            <a:spLocks noGrp="1"/>
          </p:cNvSpPr>
          <p:nvPr>
            <p:ph type="body" sz="quarter" idx="38" hasCustomPrompt="1"/>
          </p:nvPr>
        </p:nvSpPr>
        <p:spPr>
          <a:xfrm>
            <a:off x="9055608" y="1726692"/>
            <a:ext cx="2436876" cy="430887"/>
          </a:xfrm>
          <a:prstGeom prst="rect">
            <a:avLst/>
          </a:prstGeom>
        </p:spPr>
        <p:txBody>
          <a:bodyPr wrap="square" anchor="t" anchorCtr="0">
            <a:spAutoFit/>
          </a:bodyPr>
          <a:lstStyle>
            <a:lvl1pPr marL="0" marR="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sz="1400" b="1" i="0">
                <a:solidFill>
                  <a:schemeClr val="bg1"/>
                </a:solidFill>
                <a:latin typeface="Calibri" panose="020F0502020204030204" pitchFamily="34" charset="0"/>
                <a:cs typeface="Calibri" panose="020F0502020204030204" pitchFamily="34" charset="0"/>
              </a:defRPr>
            </a:lvl1pPr>
          </a:lstStyle>
          <a:p>
            <a:r>
              <a:rPr lang="en-US"/>
              <a:t>Lorem ipsum </a:t>
            </a:r>
            <a:r>
              <a:rPr lang="en-US" err="1"/>
              <a:t>nulla</a:t>
            </a:r>
            <a:r>
              <a:rPr lang="en-US"/>
              <a:t> </a:t>
            </a:r>
            <a:r>
              <a:rPr lang="en-US" err="1"/>
              <a:t>primis</a:t>
            </a:r>
            <a:r>
              <a:rPr lang="en-US"/>
              <a:t> eros mi </a:t>
            </a:r>
            <a:r>
              <a:rPr lang="en-US" err="1"/>
              <a:t>maecenas</a:t>
            </a:r>
            <a:r>
              <a:rPr lang="en-US"/>
              <a:t> ligula magna.</a:t>
            </a:r>
          </a:p>
        </p:txBody>
      </p:sp>
      <p:sp>
        <p:nvSpPr>
          <p:cNvPr id="17" name="Text Placeholder 4">
            <a:extLst>
              <a:ext uri="{FF2B5EF4-FFF2-40B4-BE49-F238E27FC236}">
                <a16:creationId xmlns:a16="http://schemas.microsoft.com/office/drawing/2014/main" id="{6DAFD4C9-E6EA-68B1-AE47-8BEF8A00F2D7}"/>
              </a:ext>
            </a:extLst>
          </p:cNvPr>
          <p:cNvSpPr>
            <a:spLocks noGrp="1"/>
          </p:cNvSpPr>
          <p:nvPr>
            <p:ph type="body" sz="quarter" idx="39" hasCustomPrompt="1"/>
          </p:nvPr>
        </p:nvSpPr>
        <p:spPr>
          <a:xfrm>
            <a:off x="9055608" y="2456891"/>
            <a:ext cx="2400300" cy="2291268"/>
          </a:xfrm>
          <a:prstGeom prst="rect">
            <a:avLst/>
          </a:prstGeom>
        </p:spPr>
        <p:txBody>
          <a:bodyPr wrap="square" anchor="t" anchorCtr="0">
            <a:spAutoFit/>
          </a:bodyPr>
          <a:lstStyle>
            <a:lvl1pPr marL="0" marR="0" indent="0" algn="l" defTabSz="914400" rtl="0" eaLnBrk="1" fontAlgn="auto" latinLnBrk="0" hangingPunct="1">
              <a:lnSpc>
                <a:spcPts val="1800"/>
              </a:lnSpc>
              <a:spcBef>
                <a:spcPts val="600"/>
              </a:spcBef>
              <a:spcAft>
                <a:spcPts val="0"/>
              </a:spcAft>
              <a:buClrTx/>
              <a:buSzTx/>
              <a:buFont typeface="Arial" panose="020B0604020202020204" pitchFamily="34" charset="0"/>
              <a:buNone/>
              <a:tabLst/>
              <a:defRPr sz="1200" b="0" i="0">
                <a:solidFill>
                  <a:schemeClr val="bg1"/>
                </a:solidFill>
                <a:latin typeface="Calibri Light" panose="020F0302020204030204" pitchFamily="34" charset="0"/>
                <a:cs typeface="Calibri Light" panose="020F0302020204030204" pitchFamily="34" charset="0"/>
              </a:defRPr>
            </a:lvl1pPr>
          </a:lstStyle>
          <a:p>
            <a:r>
              <a:rPr lang="en-US"/>
              <a:t>Lorem ipsum </a:t>
            </a:r>
            <a:r>
              <a:rPr lang="en-US" err="1"/>
              <a:t>nulla</a:t>
            </a:r>
            <a:r>
              <a:rPr lang="en-US"/>
              <a:t> </a:t>
            </a:r>
            <a:r>
              <a:rPr lang="en-US" err="1"/>
              <a:t>primis</a:t>
            </a:r>
            <a:r>
              <a:rPr lang="en-US"/>
              <a:t> eros mi </a:t>
            </a:r>
            <a:r>
              <a:rPr lang="en-US" err="1"/>
              <a:t>maecenas</a:t>
            </a:r>
            <a:r>
              <a:rPr lang="en-US"/>
              <a:t> ligula magna, </a:t>
            </a:r>
            <a:r>
              <a:rPr lang="en-US" err="1"/>
              <a:t>nibh</a:t>
            </a:r>
            <a:r>
              <a:rPr lang="en-US"/>
              <a:t> </a:t>
            </a:r>
            <a:r>
              <a:rPr lang="en-US" err="1"/>
              <a:t>commodo</a:t>
            </a:r>
            <a:r>
              <a:rPr lang="en-US"/>
              <a:t> </a:t>
            </a:r>
            <a:r>
              <a:rPr lang="en-US" err="1"/>
              <a:t>aenean</a:t>
            </a:r>
            <a:r>
              <a:rPr lang="en-US"/>
              <a:t> </a:t>
            </a:r>
            <a:r>
              <a:rPr lang="en-US" err="1"/>
              <a:t>leo</a:t>
            </a:r>
            <a:r>
              <a:rPr lang="en-US"/>
              <a:t> porta </a:t>
            </a:r>
            <a:r>
              <a:rPr lang="en-US" err="1"/>
              <a:t>duis</a:t>
            </a:r>
            <a:r>
              <a:rPr lang="en-US"/>
              <a:t> magna </a:t>
            </a:r>
            <a:r>
              <a:rPr lang="en-US" err="1"/>
              <a:t>felis</a:t>
            </a:r>
            <a:r>
              <a:rPr lang="en-US"/>
              <a:t> </a:t>
            </a:r>
            <a:r>
              <a:rPr lang="en-US" err="1"/>
              <a:t>bibendum</a:t>
            </a:r>
            <a:r>
              <a:rPr lang="en-US"/>
              <a:t> </a:t>
            </a:r>
            <a:r>
              <a:rPr lang="en-US" err="1"/>
              <a:t>tempor</a:t>
            </a:r>
            <a:r>
              <a:rPr lang="en-US"/>
              <a:t> </a:t>
            </a:r>
            <a:r>
              <a:rPr lang="en-US" err="1"/>
              <a:t>cubilia</a:t>
            </a:r>
            <a:r>
              <a:rPr lang="en-US"/>
              <a:t> gravida </a:t>
            </a:r>
            <a:r>
              <a:rPr lang="en-US" err="1"/>
              <a:t>molestie</a:t>
            </a:r>
            <a:r>
              <a:rPr lang="en-US"/>
              <a:t> a </a:t>
            </a:r>
            <a:r>
              <a:rPr lang="en-US" err="1"/>
              <a:t>pretium</a:t>
            </a:r>
            <a:r>
              <a:rPr lang="en-US"/>
              <a:t> </a:t>
            </a:r>
            <a:r>
              <a:rPr lang="en-US" err="1"/>
              <a:t>egestas</a:t>
            </a:r>
            <a:r>
              <a:rPr lang="en-US"/>
              <a:t> </a:t>
            </a:r>
            <a:r>
              <a:rPr lang="en-US" err="1"/>
              <a:t>iaculis</a:t>
            </a:r>
            <a:r>
              <a:rPr lang="en-US"/>
              <a:t> per, eros sit </a:t>
            </a:r>
            <a:r>
              <a:rPr lang="en-US" err="1"/>
              <a:t>leo</a:t>
            </a:r>
            <a:r>
              <a:rPr lang="en-US"/>
              <a:t> </a:t>
            </a:r>
            <a:r>
              <a:rPr lang="en-US" err="1"/>
              <a:t>augue</a:t>
            </a:r>
            <a:r>
              <a:rPr lang="en-US"/>
              <a:t> tempus </a:t>
            </a:r>
            <a:r>
              <a:rPr lang="en-US" err="1"/>
              <a:t>consectetur</a:t>
            </a:r>
            <a:r>
              <a:rPr lang="en-US"/>
              <a:t> </a:t>
            </a:r>
            <a:r>
              <a:rPr lang="en-US" err="1"/>
              <a:t>primis</a:t>
            </a:r>
            <a:r>
              <a:rPr lang="en-US"/>
              <a:t> dolor ac </a:t>
            </a:r>
            <a:r>
              <a:rPr lang="en-US" err="1"/>
              <a:t>euismod</a:t>
            </a:r>
            <a:r>
              <a:rPr lang="en-US"/>
              <a:t> </a:t>
            </a:r>
            <a:r>
              <a:rPr lang="en-US" err="1"/>
              <a:t>accumsan</a:t>
            </a:r>
            <a:r>
              <a:rPr lang="en-US"/>
              <a:t>, </a:t>
            </a:r>
            <a:r>
              <a:rPr lang="en-US" err="1"/>
              <a:t>vivamus</a:t>
            </a:r>
            <a:r>
              <a:rPr lang="en-US"/>
              <a:t> </a:t>
            </a:r>
            <a:r>
              <a:rPr lang="en-US" err="1"/>
              <a:t>feugiat</a:t>
            </a:r>
            <a:r>
              <a:rPr lang="en-US"/>
              <a:t> </a:t>
            </a:r>
            <a:r>
              <a:rPr lang="en-US" err="1"/>
              <a:t>elit</a:t>
            </a:r>
            <a:r>
              <a:rPr lang="en-US"/>
              <a:t> </a:t>
            </a:r>
            <a:r>
              <a:rPr lang="en-US" err="1"/>
              <a:t>luctus</a:t>
            </a:r>
            <a:r>
              <a:rPr lang="en-US"/>
              <a:t> libero </a:t>
            </a:r>
            <a:r>
              <a:rPr lang="en-US" err="1"/>
              <a:t>duis</a:t>
            </a:r>
            <a:r>
              <a:rPr lang="en-US"/>
              <a:t> </a:t>
            </a:r>
            <a:r>
              <a:rPr lang="en-US" err="1"/>
              <a:t>elementum</a:t>
            </a:r>
            <a:r>
              <a:rPr lang="en-US"/>
              <a:t> </a:t>
            </a:r>
            <a:r>
              <a:rPr lang="en-US" err="1"/>
              <a:t>etiam</a:t>
            </a:r>
            <a:r>
              <a:rPr lang="en-US"/>
              <a:t> lorem cursus </a:t>
            </a:r>
            <a:r>
              <a:rPr lang="en-US" err="1"/>
              <a:t>hendrerit</a:t>
            </a:r>
            <a:r>
              <a:rPr lang="en-US"/>
              <a:t> </a:t>
            </a:r>
            <a:r>
              <a:rPr lang="en-US" err="1"/>
              <a:t>curae</a:t>
            </a:r>
            <a:r>
              <a:rPr lang="en-US"/>
              <a:t> </a:t>
            </a:r>
            <a:r>
              <a:rPr lang="en-US" err="1"/>
              <a:t>primis</a:t>
            </a:r>
            <a:r>
              <a:rPr lang="en-US"/>
              <a:t> </a:t>
            </a:r>
            <a:r>
              <a:rPr lang="en-US" err="1"/>
              <a:t>cubilia</a:t>
            </a:r>
            <a:r>
              <a:rPr lang="en-US"/>
              <a:t>.</a:t>
            </a:r>
          </a:p>
        </p:txBody>
      </p:sp>
      <p:sp>
        <p:nvSpPr>
          <p:cNvPr id="4" name="Title 1">
            <a:extLst>
              <a:ext uri="{FF2B5EF4-FFF2-40B4-BE49-F238E27FC236}">
                <a16:creationId xmlns:a16="http://schemas.microsoft.com/office/drawing/2014/main" id="{509AEB2E-B10F-EAEA-3116-5F545829842C}"/>
              </a:ext>
            </a:extLst>
          </p:cNvPr>
          <p:cNvSpPr>
            <a:spLocks noGrp="1"/>
          </p:cNvSpPr>
          <p:nvPr>
            <p:ph type="title" hasCustomPrompt="1"/>
          </p:nvPr>
        </p:nvSpPr>
        <p:spPr>
          <a:xfrm>
            <a:off x="633632" y="722843"/>
            <a:ext cx="10963056" cy="338554"/>
          </a:xfrm>
          <a:prstGeom prst="rect">
            <a:avLst/>
          </a:prstGeom>
        </p:spPr>
        <p:txBody>
          <a:bodyPr/>
          <a:lstStyle>
            <a:lvl1pPr>
              <a:defRPr lang="en-US" sz="2200" b="1" i="0" kern="1200" spc="0" dirty="0">
                <a:solidFill>
                  <a:schemeClr val="bg1"/>
                </a:solidFill>
                <a:effectLst/>
                <a:latin typeface="+mj-lt"/>
                <a:ea typeface="Calibri" panose="020F0502020204030204" pitchFamily="34" charset="0"/>
                <a:cs typeface="Calibri" panose="020F0502020204030204" pitchFamily="34" charset="0"/>
              </a:defRPr>
            </a:lvl1pPr>
          </a:lstStyle>
          <a:p>
            <a:pPr marL="0" lvl="0" indent="0" algn="l" defTabSz="914400" rtl="0" eaLnBrk="1" latinLnBrk="0" hangingPunct="1">
              <a:lnSpc>
                <a:spcPct val="100000"/>
              </a:lnSpc>
              <a:spcBef>
                <a:spcPts val="0"/>
              </a:spcBef>
              <a:spcAft>
                <a:spcPts val="0"/>
              </a:spcAft>
              <a:buFont typeface="Arial" panose="020B0604020202020204" pitchFamily="34" charset="0"/>
              <a:buNone/>
            </a:pPr>
            <a:r>
              <a:rPr lang="en-US">
                <a:effectLst/>
              </a:rPr>
              <a:t>Title Goes Here</a:t>
            </a:r>
            <a:endParaRPr lang="en-US"/>
          </a:p>
        </p:txBody>
      </p:sp>
      <p:sp>
        <p:nvSpPr>
          <p:cNvPr id="7" name="Text Placeholder 10">
            <a:extLst>
              <a:ext uri="{FF2B5EF4-FFF2-40B4-BE49-F238E27FC236}">
                <a16:creationId xmlns:a16="http://schemas.microsoft.com/office/drawing/2014/main" id="{079054C7-4A34-8441-0C85-61DD276EFC21}"/>
              </a:ext>
            </a:extLst>
          </p:cNvPr>
          <p:cNvSpPr>
            <a:spLocks noGrp="1"/>
          </p:cNvSpPr>
          <p:nvPr>
            <p:ph type="body" sz="quarter" idx="28" hasCustomPrompt="1"/>
          </p:nvPr>
        </p:nvSpPr>
        <p:spPr>
          <a:xfrm>
            <a:off x="633632" y="419100"/>
            <a:ext cx="3611880" cy="225706"/>
          </a:xfrm>
          <a:prstGeom prst="rect">
            <a:avLst/>
          </a:prstGeom>
        </p:spPr>
        <p:txBody>
          <a:bodyPr/>
          <a:lstStyle>
            <a:lvl1pPr>
              <a:spcBef>
                <a:spcPts val="0"/>
              </a:spcBef>
              <a:defRPr lang="en-US" sz="1000" b="0" i="0" kern="1200" cap="all" spc="300" baseline="0" dirty="0">
                <a:solidFill>
                  <a:schemeClr val="bg1"/>
                </a:solidFill>
                <a:latin typeface="Calibri" panose="020F0502020204030204" pitchFamily="34" charset="0"/>
                <a:ea typeface="Calibri" panose="020F0502020204030204" pitchFamily="34" charset="0"/>
                <a:cs typeface="Calibri" panose="020F0502020204030204" pitchFamily="34" charset="0"/>
              </a:defRPr>
            </a:lvl1pPr>
          </a:lstStyle>
          <a:p>
            <a:pPr marL="0" lvl="0" indent="0" algn="l" defTabSz="914400" rtl="0" eaLnBrk="1" latinLnBrk="0" hangingPunct="1">
              <a:lnSpc>
                <a:spcPct val="100000"/>
              </a:lnSpc>
              <a:spcBef>
                <a:spcPts val="600"/>
              </a:spcBef>
              <a:spcAft>
                <a:spcPts val="0"/>
              </a:spcAft>
              <a:buFont typeface="Arial" panose="020B0604020202020204" pitchFamily="34" charset="0"/>
              <a:buNone/>
            </a:pPr>
            <a:r>
              <a:rPr lang="en-US"/>
              <a:t>Click to add section title</a:t>
            </a:r>
          </a:p>
        </p:txBody>
      </p:sp>
      <p:grpSp>
        <p:nvGrpSpPr>
          <p:cNvPr id="3" name="Group 2">
            <a:extLst>
              <a:ext uri="{FF2B5EF4-FFF2-40B4-BE49-F238E27FC236}">
                <a16:creationId xmlns:a16="http://schemas.microsoft.com/office/drawing/2014/main" id="{9CC8E5F9-D9E6-F585-D94C-8122E06146E0}"/>
              </a:ext>
            </a:extLst>
          </p:cNvPr>
          <p:cNvGrpSpPr/>
          <p:nvPr userDrawn="1"/>
        </p:nvGrpSpPr>
        <p:grpSpPr>
          <a:xfrm>
            <a:off x="610888" y="6472556"/>
            <a:ext cx="372834" cy="131175"/>
            <a:chOff x="14288" y="2035175"/>
            <a:chExt cx="10039350" cy="3532188"/>
          </a:xfrm>
          <a:solidFill>
            <a:schemeClr val="bg1"/>
          </a:solidFill>
        </p:grpSpPr>
        <p:sp>
          <p:nvSpPr>
            <p:cNvPr id="6" name="Freeform 1">
              <a:extLst>
                <a:ext uri="{FF2B5EF4-FFF2-40B4-BE49-F238E27FC236}">
                  <a16:creationId xmlns:a16="http://schemas.microsoft.com/office/drawing/2014/main" id="{8BA3206A-F0E8-EB4C-B2DA-8234F9D98263}"/>
                </a:ext>
              </a:extLst>
            </p:cNvPr>
            <p:cNvSpPr>
              <a:spLocks noChangeArrowheads="1"/>
            </p:cNvSpPr>
            <p:nvPr/>
          </p:nvSpPr>
          <p:spPr bwMode="auto">
            <a:xfrm>
              <a:off x="1519238" y="2035175"/>
              <a:ext cx="1336675" cy="2836863"/>
            </a:xfrm>
            <a:custGeom>
              <a:avLst/>
              <a:gdLst>
                <a:gd name="T0" fmla="*/ 390493 w 3714"/>
                <a:gd name="T1" fmla="*/ 1200682 h 7882"/>
                <a:gd name="T2" fmla="*/ 945462 w 3714"/>
                <a:gd name="T3" fmla="*/ 1200682 h 7882"/>
                <a:gd name="T4" fmla="*/ 945462 w 3714"/>
                <a:gd name="T5" fmla="*/ 611498 h 7882"/>
                <a:gd name="T6" fmla="*/ 698929 w 3714"/>
                <a:gd name="T7" fmla="*/ 364596 h 7882"/>
                <a:gd name="T8" fmla="*/ 637386 w 3714"/>
                <a:gd name="T9" fmla="*/ 364596 h 7882"/>
                <a:gd name="T10" fmla="*/ 390493 w 3714"/>
                <a:gd name="T11" fmla="*/ 611498 h 7882"/>
                <a:gd name="T12" fmla="*/ 390493 w 3714"/>
                <a:gd name="T13" fmla="*/ 1200682 h 7882"/>
                <a:gd name="T14" fmla="*/ 389414 w 3714"/>
                <a:gd name="T15" fmla="*/ 1576795 h 7882"/>
                <a:gd name="T16" fmla="*/ 390493 w 3714"/>
                <a:gd name="T17" fmla="*/ 2224645 h 7882"/>
                <a:gd name="T18" fmla="*/ 637386 w 3714"/>
                <a:gd name="T19" fmla="*/ 2471548 h 7882"/>
                <a:gd name="T20" fmla="*/ 709366 w 3714"/>
                <a:gd name="T21" fmla="*/ 2471548 h 7882"/>
                <a:gd name="T22" fmla="*/ 955899 w 3714"/>
                <a:gd name="T23" fmla="*/ 2224645 h 7882"/>
                <a:gd name="T24" fmla="*/ 955899 w 3714"/>
                <a:gd name="T25" fmla="*/ 1906119 h 7882"/>
                <a:gd name="T26" fmla="*/ 1336315 w 3714"/>
                <a:gd name="T27" fmla="*/ 1906119 h 7882"/>
                <a:gd name="T28" fmla="*/ 1336315 w 3714"/>
                <a:gd name="T29" fmla="*/ 2209528 h 7882"/>
                <a:gd name="T30" fmla="*/ 709366 w 3714"/>
                <a:gd name="T31" fmla="*/ 2836503 h 7882"/>
                <a:gd name="T32" fmla="*/ 626949 w 3714"/>
                <a:gd name="T33" fmla="*/ 2836503 h 7882"/>
                <a:gd name="T34" fmla="*/ 0 w 3714"/>
                <a:gd name="T35" fmla="*/ 2258117 h 7882"/>
                <a:gd name="T36" fmla="*/ 0 w 3714"/>
                <a:gd name="T37" fmla="*/ 675564 h 7882"/>
                <a:gd name="T38" fmla="*/ 626949 w 3714"/>
                <a:gd name="T39" fmla="*/ 0 h 7882"/>
                <a:gd name="T40" fmla="*/ 709366 w 3714"/>
                <a:gd name="T41" fmla="*/ 0 h 7882"/>
                <a:gd name="T42" fmla="*/ 1336315 w 3714"/>
                <a:gd name="T43" fmla="*/ 626975 h 7882"/>
                <a:gd name="T44" fmla="*/ 1334875 w 3714"/>
                <a:gd name="T45" fmla="*/ 1576795 h 7882"/>
                <a:gd name="T46" fmla="*/ 389414 w 3714"/>
                <a:gd name="T47" fmla="*/ 1576795 h 7882"/>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3714" h="7882">
                  <a:moveTo>
                    <a:pt x="1085" y="3336"/>
                  </a:moveTo>
                  <a:lnTo>
                    <a:pt x="2627" y="3336"/>
                  </a:lnTo>
                  <a:lnTo>
                    <a:pt x="2627" y="1699"/>
                  </a:lnTo>
                  <a:cubicBezTo>
                    <a:pt x="2627" y="1242"/>
                    <a:pt x="2399" y="1013"/>
                    <a:pt x="1942" y="1013"/>
                  </a:cubicBezTo>
                  <a:lnTo>
                    <a:pt x="1771" y="1013"/>
                  </a:lnTo>
                  <a:cubicBezTo>
                    <a:pt x="1314" y="1013"/>
                    <a:pt x="1085" y="1242"/>
                    <a:pt x="1085" y="1699"/>
                  </a:cubicBezTo>
                  <a:lnTo>
                    <a:pt x="1085" y="3336"/>
                  </a:lnTo>
                  <a:close/>
                  <a:moveTo>
                    <a:pt x="1082" y="4381"/>
                  </a:moveTo>
                  <a:lnTo>
                    <a:pt x="1085" y="6181"/>
                  </a:lnTo>
                  <a:cubicBezTo>
                    <a:pt x="1085" y="6638"/>
                    <a:pt x="1314" y="6867"/>
                    <a:pt x="1771" y="6867"/>
                  </a:cubicBezTo>
                  <a:lnTo>
                    <a:pt x="1971" y="6867"/>
                  </a:lnTo>
                  <a:cubicBezTo>
                    <a:pt x="2428" y="6867"/>
                    <a:pt x="2656" y="6638"/>
                    <a:pt x="2656" y="6181"/>
                  </a:cubicBezTo>
                  <a:lnTo>
                    <a:pt x="2656" y="5296"/>
                  </a:lnTo>
                  <a:lnTo>
                    <a:pt x="3713" y="5296"/>
                  </a:lnTo>
                  <a:lnTo>
                    <a:pt x="3713" y="6139"/>
                  </a:lnTo>
                  <a:cubicBezTo>
                    <a:pt x="3713" y="7295"/>
                    <a:pt x="3127" y="7881"/>
                    <a:pt x="1971" y="7881"/>
                  </a:cubicBezTo>
                  <a:lnTo>
                    <a:pt x="1742" y="7881"/>
                  </a:lnTo>
                  <a:cubicBezTo>
                    <a:pt x="585" y="7881"/>
                    <a:pt x="0" y="7295"/>
                    <a:pt x="0" y="6274"/>
                  </a:cubicBezTo>
                  <a:lnTo>
                    <a:pt x="0" y="1877"/>
                  </a:lnTo>
                  <a:cubicBezTo>
                    <a:pt x="0" y="585"/>
                    <a:pt x="585" y="0"/>
                    <a:pt x="1742" y="0"/>
                  </a:cubicBezTo>
                  <a:lnTo>
                    <a:pt x="1971" y="0"/>
                  </a:lnTo>
                  <a:cubicBezTo>
                    <a:pt x="3127" y="0"/>
                    <a:pt x="3713" y="585"/>
                    <a:pt x="3713" y="1742"/>
                  </a:cubicBezTo>
                  <a:lnTo>
                    <a:pt x="3709" y="4381"/>
                  </a:lnTo>
                  <a:lnTo>
                    <a:pt x="1082" y="4381"/>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endParaRPr lang="en-US"/>
            </a:p>
          </p:txBody>
        </p:sp>
        <p:sp>
          <p:nvSpPr>
            <p:cNvPr id="11" name="Freeform 2">
              <a:extLst>
                <a:ext uri="{FF2B5EF4-FFF2-40B4-BE49-F238E27FC236}">
                  <a16:creationId xmlns:a16="http://schemas.microsoft.com/office/drawing/2014/main" id="{799FCC17-2431-A157-4B66-B981AB2955E2}"/>
                </a:ext>
              </a:extLst>
            </p:cNvPr>
            <p:cNvSpPr>
              <a:spLocks noChangeArrowheads="1"/>
            </p:cNvSpPr>
            <p:nvPr/>
          </p:nvSpPr>
          <p:spPr bwMode="auto">
            <a:xfrm>
              <a:off x="3109913" y="2035175"/>
              <a:ext cx="1368425" cy="3532188"/>
            </a:xfrm>
            <a:custGeom>
              <a:avLst/>
              <a:gdLst>
                <a:gd name="T0" fmla="*/ 390721 w 3800"/>
                <a:gd name="T1" fmla="*/ 2322993 h 9812"/>
                <a:gd name="T2" fmla="*/ 750833 w 3800"/>
                <a:gd name="T3" fmla="*/ 2466628 h 9812"/>
                <a:gd name="T4" fmla="*/ 976983 w 3800"/>
                <a:gd name="T5" fmla="*/ 2240556 h 9812"/>
                <a:gd name="T6" fmla="*/ 976983 w 3800"/>
                <a:gd name="T7" fmla="*/ 596138 h 9812"/>
                <a:gd name="T8" fmla="*/ 750833 w 3800"/>
                <a:gd name="T9" fmla="*/ 370066 h 9812"/>
                <a:gd name="T10" fmla="*/ 390721 w 3800"/>
                <a:gd name="T11" fmla="*/ 514061 h 9812"/>
                <a:gd name="T12" fmla="*/ 390721 w 3800"/>
                <a:gd name="T13" fmla="*/ 2322993 h 9812"/>
                <a:gd name="T14" fmla="*/ 0 w 3800"/>
                <a:gd name="T15" fmla="*/ 30599 h 9812"/>
                <a:gd name="T16" fmla="*/ 390721 w 3800"/>
                <a:gd name="T17" fmla="*/ 30599 h 9812"/>
                <a:gd name="T18" fmla="*/ 390721 w 3800"/>
                <a:gd name="T19" fmla="*/ 210592 h 9812"/>
                <a:gd name="T20" fmla="*/ 868950 w 3800"/>
                <a:gd name="T21" fmla="*/ 0 h 9812"/>
                <a:gd name="T22" fmla="*/ 1368065 w 3800"/>
                <a:gd name="T23" fmla="*/ 549699 h 9812"/>
                <a:gd name="T24" fmla="*/ 1368065 w 3800"/>
                <a:gd name="T25" fmla="*/ 2286995 h 9812"/>
                <a:gd name="T26" fmla="*/ 868950 w 3800"/>
                <a:gd name="T27" fmla="*/ 2837054 h 9812"/>
                <a:gd name="T28" fmla="*/ 390721 w 3800"/>
                <a:gd name="T29" fmla="*/ 2636541 h 9812"/>
                <a:gd name="T30" fmla="*/ 390721 w 3800"/>
                <a:gd name="T31" fmla="*/ 3531828 h 9812"/>
                <a:gd name="T32" fmla="*/ 0 w 3800"/>
                <a:gd name="T33" fmla="*/ 3531828 h 9812"/>
                <a:gd name="T34" fmla="*/ 0 w 3800"/>
                <a:gd name="T35" fmla="*/ 30599 h 9812"/>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3800" h="9812">
                  <a:moveTo>
                    <a:pt x="1085" y="6453"/>
                  </a:moveTo>
                  <a:cubicBezTo>
                    <a:pt x="1385" y="6710"/>
                    <a:pt x="1728" y="6852"/>
                    <a:pt x="2085" y="6852"/>
                  </a:cubicBezTo>
                  <a:cubicBezTo>
                    <a:pt x="2485" y="6852"/>
                    <a:pt x="2713" y="6667"/>
                    <a:pt x="2713" y="6224"/>
                  </a:cubicBezTo>
                  <a:lnTo>
                    <a:pt x="2713" y="1656"/>
                  </a:lnTo>
                  <a:cubicBezTo>
                    <a:pt x="2713" y="1213"/>
                    <a:pt x="2485" y="1028"/>
                    <a:pt x="2085" y="1028"/>
                  </a:cubicBezTo>
                  <a:cubicBezTo>
                    <a:pt x="1728" y="1028"/>
                    <a:pt x="1385" y="1170"/>
                    <a:pt x="1085" y="1428"/>
                  </a:cubicBezTo>
                  <a:lnTo>
                    <a:pt x="1085" y="6453"/>
                  </a:lnTo>
                  <a:close/>
                  <a:moveTo>
                    <a:pt x="0" y="85"/>
                  </a:moveTo>
                  <a:lnTo>
                    <a:pt x="1085" y="85"/>
                  </a:lnTo>
                  <a:lnTo>
                    <a:pt x="1085" y="585"/>
                  </a:lnTo>
                  <a:cubicBezTo>
                    <a:pt x="1342" y="314"/>
                    <a:pt x="1785" y="0"/>
                    <a:pt x="2413" y="0"/>
                  </a:cubicBezTo>
                  <a:cubicBezTo>
                    <a:pt x="3342" y="0"/>
                    <a:pt x="3799" y="614"/>
                    <a:pt x="3799" y="1527"/>
                  </a:cubicBezTo>
                  <a:lnTo>
                    <a:pt x="3799" y="6353"/>
                  </a:lnTo>
                  <a:cubicBezTo>
                    <a:pt x="3799" y="7267"/>
                    <a:pt x="3342" y="7881"/>
                    <a:pt x="2413" y="7881"/>
                  </a:cubicBezTo>
                  <a:cubicBezTo>
                    <a:pt x="1785" y="7881"/>
                    <a:pt x="1342" y="7581"/>
                    <a:pt x="1085" y="7324"/>
                  </a:cubicBezTo>
                  <a:lnTo>
                    <a:pt x="1085" y="9811"/>
                  </a:lnTo>
                  <a:lnTo>
                    <a:pt x="0" y="9811"/>
                  </a:lnTo>
                  <a:lnTo>
                    <a:pt x="0" y="85"/>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endParaRPr lang="en-US"/>
            </a:p>
          </p:txBody>
        </p:sp>
        <p:sp>
          <p:nvSpPr>
            <p:cNvPr id="12" name="Freeform 3">
              <a:extLst>
                <a:ext uri="{FF2B5EF4-FFF2-40B4-BE49-F238E27FC236}">
                  <a16:creationId xmlns:a16="http://schemas.microsoft.com/office/drawing/2014/main" id="{774A4960-ED5F-6430-09AE-D94689F280E7}"/>
                </a:ext>
              </a:extLst>
            </p:cNvPr>
            <p:cNvSpPr>
              <a:spLocks noChangeArrowheads="1"/>
            </p:cNvSpPr>
            <p:nvPr/>
          </p:nvSpPr>
          <p:spPr bwMode="auto">
            <a:xfrm>
              <a:off x="4711700" y="2035175"/>
              <a:ext cx="1328738" cy="2836863"/>
            </a:xfrm>
            <a:custGeom>
              <a:avLst/>
              <a:gdLst>
                <a:gd name="T0" fmla="*/ 937679 w 3690"/>
                <a:gd name="T1" fmla="*/ 2338019 h 7882"/>
                <a:gd name="T2" fmla="*/ 937679 w 3690"/>
                <a:gd name="T3" fmla="*/ 1422750 h 7882"/>
                <a:gd name="T4" fmla="*/ 582988 w 3690"/>
                <a:gd name="T5" fmla="*/ 1556999 h 7882"/>
                <a:gd name="T6" fmla="*/ 392500 w 3690"/>
                <a:gd name="T7" fmla="*/ 1844573 h 7882"/>
                <a:gd name="T8" fmla="*/ 392500 w 3690"/>
                <a:gd name="T9" fmla="*/ 2266035 h 7882"/>
                <a:gd name="T10" fmla="*/ 582988 w 3690"/>
                <a:gd name="T11" fmla="*/ 2466149 h 7882"/>
                <a:gd name="T12" fmla="*/ 937679 w 3690"/>
                <a:gd name="T13" fmla="*/ 2338019 h 7882"/>
                <a:gd name="T14" fmla="*/ 2161 w 3690"/>
                <a:gd name="T15" fmla="*/ 1839174 h 7882"/>
                <a:gd name="T16" fmla="*/ 413025 w 3690"/>
                <a:gd name="T17" fmla="*/ 1253950 h 7882"/>
                <a:gd name="T18" fmla="*/ 937679 w 3690"/>
                <a:gd name="T19" fmla="*/ 1073991 h 7882"/>
                <a:gd name="T20" fmla="*/ 937679 w 3690"/>
                <a:gd name="T21" fmla="*/ 611498 h 7882"/>
                <a:gd name="T22" fmla="*/ 690656 w 3690"/>
                <a:gd name="T23" fmla="*/ 359557 h 7882"/>
                <a:gd name="T24" fmla="*/ 627280 w 3690"/>
                <a:gd name="T25" fmla="*/ 359557 h 7882"/>
                <a:gd name="T26" fmla="*/ 380257 w 3690"/>
                <a:gd name="T27" fmla="*/ 611498 h 7882"/>
                <a:gd name="T28" fmla="*/ 380257 w 3690"/>
                <a:gd name="T29" fmla="*/ 1004527 h 7882"/>
                <a:gd name="T30" fmla="*/ 0 w 3690"/>
                <a:gd name="T31" fmla="*/ 1004527 h 7882"/>
                <a:gd name="T32" fmla="*/ 0 w 3690"/>
                <a:gd name="T33" fmla="*/ 626975 h 7882"/>
                <a:gd name="T34" fmla="*/ 627280 w 3690"/>
                <a:gd name="T35" fmla="*/ 0 h 7882"/>
                <a:gd name="T36" fmla="*/ 701098 w 3690"/>
                <a:gd name="T37" fmla="*/ 0 h 7882"/>
                <a:gd name="T38" fmla="*/ 1328378 w 3690"/>
                <a:gd name="T39" fmla="*/ 626975 h 7882"/>
                <a:gd name="T40" fmla="*/ 1328378 w 3690"/>
                <a:gd name="T41" fmla="*/ 2805550 h 7882"/>
                <a:gd name="T42" fmla="*/ 937679 w 3690"/>
                <a:gd name="T43" fmla="*/ 2805550 h 7882"/>
                <a:gd name="T44" fmla="*/ 937679 w 3690"/>
                <a:gd name="T45" fmla="*/ 2630631 h 7882"/>
                <a:gd name="T46" fmla="*/ 459477 w 3690"/>
                <a:gd name="T47" fmla="*/ 2836503 h 7882"/>
                <a:gd name="T48" fmla="*/ 2161 w 3690"/>
                <a:gd name="T49" fmla="*/ 2348096 h 7882"/>
                <a:gd name="T50" fmla="*/ 2161 w 3690"/>
                <a:gd name="T51" fmla="*/ 1839174 h 7882"/>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3690" h="7882">
                  <a:moveTo>
                    <a:pt x="2604" y="6496"/>
                  </a:moveTo>
                  <a:lnTo>
                    <a:pt x="2604" y="3953"/>
                  </a:lnTo>
                  <a:lnTo>
                    <a:pt x="1619" y="4326"/>
                  </a:lnTo>
                  <a:cubicBezTo>
                    <a:pt x="1219" y="4483"/>
                    <a:pt x="1090" y="4683"/>
                    <a:pt x="1090" y="5125"/>
                  </a:cubicBezTo>
                  <a:lnTo>
                    <a:pt x="1090" y="6296"/>
                  </a:lnTo>
                  <a:cubicBezTo>
                    <a:pt x="1090" y="6667"/>
                    <a:pt x="1276" y="6852"/>
                    <a:pt x="1619" y="6852"/>
                  </a:cubicBezTo>
                  <a:cubicBezTo>
                    <a:pt x="1947" y="6852"/>
                    <a:pt x="2247" y="6738"/>
                    <a:pt x="2604" y="6496"/>
                  </a:cubicBezTo>
                  <a:close/>
                  <a:moveTo>
                    <a:pt x="6" y="5110"/>
                  </a:moveTo>
                  <a:cubicBezTo>
                    <a:pt x="6" y="4155"/>
                    <a:pt x="320" y="3769"/>
                    <a:pt x="1147" y="3484"/>
                  </a:cubicBezTo>
                  <a:lnTo>
                    <a:pt x="2604" y="2984"/>
                  </a:lnTo>
                  <a:lnTo>
                    <a:pt x="2604" y="1699"/>
                  </a:lnTo>
                  <a:cubicBezTo>
                    <a:pt x="2604" y="1242"/>
                    <a:pt x="2375" y="999"/>
                    <a:pt x="1918" y="999"/>
                  </a:cubicBezTo>
                  <a:lnTo>
                    <a:pt x="1742" y="999"/>
                  </a:lnTo>
                  <a:cubicBezTo>
                    <a:pt x="1285" y="999"/>
                    <a:pt x="1056" y="1242"/>
                    <a:pt x="1056" y="1699"/>
                  </a:cubicBezTo>
                  <a:lnTo>
                    <a:pt x="1056" y="2791"/>
                  </a:lnTo>
                  <a:lnTo>
                    <a:pt x="0" y="2791"/>
                  </a:lnTo>
                  <a:lnTo>
                    <a:pt x="0" y="1742"/>
                  </a:lnTo>
                  <a:cubicBezTo>
                    <a:pt x="0" y="585"/>
                    <a:pt x="586" y="0"/>
                    <a:pt x="1742" y="0"/>
                  </a:cubicBezTo>
                  <a:lnTo>
                    <a:pt x="1947" y="0"/>
                  </a:lnTo>
                  <a:cubicBezTo>
                    <a:pt x="3104" y="0"/>
                    <a:pt x="3689" y="585"/>
                    <a:pt x="3689" y="1742"/>
                  </a:cubicBezTo>
                  <a:lnTo>
                    <a:pt x="3689" y="7795"/>
                  </a:lnTo>
                  <a:lnTo>
                    <a:pt x="2604" y="7795"/>
                  </a:lnTo>
                  <a:lnTo>
                    <a:pt x="2604" y="7309"/>
                  </a:lnTo>
                  <a:cubicBezTo>
                    <a:pt x="2304" y="7595"/>
                    <a:pt x="1904" y="7881"/>
                    <a:pt x="1276" y="7881"/>
                  </a:cubicBezTo>
                  <a:cubicBezTo>
                    <a:pt x="406" y="7881"/>
                    <a:pt x="6" y="7381"/>
                    <a:pt x="6" y="6524"/>
                  </a:cubicBezTo>
                  <a:lnTo>
                    <a:pt x="6" y="5110"/>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endParaRPr lang="en-US"/>
            </a:p>
          </p:txBody>
        </p:sp>
        <p:sp>
          <p:nvSpPr>
            <p:cNvPr id="13" name="Freeform 4">
              <a:extLst>
                <a:ext uri="{FF2B5EF4-FFF2-40B4-BE49-F238E27FC236}">
                  <a16:creationId xmlns:a16="http://schemas.microsoft.com/office/drawing/2014/main" id="{2B8F30A1-B916-309D-1686-5E2FA6C9F4B3}"/>
                </a:ext>
              </a:extLst>
            </p:cNvPr>
            <p:cNvSpPr>
              <a:spLocks noChangeArrowheads="1"/>
            </p:cNvSpPr>
            <p:nvPr/>
          </p:nvSpPr>
          <p:spPr bwMode="auto">
            <a:xfrm>
              <a:off x="6292850" y="2035175"/>
              <a:ext cx="2262188" cy="2806700"/>
            </a:xfrm>
            <a:custGeom>
              <a:avLst/>
              <a:gdLst>
                <a:gd name="T0" fmla="*/ 1326358 w 6285"/>
                <a:gd name="T1" fmla="*/ 2806340 h 7796"/>
                <a:gd name="T2" fmla="*/ 935470 w 6285"/>
                <a:gd name="T3" fmla="*/ 2806340 h 7796"/>
                <a:gd name="T4" fmla="*/ 935470 w 6285"/>
                <a:gd name="T5" fmla="*/ 570628 h 7796"/>
                <a:gd name="T6" fmla="*/ 750463 w 6285"/>
                <a:gd name="T7" fmla="*/ 370098 h 7796"/>
                <a:gd name="T8" fmla="*/ 390889 w 6285"/>
                <a:gd name="T9" fmla="*/ 508705 h 7796"/>
                <a:gd name="T10" fmla="*/ 390889 w 6285"/>
                <a:gd name="T11" fmla="*/ 2806340 h 7796"/>
                <a:gd name="T12" fmla="*/ 0 w 6285"/>
                <a:gd name="T13" fmla="*/ 2806340 h 7796"/>
                <a:gd name="T14" fmla="*/ 0 w 6285"/>
                <a:gd name="T15" fmla="*/ 30602 h 7796"/>
                <a:gd name="T16" fmla="*/ 390889 w 6285"/>
                <a:gd name="T17" fmla="*/ 30602 h 7796"/>
                <a:gd name="T18" fmla="*/ 390889 w 6285"/>
                <a:gd name="T19" fmla="*/ 210611 h 7796"/>
                <a:gd name="T20" fmla="*/ 868882 w 6285"/>
                <a:gd name="T21" fmla="*/ 0 h 7796"/>
                <a:gd name="T22" fmla="*/ 1274888 w 6285"/>
                <a:gd name="T23" fmla="*/ 226091 h 7796"/>
                <a:gd name="T24" fmla="*/ 1804351 w 6285"/>
                <a:gd name="T25" fmla="*/ 0 h 7796"/>
                <a:gd name="T26" fmla="*/ 2261828 w 6285"/>
                <a:gd name="T27" fmla="*/ 488184 h 7796"/>
                <a:gd name="T28" fmla="*/ 2261828 w 6285"/>
                <a:gd name="T29" fmla="*/ 2806340 h 7796"/>
                <a:gd name="T30" fmla="*/ 1870939 w 6285"/>
                <a:gd name="T31" fmla="*/ 2806340 h 7796"/>
                <a:gd name="T32" fmla="*/ 1870939 w 6285"/>
                <a:gd name="T33" fmla="*/ 570628 h 7796"/>
                <a:gd name="T34" fmla="*/ 1685933 w 6285"/>
                <a:gd name="T35" fmla="*/ 370098 h 7796"/>
                <a:gd name="T36" fmla="*/ 1326358 w 6285"/>
                <a:gd name="T37" fmla="*/ 508705 h 7796"/>
                <a:gd name="T38" fmla="*/ 1326358 w 6285"/>
                <a:gd name="T39" fmla="*/ 2806340 h 779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6285" h="7796">
                  <a:moveTo>
                    <a:pt x="3685" y="7795"/>
                  </a:moveTo>
                  <a:lnTo>
                    <a:pt x="2599" y="7795"/>
                  </a:lnTo>
                  <a:lnTo>
                    <a:pt x="2599" y="1585"/>
                  </a:lnTo>
                  <a:cubicBezTo>
                    <a:pt x="2599" y="1199"/>
                    <a:pt x="2414" y="1028"/>
                    <a:pt x="2085" y="1028"/>
                  </a:cubicBezTo>
                  <a:cubicBezTo>
                    <a:pt x="1785" y="1028"/>
                    <a:pt x="1471" y="1142"/>
                    <a:pt x="1086" y="1413"/>
                  </a:cubicBezTo>
                  <a:lnTo>
                    <a:pt x="1086" y="7795"/>
                  </a:lnTo>
                  <a:lnTo>
                    <a:pt x="0" y="7795"/>
                  </a:lnTo>
                  <a:lnTo>
                    <a:pt x="0" y="85"/>
                  </a:lnTo>
                  <a:lnTo>
                    <a:pt x="1086" y="85"/>
                  </a:lnTo>
                  <a:lnTo>
                    <a:pt x="1086" y="585"/>
                  </a:lnTo>
                  <a:cubicBezTo>
                    <a:pt x="1400" y="285"/>
                    <a:pt x="1814" y="0"/>
                    <a:pt x="2414" y="0"/>
                  </a:cubicBezTo>
                  <a:cubicBezTo>
                    <a:pt x="2971" y="0"/>
                    <a:pt x="3342" y="228"/>
                    <a:pt x="3542" y="628"/>
                  </a:cubicBezTo>
                  <a:cubicBezTo>
                    <a:pt x="3928" y="299"/>
                    <a:pt x="4385" y="0"/>
                    <a:pt x="5013" y="0"/>
                  </a:cubicBezTo>
                  <a:cubicBezTo>
                    <a:pt x="5855" y="0"/>
                    <a:pt x="6284" y="514"/>
                    <a:pt x="6284" y="1356"/>
                  </a:cubicBezTo>
                  <a:lnTo>
                    <a:pt x="6284" y="7795"/>
                  </a:lnTo>
                  <a:lnTo>
                    <a:pt x="5198" y="7795"/>
                  </a:lnTo>
                  <a:lnTo>
                    <a:pt x="5198" y="1585"/>
                  </a:lnTo>
                  <a:cubicBezTo>
                    <a:pt x="5198" y="1199"/>
                    <a:pt x="5013" y="1028"/>
                    <a:pt x="4684" y="1028"/>
                  </a:cubicBezTo>
                  <a:cubicBezTo>
                    <a:pt x="4385" y="1028"/>
                    <a:pt x="4070" y="1142"/>
                    <a:pt x="3685" y="1413"/>
                  </a:cubicBezTo>
                  <a:lnTo>
                    <a:pt x="3685" y="7795"/>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endParaRPr lang="en-US"/>
            </a:p>
          </p:txBody>
        </p:sp>
        <p:sp>
          <p:nvSpPr>
            <p:cNvPr id="15" name="Freeform 5">
              <a:extLst>
                <a:ext uri="{FF2B5EF4-FFF2-40B4-BE49-F238E27FC236}">
                  <a16:creationId xmlns:a16="http://schemas.microsoft.com/office/drawing/2014/main" id="{5C2DA645-FACA-3538-9B53-6999687D1327}"/>
                </a:ext>
              </a:extLst>
            </p:cNvPr>
            <p:cNvSpPr>
              <a:spLocks noChangeArrowheads="1"/>
            </p:cNvSpPr>
            <p:nvPr/>
          </p:nvSpPr>
          <p:spPr bwMode="auto">
            <a:xfrm>
              <a:off x="14288" y="2322513"/>
              <a:ext cx="1004887" cy="2274887"/>
            </a:xfrm>
            <a:custGeom>
              <a:avLst/>
              <a:gdLst>
                <a:gd name="T0" fmla="*/ 1004527 w 2790"/>
                <a:gd name="T1" fmla="*/ 0 h 6317"/>
                <a:gd name="T2" fmla="*/ 1004527 w 2790"/>
                <a:gd name="T3" fmla="*/ 510652 h 6317"/>
                <a:gd name="T4" fmla="*/ 346488 w 2790"/>
                <a:gd name="T5" fmla="*/ 1137624 h 6317"/>
                <a:gd name="T6" fmla="*/ 1004527 w 2790"/>
                <a:gd name="T7" fmla="*/ 1752711 h 6317"/>
                <a:gd name="T8" fmla="*/ 1004527 w 2790"/>
                <a:gd name="T9" fmla="*/ 2274527 h 6317"/>
                <a:gd name="T10" fmla="*/ 0 w 2790"/>
                <a:gd name="T11" fmla="*/ 1331009 h 6317"/>
                <a:gd name="T12" fmla="*/ 0 w 2790"/>
                <a:gd name="T13" fmla="*/ 955042 h 6317"/>
                <a:gd name="T14" fmla="*/ 1004527 w 2790"/>
                <a:gd name="T15" fmla="*/ 0 h 6317"/>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2790" h="6317">
                  <a:moveTo>
                    <a:pt x="2789" y="0"/>
                  </a:moveTo>
                  <a:lnTo>
                    <a:pt x="2789" y="1418"/>
                  </a:lnTo>
                  <a:lnTo>
                    <a:pt x="962" y="3159"/>
                  </a:lnTo>
                  <a:lnTo>
                    <a:pt x="2789" y="4867"/>
                  </a:lnTo>
                  <a:lnTo>
                    <a:pt x="2789" y="6316"/>
                  </a:lnTo>
                  <a:lnTo>
                    <a:pt x="0" y="3696"/>
                  </a:lnTo>
                  <a:lnTo>
                    <a:pt x="0" y="2652"/>
                  </a:lnTo>
                  <a:lnTo>
                    <a:pt x="2789"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endParaRPr lang="en-US"/>
            </a:p>
          </p:txBody>
        </p:sp>
        <p:sp>
          <p:nvSpPr>
            <p:cNvPr id="18" name="Freeform 6">
              <a:extLst>
                <a:ext uri="{FF2B5EF4-FFF2-40B4-BE49-F238E27FC236}">
                  <a16:creationId xmlns:a16="http://schemas.microsoft.com/office/drawing/2014/main" id="{464CCA50-30C7-11E9-568B-59036016A0A7}"/>
                </a:ext>
              </a:extLst>
            </p:cNvPr>
            <p:cNvSpPr>
              <a:spLocks noChangeArrowheads="1"/>
            </p:cNvSpPr>
            <p:nvPr/>
          </p:nvSpPr>
          <p:spPr bwMode="auto">
            <a:xfrm>
              <a:off x="9050338" y="2322513"/>
              <a:ext cx="1003300" cy="2274887"/>
            </a:xfrm>
            <a:custGeom>
              <a:avLst/>
              <a:gdLst>
                <a:gd name="T0" fmla="*/ 1002940 w 2789"/>
                <a:gd name="T1" fmla="*/ 955042 h 6317"/>
                <a:gd name="T2" fmla="*/ 1002940 w 2789"/>
                <a:gd name="T3" fmla="*/ 1331009 h 6317"/>
                <a:gd name="T4" fmla="*/ 0 w 2789"/>
                <a:gd name="T5" fmla="*/ 2274527 h 6317"/>
                <a:gd name="T6" fmla="*/ 0 w 2789"/>
                <a:gd name="T7" fmla="*/ 1752711 h 6317"/>
                <a:gd name="T8" fmla="*/ 656876 w 2789"/>
                <a:gd name="T9" fmla="*/ 1137624 h 6317"/>
                <a:gd name="T10" fmla="*/ 0 w 2789"/>
                <a:gd name="T11" fmla="*/ 510652 h 6317"/>
                <a:gd name="T12" fmla="*/ 0 w 2789"/>
                <a:gd name="T13" fmla="*/ 0 h 6317"/>
                <a:gd name="T14" fmla="*/ 1002940 w 2789"/>
                <a:gd name="T15" fmla="*/ 955042 h 6317"/>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2789" h="6317">
                  <a:moveTo>
                    <a:pt x="2788" y="2652"/>
                  </a:moveTo>
                  <a:lnTo>
                    <a:pt x="2788" y="3696"/>
                  </a:lnTo>
                  <a:lnTo>
                    <a:pt x="0" y="6316"/>
                  </a:lnTo>
                  <a:lnTo>
                    <a:pt x="0" y="4867"/>
                  </a:lnTo>
                  <a:lnTo>
                    <a:pt x="1826" y="3159"/>
                  </a:lnTo>
                  <a:lnTo>
                    <a:pt x="0" y="1418"/>
                  </a:lnTo>
                  <a:lnTo>
                    <a:pt x="0" y="0"/>
                  </a:lnTo>
                  <a:lnTo>
                    <a:pt x="2788" y="2652"/>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endParaRPr lang="en-US"/>
            </a:p>
          </p:txBody>
        </p:sp>
      </p:grpSp>
      <p:sp>
        <p:nvSpPr>
          <p:cNvPr id="19" name="Footer Placeholder 14">
            <a:extLst>
              <a:ext uri="{FF2B5EF4-FFF2-40B4-BE49-F238E27FC236}">
                <a16:creationId xmlns:a16="http://schemas.microsoft.com/office/drawing/2014/main" id="{F2334471-9E1B-0D9C-64E3-DE2DBF6BE378}"/>
              </a:ext>
            </a:extLst>
          </p:cNvPr>
          <p:cNvSpPr txBox="1">
            <a:spLocks/>
          </p:cNvSpPr>
          <p:nvPr userDrawn="1"/>
        </p:nvSpPr>
        <p:spPr>
          <a:xfrm>
            <a:off x="1206203" y="6411603"/>
            <a:ext cx="2157779" cy="228599"/>
          </a:xfrm>
          <a:prstGeom prst="rect">
            <a:avLst/>
          </a:prstGeom>
        </p:spPr>
        <p:txBody>
          <a:bodyPr vert="horz" lIns="0" tIns="0" rIns="0" bIns="0" rtlCol="0" anchor="ctr"/>
          <a:lstStyle>
            <a:defPPr>
              <a:defRPr lang="en-US"/>
            </a:defPPr>
            <a:lvl1pPr marL="0" algn="r" defTabSz="914400" rtl="0" eaLnBrk="1" latinLnBrk="0" hangingPunct="1">
              <a:defRPr sz="600" b="0" i="0" kern="1200">
                <a:solidFill>
                  <a:schemeClr val="tx1"/>
                </a:solidFill>
                <a:latin typeface="+mn-lt"/>
                <a:ea typeface="Calibri" panose="020F0502020204030204" pitchFamily="34" charset="0"/>
                <a:cs typeface="Calibri" panose="020F050202020403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b="0" i="0">
                <a:solidFill>
                  <a:schemeClr val="bg1"/>
                </a:solidFill>
                <a:latin typeface="+mn-lt"/>
              </a:rPr>
              <a:t>EPAM Proprietary &amp; Confidential</a:t>
            </a:r>
            <a:r>
              <a:rPr lang="ru-RU" b="0" i="0">
                <a:solidFill>
                  <a:schemeClr val="bg1"/>
                </a:solidFill>
                <a:latin typeface="+mn-lt"/>
              </a:rPr>
              <a:t> </a:t>
            </a:r>
            <a:endParaRPr lang="en-US" b="0" i="0">
              <a:solidFill>
                <a:schemeClr val="bg1"/>
              </a:solidFill>
              <a:latin typeface="+mn-lt"/>
            </a:endParaRPr>
          </a:p>
        </p:txBody>
      </p:sp>
      <p:pic>
        <p:nvPicPr>
          <p:cNvPr id="22" name="Graphic 21">
            <a:extLst>
              <a:ext uri="{FF2B5EF4-FFF2-40B4-BE49-F238E27FC236}">
                <a16:creationId xmlns:a16="http://schemas.microsoft.com/office/drawing/2014/main" id="{49EECED6-A168-19F8-A97C-C60A86D7CF6E}"/>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820266" y="6419060"/>
            <a:ext cx="762921" cy="205636"/>
          </a:xfrm>
          <a:prstGeom prst="rect">
            <a:avLst/>
          </a:prstGeom>
        </p:spPr>
      </p:pic>
    </p:spTree>
    <p:extLst>
      <p:ext uri="{BB962C8B-B14F-4D97-AF65-F5344CB8AC3E}">
        <p14:creationId xmlns:p14="http://schemas.microsoft.com/office/powerpoint/2010/main" val="670134021"/>
      </p:ext>
    </p:extLst>
  </p:cSld>
  <p:clrMapOvr>
    <a:masterClrMapping/>
  </p:clrMapOvr>
  <p:extLst>
    <p:ext uri="{DCECCB84-F9BA-43D5-87BE-67443E8EF086}">
      <p15:sldGuideLst xmlns:p15="http://schemas.microsoft.com/office/powerpoint/2012/main"/>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3_Col_1_Photo_LM">
    <p:bg>
      <p:bgPr>
        <a:solidFill>
          <a:schemeClr val="bg1"/>
        </a:solidFill>
        <a:effectLst/>
      </p:bgPr>
    </p:bg>
    <p:spTree>
      <p:nvGrpSpPr>
        <p:cNvPr id="1" name=""/>
        <p:cNvGrpSpPr/>
        <p:nvPr/>
      </p:nvGrpSpPr>
      <p:grpSpPr>
        <a:xfrm>
          <a:off x="0" y="0"/>
          <a:ext cx="0" cy="0"/>
          <a:chOff x="0" y="0"/>
          <a:chExt cx="0" cy="0"/>
        </a:xfrm>
      </p:grpSpPr>
      <p:sp>
        <p:nvSpPr>
          <p:cNvPr id="9" name="Text Placeholder 4">
            <a:extLst>
              <a:ext uri="{FF2B5EF4-FFF2-40B4-BE49-F238E27FC236}">
                <a16:creationId xmlns:a16="http://schemas.microsoft.com/office/drawing/2014/main" id="{DBBECED4-4691-EAD7-0FFE-7393254BBDC9}"/>
              </a:ext>
            </a:extLst>
          </p:cNvPr>
          <p:cNvSpPr>
            <a:spLocks noGrp="1"/>
          </p:cNvSpPr>
          <p:nvPr>
            <p:ph type="body" sz="quarter" idx="26" hasCustomPrompt="1"/>
          </p:nvPr>
        </p:nvSpPr>
        <p:spPr>
          <a:xfrm>
            <a:off x="647700" y="1752600"/>
            <a:ext cx="3346076" cy="553998"/>
          </a:xfrm>
          <a:prstGeom prst="rect">
            <a:avLst/>
          </a:prstGeom>
        </p:spPr>
        <p:txBody>
          <a:bodyPr wrap="square" anchor="t" anchorCtr="0">
            <a:spAutoFit/>
          </a:bodyPr>
          <a:lstStyle>
            <a:lvl1pPr marL="0" marR="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sz="1800" b="1" i="0">
                <a:solidFill>
                  <a:schemeClr val="tx1"/>
                </a:solidFill>
                <a:latin typeface="Calibri" panose="020F0502020204030204" pitchFamily="34" charset="0"/>
                <a:cs typeface="Calibri" panose="020F0502020204030204" pitchFamily="34" charset="0"/>
              </a:defRPr>
            </a:lvl1pPr>
          </a:lstStyle>
          <a:p>
            <a:r>
              <a:rPr lang="en-US"/>
              <a:t>Lorem ipsum </a:t>
            </a:r>
            <a:r>
              <a:rPr lang="en-US" err="1"/>
              <a:t>nulla</a:t>
            </a:r>
            <a:r>
              <a:rPr lang="en-US"/>
              <a:t> </a:t>
            </a:r>
            <a:r>
              <a:rPr lang="en-US" err="1"/>
              <a:t>primis</a:t>
            </a:r>
            <a:r>
              <a:rPr lang="en-US"/>
              <a:t> eros mi </a:t>
            </a:r>
            <a:r>
              <a:rPr lang="en-US" err="1"/>
              <a:t>maecenas</a:t>
            </a:r>
            <a:r>
              <a:rPr lang="en-US"/>
              <a:t> ligula magna.</a:t>
            </a:r>
          </a:p>
        </p:txBody>
      </p:sp>
      <p:sp>
        <p:nvSpPr>
          <p:cNvPr id="10" name="Text Placeholder 4">
            <a:extLst>
              <a:ext uri="{FF2B5EF4-FFF2-40B4-BE49-F238E27FC236}">
                <a16:creationId xmlns:a16="http://schemas.microsoft.com/office/drawing/2014/main" id="{31E7CDA2-C04C-57C2-B779-676BA576EFB7}"/>
              </a:ext>
            </a:extLst>
          </p:cNvPr>
          <p:cNvSpPr>
            <a:spLocks noGrp="1"/>
          </p:cNvSpPr>
          <p:nvPr>
            <p:ph type="body" sz="quarter" idx="27" hasCustomPrompt="1"/>
          </p:nvPr>
        </p:nvSpPr>
        <p:spPr>
          <a:xfrm>
            <a:off x="4393692" y="2698291"/>
            <a:ext cx="3346076" cy="2035109"/>
          </a:xfrm>
          <a:prstGeom prst="rect">
            <a:avLst/>
          </a:prstGeom>
        </p:spPr>
        <p:txBody>
          <a:bodyPr wrap="square" anchor="t" anchorCtr="0">
            <a:spAutoFit/>
          </a:bodyPr>
          <a:lstStyle>
            <a:lvl1pPr marL="0" marR="0" indent="0" algn="l" defTabSz="914400" rtl="0" eaLnBrk="1" fontAlgn="auto" latinLnBrk="0" hangingPunct="1">
              <a:lnSpc>
                <a:spcPts val="2000"/>
              </a:lnSpc>
              <a:spcBef>
                <a:spcPts val="600"/>
              </a:spcBef>
              <a:spcAft>
                <a:spcPts val="0"/>
              </a:spcAft>
              <a:buClrTx/>
              <a:buSzTx/>
              <a:buFont typeface="Arial" panose="020B0604020202020204" pitchFamily="34" charset="0"/>
              <a:buNone/>
              <a:tabLst/>
              <a:defRPr sz="1400" b="0" i="0">
                <a:solidFill>
                  <a:schemeClr val="tx1"/>
                </a:solidFill>
                <a:latin typeface="Calibri Light" panose="020F0302020204030204" pitchFamily="34" charset="0"/>
                <a:cs typeface="Calibri Light" panose="020F0302020204030204" pitchFamily="34" charset="0"/>
              </a:defRPr>
            </a:lvl1pPr>
          </a:lstStyle>
          <a:p>
            <a:r>
              <a:rPr lang="en-US"/>
              <a:t>Lorem ipsum </a:t>
            </a:r>
            <a:r>
              <a:rPr lang="en-US" err="1"/>
              <a:t>nulla</a:t>
            </a:r>
            <a:r>
              <a:rPr lang="en-US"/>
              <a:t> </a:t>
            </a:r>
            <a:r>
              <a:rPr lang="en-US" err="1"/>
              <a:t>primis</a:t>
            </a:r>
            <a:r>
              <a:rPr lang="en-US"/>
              <a:t> eros mi </a:t>
            </a:r>
            <a:r>
              <a:rPr lang="en-US" err="1"/>
              <a:t>maecenas</a:t>
            </a:r>
            <a:r>
              <a:rPr lang="en-US"/>
              <a:t> ligula magna, </a:t>
            </a:r>
            <a:r>
              <a:rPr lang="en-US" err="1"/>
              <a:t>nibh</a:t>
            </a:r>
            <a:r>
              <a:rPr lang="en-US"/>
              <a:t> </a:t>
            </a:r>
            <a:r>
              <a:rPr lang="en-US" err="1"/>
              <a:t>commodo</a:t>
            </a:r>
            <a:r>
              <a:rPr lang="en-US"/>
              <a:t> </a:t>
            </a:r>
            <a:r>
              <a:rPr lang="en-US" err="1"/>
              <a:t>aenean</a:t>
            </a:r>
            <a:r>
              <a:rPr lang="en-US"/>
              <a:t> </a:t>
            </a:r>
            <a:r>
              <a:rPr lang="en-US" err="1"/>
              <a:t>leo</a:t>
            </a:r>
            <a:r>
              <a:rPr lang="en-US"/>
              <a:t> porta </a:t>
            </a:r>
            <a:r>
              <a:rPr lang="en-US" err="1"/>
              <a:t>duis</a:t>
            </a:r>
            <a:r>
              <a:rPr lang="en-US"/>
              <a:t> magna </a:t>
            </a:r>
            <a:r>
              <a:rPr lang="en-US" err="1"/>
              <a:t>felis</a:t>
            </a:r>
            <a:r>
              <a:rPr lang="en-US"/>
              <a:t> </a:t>
            </a:r>
            <a:r>
              <a:rPr lang="en-US" err="1"/>
              <a:t>bibendum</a:t>
            </a:r>
            <a:r>
              <a:rPr lang="en-US"/>
              <a:t> </a:t>
            </a:r>
            <a:r>
              <a:rPr lang="en-US" err="1"/>
              <a:t>tempor</a:t>
            </a:r>
            <a:r>
              <a:rPr lang="en-US"/>
              <a:t> </a:t>
            </a:r>
            <a:r>
              <a:rPr lang="en-US" err="1"/>
              <a:t>cubilia</a:t>
            </a:r>
            <a:r>
              <a:rPr lang="en-US"/>
              <a:t> gravida </a:t>
            </a:r>
            <a:r>
              <a:rPr lang="en-US" err="1"/>
              <a:t>molestie</a:t>
            </a:r>
            <a:r>
              <a:rPr lang="en-US"/>
              <a:t> a </a:t>
            </a:r>
            <a:r>
              <a:rPr lang="en-US" err="1"/>
              <a:t>pretium</a:t>
            </a:r>
            <a:r>
              <a:rPr lang="en-US"/>
              <a:t> </a:t>
            </a:r>
            <a:r>
              <a:rPr lang="en-US" err="1"/>
              <a:t>egestas</a:t>
            </a:r>
            <a:r>
              <a:rPr lang="en-US"/>
              <a:t> </a:t>
            </a:r>
            <a:r>
              <a:rPr lang="en-US" err="1"/>
              <a:t>iaculis</a:t>
            </a:r>
            <a:r>
              <a:rPr lang="en-US"/>
              <a:t> per, eros sit </a:t>
            </a:r>
            <a:r>
              <a:rPr lang="en-US" err="1"/>
              <a:t>leo</a:t>
            </a:r>
            <a:r>
              <a:rPr lang="en-US"/>
              <a:t> </a:t>
            </a:r>
            <a:r>
              <a:rPr lang="en-US" err="1"/>
              <a:t>augue</a:t>
            </a:r>
            <a:r>
              <a:rPr lang="en-US"/>
              <a:t> tempus </a:t>
            </a:r>
            <a:r>
              <a:rPr lang="en-US" err="1"/>
              <a:t>consectetur</a:t>
            </a:r>
            <a:r>
              <a:rPr lang="en-US"/>
              <a:t> </a:t>
            </a:r>
            <a:r>
              <a:rPr lang="en-US" err="1"/>
              <a:t>primis</a:t>
            </a:r>
            <a:r>
              <a:rPr lang="en-US"/>
              <a:t> dolor ac </a:t>
            </a:r>
            <a:r>
              <a:rPr lang="en-US" err="1"/>
              <a:t>euismod</a:t>
            </a:r>
            <a:r>
              <a:rPr lang="en-US"/>
              <a:t> </a:t>
            </a:r>
            <a:r>
              <a:rPr lang="en-US" err="1"/>
              <a:t>accumsan</a:t>
            </a:r>
            <a:r>
              <a:rPr lang="en-US"/>
              <a:t>, </a:t>
            </a:r>
            <a:r>
              <a:rPr lang="en-US" err="1"/>
              <a:t>vivamus</a:t>
            </a:r>
            <a:r>
              <a:rPr lang="en-US"/>
              <a:t> </a:t>
            </a:r>
            <a:r>
              <a:rPr lang="en-US" err="1"/>
              <a:t>feugiat</a:t>
            </a:r>
            <a:r>
              <a:rPr lang="en-US"/>
              <a:t> </a:t>
            </a:r>
            <a:r>
              <a:rPr lang="en-US" err="1"/>
              <a:t>elit</a:t>
            </a:r>
            <a:r>
              <a:rPr lang="en-US"/>
              <a:t> </a:t>
            </a:r>
            <a:r>
              <a:rPr lang="en-US" err="1"/>
              <a:t>luctus</a:t>
            </a:r>
            <a:r>
              <a:rPr lang="en-US"/>
              <a:t> libero </a:t>
            </a:r>
            <a:r>
              <a:rPr lang="en-US" err="1"/>
              <a:t>duis</a:t>
            </a:r>
            <a:r>
              <a:rPr lang="en-US"/>
              <a:t> </a:t>
            </a:r>
            <a:r>
              <a:rPr lang="en-US" err="1"/>
              <a:t>elementum</a:t>
            </a:r>
            <a:r>
              <a:rPr lang="en-US"/>
              <a:t> </a:t>
            </a:r>
            <a:r>
              <a:rPr lang="en-US" err="1"/>
              <a:t>etiam</a:t>
            </a:r>
            <a:r>
              <a:rPr lang="en-US"/>
              <a:t> lorem cursus </a:t>
            </a:r>
            <a:r>
              <a:rPr lang="en-US" err="1"/>
              <a:t>hendrerit</a:t>
            </a:r>
            <a:r>
              <a:rPr lang="en-US"/>
              <a:t> </a:t>
            </a:r>
            <a:r>
              <a:rPr lang="en-US" err="1"/>
              <a:t>curae</a:t>
            </a:r>
            <a:r>
              <a:rPr lang="en-US"/>
              <a:t> </a:t>
            </a:r>
            <a:r>
              <a:rPr lang="en-US" err="1"/>
              <a:t>primis</a:t>
            </a:r>
            <a:r>
              <a:rPr lang="en-US"/>
              <a:t> </a:t>
            </a:r>
            <a:r>
              <a:rPr lang="en-US" err="1"/>
              <a:t>cubilia</a:t>
            </a:r>
            <a:r>
              <a:rPr lang="en-US"/>
              <a:t>.</a:t>
            </a:r>
          </a:p>
        </p:txBody>
      </p:sp>
      <p:sp>
        <p:nvSpPr>
          <p:cNvPr id="11" name="Text Placeholder 4">
            <a:extLst>
              <a:ext uri="{FF2B5EF4-FFF2-40B4-BE49-F238E27FC236}">
                <a16:creationId xmlns:a16="http://schemas.microsoft.com/office/drawing/2014/main" id="{51F377A5-B459-0F7C-7F34-FEF9D7615202}"/>
              </a:ext>
            </a:extLst>
          </p:cNvPr>
          <p:cNvSpPr>
            <a:spLocks noGrp="1"/>
          </p:cNvSpPr>
          <p:nvPr>
            <p:ph type="body" sz="quarter" idx="28" hasCustomPrompt="1"/>
          </p:nvPr>
        </p:nvSpPr>
        <p:spPr>
          <a:xfrm>
            <a:off x="4393692" y="1752600"/>
            <a:ext cx="3346076" cy="553998"/>
          </a:xfrm>
          <a:prstGeom prst="rect">
            <a:avLst/>
          </a:prstGeom>
        </p:spPr>
        <p:txBody>
          <a:bodyPr wrap="square" anchor="t" anchorCtr="0">
            <a:spAutoFit/>
          </a:bodyPr>
          <a:lstStyle>
            <a:lvl1pPr marL="0" marR="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sz="1800" b="1" i="0">
                <a:solidFill>
                  <a:schemeClr val="tx1"/>
                </a:solidFill>
                <a:latin typeface="Calibri" panose="020F0502020204030204" pitchFamily="34" charset="0"/>
                <a:cs typeface="Calibri" panose="020F0502020204030204" pitchFamily="34" charset="0"/>
              </a:defRPr>
            </a:lvl1pPr>
          </a:lstStyle>
          <a:p>
            <a:r>
              <a:rPr lang="en-US"/>
              <a:t>Lorem ipsum </a:t>
            </a:r>
            <a:r>
              <a:rPr lang="en-US" err="1"/>
              <a:t>nulla</a:t>
            </a:r>
            <a:r>
              <a:rPr lang="en-US"/>
              <a:t> </a:t>
            </a:r>
            <a:r>
              <a:rPr lang="en-US" err="1"/>
              <a:t>primis</a:t>
            </a:r>
            <a:r>
              <a:rPr lang="en-US"/>
              <a:t> eros mi </a:t>
            </a:r>
            <a:r>
              <a:rPr lang="en-US" err="1"/>
              <a:t>maecenas</a:t>
            </a:r>
            <a:r>
              <a:rPr lang="en-US"/>
              <a:t> ligula magna.</a:t>
            </a:r>
          </a:p>
        </p:txBody>
      </p:sp>
      <p:sp>
        <p:nvSpPr>
          <p:cNvPr id="12" name="Text Placeholder 4">
            <a:extLst>
              <a:ext uri="{FF2B5EF4-FFF2-40B4-BE49-F238E27FC236}">
                <a16:creationId xmlns:a16="http://schemas.microsoft.com/office/drawing/2014/main" id="{BFE36997-E074-D0DA-66D5-F4724D23BF52}"/>
              </a:ext>
            </a:extLst>
          </p:cNvPr>
          <p:cNvSpPr>
            <a:spLocks noGrp="1"/>
          </p:cNvSpPr>
          <p:nvPr>
            <p:ph type="body" sz="quarter" idx="29" hasCustomPrompt="1"/>
          </p:nvPr>
        </p:nvSpPr>
        <p:spPr>
          <a:xfrm>
            <a:off x="8150352" y="2698291"/>
            <a:ext cx="3346076" cy="2035109"/>
          </a:xfrm>
          <a:prstGeom prst="rect">
            <a:avLst/>
          </a:prstGeom>
        </p:spPr>
        <p:txBody>
          <a:bodyPr wrap="square" anchor="t" anchorCtr="0">
            <a:spAutoFit/>
          </a:bodyPr>
          <a:lstStyle>
            <a:lvl1pPr marL="0" marR="0" indent="0" algn="l" defTabSz="914400" rtl="0" eaLnBrk="1" fontAlgn="auto" latinLnBrk="0" hangingPunct="1">
              <a:lnSpc>
                <a:spcPts val="2000"/>
              </a:lnSpc>
              <a:spcBef>
                <a:spcPts val="600"/>
              </a:spcBef>
              <a:spcAft>
                <a:spcPts val="0"/>
              </a:spcAft>
              <a:buClrTx/>
              <a:buSzTx/>
              <a:buFont typeface="Arial" panose="020B0604020202020204" pitchFamily="34" charset="0"/>
              <a:buNone/>
              <a:tabLst/>
              <a:defRPr sz="1400" b="0" i="0">
                <a:solidFill>
                  <a:schemeClr val="tx1"/>
                </a:solidFill>
                <a:latin typeface="Calibri Light" panose="020F0302020204030204" pitchFamily="34" charset="0"/>
                <a:cs typeface="Calibri Light" panose="020F0302020204030204" pitchFamily="34" charset="0"/>
              </a:defRPr>
            </a:lvl1pPr>
          </a:lstStyle>
          <a:p>
            <a:r>
              <a:rPr lang="en-US"/>
              <a:t>Lorem ipsum </a:t>
            </a:r>
            <a:r>
              <a:rPr lang="en-US" err="1"/>
              <a:t>nulla</a:t>
            </a:r>
            <a:r>
              <a:rPr lang="en-US"/>
              <a:t> </a:t>
            </a:r>
            <a:r>
              <a:rPr lang="en-US" err="1"/>
              <a:t>primis</a:t>
            </a:r>
            <a:r>
              <a:rPr lang="en-US"/>
              <a:t> eros mi </a:t>
            </a:r>
            <a:r>
              <a:rPr lang="en-US" err="1"/>
              <a:t>maecenas</a:t>
            </a:r>
            <a:r>
              <a:rPr lang="en-US"/>
              <a:t> ligula magna, </a:t>
            </a:r>
            <a:r>
              <a:rPr lang="en-US" err="1"/>
              <a:t>nibh</a:t>
            </a:r>
            <a:r>
              <a:rPr lang="en-US"/>
              <a:t> </a:t>
            </a:r>
            <a:r>
              <a:rPr lang="en-US" err="1"/>
              <a:t>commodo</a:t>
            </a:r>
            <a:r>
              <a:rPr lang="en-US"/>
              <a:t> </a:t>
            </a:r>
            <a:r>
              <a:rPr lang="en-US" err="1"/>
              <a:t>aenean</a:t>
            </a:r>
            <a:r>
              <a:rPr lang="en-US"/>
              <a:t> </a:t>
            </a:r>
            <a:r>
              <a:rPr lang="en-US" err="1"/>
              <a:t>leo</a:t>
            </a:r>
            <a:r>
              <a:rPr lang="en-US"/>
              <a:t> porta </a:t>
            </a:r>
            <a:r>
              <a:rPr lang="en-US" err="1"/>
              <a:t>duis</a:t>
            </a:r>
            <a:r>
              <a:rPr lang="en-US"/>
              <a:t> magna </a:t>
            </a:r>
            <a:r>
              <a:rPr lang="en-US" err="1"/>
              <a:t>felis</a:t>
            </a:r>
            <a:r>
              <a:rPr lang="en-US"/>
              <a:t> </a:t>
            </a:r>
            <a:r>
              <a:rPr lang="en-US" err="1"/>
              <a:t>bibendum</a:t>
            </a:r>
            <a:r>
              <a:rPr lang="en-US"/>
              <a:t> </a:t>
            </a:r>
            <a:r>
              <a:rPr lang="en-US" err="1"/>
              <a:t>tempor</a:t>
            </a:r>
            <a:r>
              <a:rPr lang="en-US"/>
              <a:t> </a:t>
            </a:r>
            <a:r>
              <a:rPr lang="en-US" err="1"/>
              <a:t>cubilia</a:t>
            </a:r>
            <a:r>
              <a:rPr lang="en-US"/>
              <a:t> gravida </a:t>
            </a:r>
            <a:r>
              <a:rPr lang="en-US" err="1"/>
              <a:t>molestie</a:t>
            </a:r>
            <a:r>
              <a:rPr lang="en-US"/>
              <a:t> a </a:t>
            </a:r>
            <a:r>
              <a:rPr lang="en-US" err="1"/>
              <a:t>pretium</a:t>
            </a:r>
            <a:r>
              <a:rPr lang="en-US"/>
              <a:t> </a:t>
            </a:r>
            <a:r>
              <a:rPr lang="en-US" err="1"/>
              <a:t>egestas</a:t>
            </a:r>
            <a:r>
              <a:rPr lang="en-US"/>
              <a:t> </a:t>
            </a:r>
            <a:r>
              <a:rPr lang="en-US" err="1"/>
              <a:t>iaculis</a:t>
            </a:r>
            <a:r>
              <a:rPr lang="en-US"/>
              <a:t> per, eros sit </a:t>
            </a:r>
            <a:r>
              <a:rPr lang="en-US" err="1"/>
              <a:t>leo</a:t>
            </a:r>
            <a:r>
              <a:rPr lang="en-US"/>
              <a:t> </a:t>
            </a:r>
            <a:r>
              <a:rPr lang="en-US" err="1"/>
              <a:t>augue</a:t>
            </a:r>
            <a:r>
              <a:rPr lang="en-US"/>
              <a:t> tempus </a:t>
            </a:r>
            <a:r>
              <a:rPr lang="en-US" err="1"/>
              <a:t>consectetur</a:t>
            </a:r>
            <a:r>
              <a:rPr lang="en-US"/>
              <a:t> </a:t>
            </a:r>
            <a:r>
              <a:rPr lang="en-US" err="1"/>
              <a:t>primis</a:t>
            </a:r>
            <a:r>
              <a:rPr lang="en-US"/>
              <a:t> dolor ac </a:t>
            </a:r>
            <a:r>
              <a:rPr lang="en-US" err="1"/>
              <a:t>euismod</a:t>
            </a:r>
            <a:r>
              <a:rPr lang="en-US"/>
              <a:t> </a:t>
            </a:r>
            <a:r>
              <a:rPr lang="en-US" err="1"/>
              <a:t>accumsan</a:t>
            </a:r>
            <a:r>
              <a:rPr lang="en-US"/>
              <a:t>, </a:t>
            </a:r>
            <a:r>
              <a:rPr lang="en-US" err="1"/>
              <a:t>vivamus</a:t>
            </a:r>
            <a:r>
              <a:rPr lang="en-US"/>
              <a:t> </a:t>
            </a:r>
            <a:r>
              <a:rPr lang="en-US" err="1"/>
              <a:t>feugiat</a:t>
            </a:r>
            <a:r>
              <a:rPr lang="en-US"/>
              <a:t> </a:t>
            </a:r>
            <a:r>
              <a:rPr lang="en-US" err="1"/>
              <a:t>elit</a:t>
            </a:r>
            <a:r>
              <a:rPr lang="en-US"/>
              <a:t> </a:t>
            </a:r>
            <a:r>
              <a:rPr lang="en-US" err="1"/>
              <a:t>luctus</a:t>
            </a:r>
            <a:r>
              <a:rPr lang="en-US"/>
              <a:t> libero </a:t>
            </a:r>
            <a:r>
              <a:rPr lang="en-US" err="1"/>
              <a:t>duis</a:t>
            </a:r>
            <a:r>
              <a:rPr lang="en-US"/>
              <a:t> </a:t>
            </a:r>
            <a:r>
              <a:rPr lang="en-US" err="1"/>
              <a:t>elementum</a:t>
            </a:r>
            <a:r>
              <a:rPr lang="en-US"/>
              <a:t> </a:t>
            </a:r>
            <a:r>
              <a:rPr lang="en-US" err="1"/>
              <a:t>etiam</a:t>
            </a:r>
            <a:r>
              <a:rPr lang="en-US"/>
              <a:t> lorem cursus </a:t>
            </a:r>
            <a:r>
              <a:rPr lang="en-US" err="1"/>
              <a:t>hendrerit</a:t>
            </a:r>
            <a:r>
              <a:rPr lang="en-US"/>
              <a:t> </a:t>
            </a:r>
            <a:r>
              <a:rPr lang="en-US" err="1"/>
              <a:t>curae</a:t>
            </a:r>
            <a:r>
              <a:rPr lang="en-US"/>
              <a:t> </a:t>
            </a:r>
            <a:r>
              <a:rPr lang="en-US" err="1"/>
              <a:t>primis</a:t>
            </a:r>
            <a:r>
              <a:rPr lang="en-US"/>
              <a:t> </a:t>
            </a:r>
            <a:r>
              <a:rPr lang="en-US" err="1"/>
              <a:t>cubilia</a:t>
            </a:r>
            <a:r>
              <a:rPr lang="en-US"/>
              <a:t>.</a:t>
            </a:r>
          </a:p>
        </p:txBody>
      </p:sp>
      <p:sp>
        <p:nvSpPr>
          <p:cNvPr id="13" name="Text Placeholder 4">
            <a:extLst>
              <a:ext uri="{FF2B5EF4-FFF2-40B4-BE49-F238E27FC236}">
                <a16:creationId xmlns:a16="http://schemas.microsoft.com/office/drawing/2014/main" id="{163741EA-6845-0A00-EAE0-5F35986A0EC2}"/>
              </a:ext>
            </a:extLst>
          </p:cNvPr>
          <p:cNvSpPr>
            <a:spLocks noGrp="1"/>
          </p:cNvSpPr>
          <p:nvPr>
            <p:ph type="body" sz="quarter" idx="30" hasCustomPrompt="1"/>
          </p:nvPr>
        </p:nvSpPr>
        <p:spPr>
          <a:xfrm>
            <a:off x="8150352" y="1752600"/>
            <a:ext cx="3346076" cy="553998"/>
          </a:xfrm>
          <a:prstGeom prst="rect">
            <a:avLst/>
          </a:prstGeom>
        </p:spPr>
        <p:txBody>
          <a:bodyPr wrap="square" anchor="t" anchorCtr="0">
            <a:spAutoFit/>
          </a:bodyPr>
          <a:lstStyle>
            <a:lvl1pPr marL="0" marR="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sz="1800" b="1" i="0">
                <a:solidFill>
                  <a:schemeClr val="tx1"/>
                </a:solidFill>
                <a:latin typeface="Calibri" panose="020F0502020204030204" pitchFamily="34" charset="0"/>
                <a:cs typeface="Calibri" panose="020F0502020204030204" pitchFamily="34" charset="0"/>
              </a:defRPr>
            </a:lvl1pPr>
          </a:lstStyle>
          <a:p>
            <a:r>
              <a:rPr lang="en-US"/>
              <a:t>Lorem ipsum </a:t>
            </a:r>
            <a:r>
              <a:rPr lang="en-US" err="1"/>
              <a:t>nulla</a:t>
            </a:r>
            <a:r>
              <a:rPr lang="en-US"/>
              <a:t> </a:t>
            </a:r>
            <a:r>
              <a:rPr lang="en-US" err="1"/>
              <a:t>primis</a:t>
            </a:r>
            <a:r>
              <a:rPr lang="en-US"/>
              <a:t> eros mi </a:t>
            </a:r>
            <a:r>
              <a:rPr lang="en-US" err="1"/>
              <a:t>maecenas</a:t>
            </a:r>
            <a:r>
              <a:rPr lang="en-US"/>
              <a:t> ligula magna.</a:t>
            </a:r>
          </a:p>
        </p:txBody>
      </p:sp>
      <p:sp>
        <p:nvSpPr>
          <p:cNvPr id="4" name="Picture Placeholder 3">
            <a:extLst>
              <a:ext uri="{FF2B5EF4-FFF2-40B4-BE49-F238E27FC236}">
                <a16:creationId xmlns:a16="http://schemas.microsoft.com/office/drawing/2014/main" id="{3CA9DA82-9FD9-26A5-10CB-6B8054B04BBA}"/>
              </a:ext>
            </a:extLst>
          </p:cNvPr>
          <p:cNvSpPr>
            <a:spLocks noGrp="1"/>
          </p:cNvSpPr>
          <p:nvPr>
            <p:ph type="pic" sz="quarter" idx="31"/>
          </p:nvPr>
        </p:nvSpPr>
        <p:spPr>
          <a:xfrm>
            <a:off x="647700" y="2682874"/>
            <a:ext cx="3363468" cy="3035173"/>
          </a:xfrm>
          <a:prstGeom prst="rect">
            <a:avLst/>
          </a:prstGeom>
        </p:spPr>
        <p:txBody>
          <a:bodyPr/>
          <a:lstStyle>
            <a:lvl1pPr>
              <a:defRPr>
                <a:solidFill>
                  <a:schemeClr val="tx1"/>
                </a:solidFill>
              </a:defRPr>
            </a:lvl1pPr>
          </a:lstStyle>
          <a:p>
            <a:endParaRPr lang="en-US"/>
          </a:p>
        </p:txBody>
      </p:sp>
      <p:sp>
        <p:nvSpPr>
          <p:cNvPr id="8" name="Title 1">
            <a:extLst>
              <a:ext uri="{FF2B5EF4-FFF2-40B4-BE49-F238E27FC236}">
                <a16:creationId xmlns:a16="http://schemas.microsoft.com/office/drawing/2014/main" id="{3C16A624-76E5-7B65-73F9-EF183C0B1CC0}"/>
              </a:ext>
            </a:extLst>
          </p:cNvPr>
          <p:cNvSpPr>
            <a:spLocks noGrp="1"/>
          </p:cNvSpPr>
          <p:nvPr>
            <p:ph type="title" hasCustomPrompt="1"/>
          </p:nvPr>
        </p:nvSpPr>
        <p:spPr>
          <a:xfrm>
            <a:off x="633632" y="722843"/>
            <a:ext cx="10963056" cy="338554"/>
          </a:xfrm>
          <a:prstGeom prst="rect">
            <a:avLst/>
          </a:prstGeom>
        </p:spPr>
        <p:txBody>
          <a:bodyPr/>
          <a:lstStyle>
            <a:lvl1pPr>
              <a:defRPr lang="en-US" sz="2200" b="1" i="0" kern="1200" spc="0" dirty="0">
                <a:solidFill>
                  <a:schemeClr val="tx1"/>
                </a:solidFill>
                <a:effectLst/>
                <a:latin typeface="+mj-lt"/>
                <a:ea typeface="Calibri" panose="020F0502020204030204" pitchFamily="34" charset="0"/>
                <a:cs typeface="Calibri" panose="020F0502020204030204" pitchFamily="34" charset="0"/>
              </a:defRPr>
            </a:lvl1pPr>
          </a:lstStyle>
          <a:p>
            <a:pPr marL="0" lvl="0" indent="0" algn="l" defTabSz="914400" rtl="0" eaLnBrk="1" latinLnBrk="0" hangingPunct="1">
              <a:lnSpc>
                <a:spcPct val="100000"/>
              </a:lnSpc>
              <a:spcBef>
                <a:spcPts val="0"/>
              </a:spcBef>
              <a:spcAft>
                <a:spcPts val="0"/>
              </a:spcAft>
              <a:buFont typeface="Arial" panose="020B0604020202020204" pitchFamily="34" charset="0"/>
              <a:buNone/>
            </a:pPr>
            <a:r>
              <a:rPr lang="en-US">
                <a:effectLst/>
              </a:rPr>
              <a:t>Title Goes Here</a:t>
            </a:r>
            <a:endParaRPr lang="en-US"/>
          </a:p>
        </p:txBody>
      </p:sp>
      <p:sp>
        <p:nvSpPr>
          <p:cNvPr id="14" name="Text Placeholder 10">
            <a:extLst>
              <a:ext uri="{FF2B5EF4-FFF2-40B4-BE49-F238E27FC236}">
                <a16:creationId xmlns:a16="http://schemas.microsoft.com/office/drawing/2014/main" id="{1BDA0EF3-2E19-B1E3-F43E-F974A7CC6473}"/>
              </a:ext>
            </a:extLst>
          </p:cNvPr>
          <p:cNvSpPr>
            <a:spLocks noGrp="1"/>
          </p:cNvSpPr>
          <p:nvPr>
            <p:ph type="body" sz="quarter" idx="32" hasCustomPrompt="1"/>
          </p:nvPr>
        </p:nvSpPr>
        <p:spPr>
          <a:xfrm>
            <a:off x="633632" y="419100"/>
            <a:ext cx="3611880" cy="225706"/>
          </a:xfrm>
          <a:prstGeom prst="rect">
            <a:avLst/>
          </a:prstGeom>
        </p:spPr>
        <p:txBody>
          <a:bodyPr/>
          <a:lstStyle>
            <a:lvl1pPr>
              <a:spcBef>
                <a:spcPts val="0"/>
              </a:spcBef>
              <a:defRPr lang="en-US" sz="1000" b="0" i="0" kern="1200" cap="all" spc="300" baseline="0" dirty="0">
                <a:solidFill>
                  <a:schemeClr val="tx1"/>
                </a:solidFill>
                <a:latin typeface="Calibri" panose="020F0502020204030204" pitchFamily="34" charset="0"/>
                <a:ea typeface="Calibri" panose="020F0502020204030204" pitchFamily="34" charset="0"/>
                <a:cs typeface="Calibri" panose="020F0502020204030204" pitchFamily="34" charset="0"/>
              </a:defRPr>
            </a:lvl1pPr>
          </a:lstStyle>
          <a:p>
            <a:pPr marL="0" lvl="0" indent="0" algn="l" defTabSz="914400" rtl="0" eaLnBrk="1" latinLnBrk="0" hangingPunct="1">
              <a:lnSpc>
                <a:spcPct val="100000"/>
              </a:lnSpc>
              <a:spcBef>
                <a:spcPts val="600"/>
              </a:spcBef>
              <a:spcAft>
                <a:spcPts val="0"/>
              </a:spcAft>
              <a:buFont typeface="Arial" panose="020B0604020202020204" pitchFamily="34" charset="0"/>
              <a:buNone/>
            </a:pPr>
            <a:r>
              <a:rPr lang="en-US"/>
              <a:t>Click to add section title</a:t>
            </a:r>
          </a:p>
        </p:txBody>
      </p:sp>
    </p:spTree>
    <p:extLst>
      <p:ext uri="{BB962C8B-B14F-4D97-AF65-F5344CB8AC3E}">
        <p14:creationId xmlns:p14="http://schemas.microsoft.com/office/powerpoint/2010/main" val="2247605597"/>
      </p:ext>
    </p:extLst>
  </p:cSld>
  <p:clrMapOvr>
    <a:masterClrMapping/>
  </p:clrMapOvr>
  <p:extLst>
    <p:ext uri="{DCECCB84-F9BA-43D5-87BE-67443E8EF086}">
      <p15:sldGuideLst xmlns:p15="http://schemas.microsoft.com/office/powerpoint/2012/main"/>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3_Col_1_Photo">
    <p:bg>
      <p:bgPr>
        <a:solidFill>
          <a:schemeClr val="tx1"/>
        </a:solidFill>
        <a:effectLst/>
      </p:bgPr>
    </p:bg>
    <p:spTree>
      <p:nvGrpSpPr>
        <p:cNvPr id="1" name=""/>
        <p:cNvGrpSpPr/>
        <p:nvPr/>
      </p:nvGrpSpPr>
      <p:grpSpPr>
        <a:xfrm>
          <a:off x="0" y="0"/>
          <a:ext cx="0" cy="0"/>
          <a:chOff x="0" y="0"/>
          <a:chExt cx="0" cy="0"/>
        </a:xfrm>
      </p:grpSpPr>
      <p:sp>
        <p:nvSpPr>
          <p:cNvPr id="9" name="Text Placeholder 4">
            <a:extLst>
              <a:ext uri="{FF2B5EF4-FFF2-40B4-BE49-F238E27FC236}">
                <a16:creationId xmlns:a16="http://schemas.microsoft.com/office/drawing/2014/main" id="{DBBECED4-4691-EAD7-0FFE-7393254BBDC9}"/>
              </a:ext>
            </a:extLst>
          </p:cNvPr>
          <p:cNvSpPr>
            <a:spLocks noGrp="1"/>
          </p:cNvSpPr>
          <p:nvPr>
            <p:ph type="body" sz="quarter" idx="26" hasCustomPrompt="1"/>
          </p:nvPr>
        </p:nvSpPr>
        <p:spPr>
          <a:xfrm>
            <a:off x="647700" y="1752600"/>
            <a:ext cx="3346076" cy="553998"/>
          </a:xfrm>
          <a:prstGeom prst="rect">
            <a:avLst/>
          </a:prstGeom>
        </p:spPr>
        <p:txBody>
          <a:bodyPr wrap="square" anchor="t" anchorCtr="0">
            <a:spAutoFit/>
          </a:bodyPr>
          <a:lstStyle>
            <a:lvl1pPr marL="0" marR="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sz="1800" b="1" i="0">
                <a:solidFill>
                  <a:schemeClr val="bg1"/>
                </a:solidFill>
                <a:latin typeface="Calibri" panose="020F0502020204030204" pitchFamily="34" charset="0"/>
                <a:cs typeface="Calibri" panose="020F0502020204030204" pitchFamily="34" charset="0"/>
              </a:defRPr>
            </a:lvl1pPr>
          </a:lstStyle>
          <a:p>
            <a:r>
              <a:rPr lang="en-US"/>
              <a:t>Lorem ipsum </a:t>
            </a:r>
            <a:r>
              <a:rPr lang="en-US" err="1"/>
              <a:t>nulla</a:t>
            </a:r>
            <a:r>
              <a:rPr lang="en-US"/>
              <a:t> </a:t>
            </a:r>
            <a:r>
              <a:rPr lang="en-US" err="1"/>
              <a:t>primis</a:t>
            </a:r>
            <a:r>
              <a:rPr lang="en-US"/>
              <a:t> eros mi </a:t>
            </a:r>
            <a:r>
              <a:rPr lang="en-US" err="1"/>
              <a:t>maecenas</a:t>
            </a:r>
            <a:r>
              <a:rPr lang="en-US"/>
              <a:t> ligula magna.</a:t>
            </a:r>
          </a:p>
        </p:txBody>
      </p:sp>
      <p:sp>
        <p:nvSpPr>
          <p:cNvPr id="10" name="Text Placeholder 4">
            <a:extLst>
              <a:ext uri="{FF2B5EF4-FFF2-40B4-BE49-F238E27FC236}">
                <a16:creationId xmlns:a16="http://schemas.microsoft.com/office/drawing/2014/main" id="{31E7CDA2-C04C-57C2-B779-676BA576EFB7}"/>
              </a:ext>
            </a:extLst>
          </p:cNvPr>
          <p:cNvSpPr>
            <a:spLocks noGrp="1"/>
          </p:cNvSpPr>
          <p:nvPr>
            <p:ph type="body" sz="quarter" idx="27" hasCustomPrompt="1"/>
          </p:nvPr>
        </p:nvSpPr>
        <p:spPr>
          <a:xfrm>
            <a:off x="4393692" y="2698291"/>
            <a:ext cx="3346076" cy="2035109"/>
          </a:xfrm>
          <a:prstGeom prst="rect">
            <a:avLst/>
          </a:prstGeom>
        </p:spPr>
        <p:txBody>
          <a:bodyPr wrap="square" anchor="t" anchorCtr="0">
            <a:spAutoFit/>
          </a:bodyPr>
          <a:lstStyle>
            <a:lvl1pPr marL="0" marR="0" indent="0" algn="l" defTabSz="914400" rtl="0" eaLnBrk="1" fontAlgn="auto" latinLnBrk="0" hangingPunct="1">
              <a:lnSpc>
                <a:spcPts val="2000"/>
              </a:lnSpc>
              <a:spcBef>
                <a:spcPts val="600"/>
              </a:spcBef>
              <a:spcAft>
                <a:spcPts val="0"/>
              </a:spcAft>
              <a:buClrTx/>
              <a:buSzTx/>
              <a:buFont typeface="Arial" panose="020B0604020202020204" pitchFamily="34" charset="0"/>
              <a:buNone/>
              <a:tabLst/>
              <a:defRPr sz="1400" b="0" i="0">
                <a:solidFill>
                  <a:schemeClr val="bg1"/>
                </a:solidFill>
                <a:latin typeface="Calibri Light" panose="020F0302020204030204" pitchFamily="34" charset="0"/>
                <a:cs typeface="Calibri Light" panose="020F0302020204030204" pitchFamily="34" charset="0"/>
              </a:defRPr>
            </a:lvl1pPr>
          </a:lstStyle>
          <a:p>
            <a:r>
              <a:rPr lang="en-US"/>
              <a:t>Lorem ipsum </a:t>
            </a:r>
            <a:r>
              <a:rPr lang="en-US" err="1"/>
              <a:t>nulla</a:t>
            </a:r>
            <a:r>
              <a:rPr lang="en-US"/>
              <a:t> </a:t>
            </a:r>
            <a:r>
              <a:rPr lang="en-US" err="1"/>
              <a:t>primis</a:t>
            </a:r>
            <a:r>
              <a:rPr lang="en-US"/>
              <a:t> eros mi </a:t>
            </a:r>
            <a:r>
              <a:rPr lang="en-US" err="1"/>
              <a:t>maecenas</a:t>
            </a:r>
            <a:r>
              <a:rPr lang="en-US"/>
              <a:t> ligula magna, </a:t>
            </a:r>
            <a:r>
              <a:rPr lang="en-US" err="1"/>
              <a:t>nibh</a:t>
            </a:r>
            <a:r>
              <a:rPr lang="en-US"/>
              <a:t> </a:t>
            </a:r>
            <a:r>
              <a:rPr lang="en-US" err="1"/>
              <a:t>commodo</a:t>
            </a:r>
            <a:r>
              <a:rPr lang="en-US"/>
              <a:t> </a:t>
            </a:r>
            <a:r>
              <a:rPr lang="en-US" err="1"/>
              <a:t>aenean</a:t>
            </a:r>
            <a:r>
              <a:rPr lang="en-US"/>
              <a:t> </a:t>
            </a:r>
            <a:r>
              <a:rPr lang="en-US" err="1"/>
              <a:t>leo</a:t>
            </a:r>
            <a:r>
              <a:rPr lang="en-US"/>
              <a:t> porta </a:t>
            </a:r>
            <a:r>
              <a:rPr lang="en-US" err="1"/>
              <a:t>duis</a:t>
            </a:r>
            <a:r>
              <a:rPr lang="en-US"/>
              <a:t> magna </a:t>
            </a:r>
            <a:r>
              <a:rPr lang="en-US" err="1"/>
              <a:t>felis</a:t>
            </a:r>
            <a:r>
              <a:rPr lang="en-US"/>
              <a:t> </a:t>
            </a:r>
            <a:r>
              <a:rPr lang="en-US" err="1"/>
              <a:t>bibendum</a:t>
            </a:r>
            <a:r>
              <a:rPr lang="en-US"/>
              <a:t> </a:t>
            </a:r>
            <a:r>
              <a:rPr lang="en-US" err="1"/>
              <a:t>tempor</a:t>
            </a:r>
            <a:r>
              <a:rPr lang="en-US"/>
              <a:t> </a:t>
            </a:r>
            <a:r>
              <a:rPr lang="en-US" err="1"/>
              <a:t>cubilia</a:t>
            </a:r>
            <a:r>
              <a:rPr lang="en-US"/>
              <a:t> gravida </a:t>
            </a:r>
            <a:r>
              <a:rPr lang="en-US" err="1"/>
              <a:t>molestie</a:t>
            </a:r>
            <a:r>
              <a:rPr lang="en-US"/>
              <a:t> a </a:t>
            </a:r>
            <a:r>
              <a:rPr lang="en-US" err="1"/>
              <a:t>pretium</a:t>
            </a:r>
            <a:r>
              <a:rPr lang="en-US"/>
              <a:t> </a:t>
            </a:r>
            <a:r>
              <a:rPr lang="en-US" err="1"/>
              <a:t>egestas</a:t>
            </a:r>
            <a:r>
              <a:rPr lang="en-US"/>
              <a:t> </a:t>
            </a:r>
            <a:r>
              <a:rPr lang="en-US" err="1"/>
              <a:t>iaculis</a:t>
            </a:r>
            <a:r>
              <a:rPr lang="en-US"/>
              <a:t> per, eros sit </a:t>
            </a:r>
            <a:r>
              <a:rPr lang="en-US" err="1"/>
              <a:t>leo</a:t>
            </a:r>
            <a:r>
              <a:rPr lang="en-US"/>
              <a:t> </a:t>
            </a:r>
            <a:r>
              <a:rPr lang="en-US" err="1"/>
              <a:t>augue</a:t>
            </a:r>
            <a:r>
              <a:rPr lang="en-US"/>
              <a:t> tempus </a:t>
            </a:r>
            <a:r>
              <a:rPr lang="en-US" err="1"/>
              <a:t>consectetur</a:t>
            </a:r>
            <a:r>
              <a:rPr lang="en-US"/>
              <a:t> </a:t>
            </a:r>
            <a:r>
              <a:rPr lang="en-US" err="1"/>
              <a:t>primis</a:t>
            </a:r>
            <a:r>
              <a:rPr lang="en-US"/>
              <a:t> dolor ac </a:t>
            </a:r>
            <a:r>
              <a:rPr lang="en-US" err="1"/>
              <a:t>euismod</a:t>
            </a:r>
            <a:r>
              <a:rPr lang="en-US"/>
              <a:t> </a:t>
            </a:r>
            <a:r>
              <a:rPr lang="en-US" err="1"/>
              <a:t>accumsan</a:t>
            </a:r>
            <a:r>
              <a:rPr lang="en-US"/>
              <a:t>, </a:t>
            </a:r>
            <a:r>
              <a:rPr lang="en-US" err="1"/>
              <a:t>vivamus</a:t>
            </a:r>
            <a:r>
              <a:rPr lang="en-US"/>
              <a:t> </a:t>
            </a:r>
            <a:r>
              <a:rPr lang="en-US" err="1"/>
              <a:t>feugiat</a:t>
            </a:r>
            <a:r>
              <a:rPr lang="en-US"/>
              <a:t> </a:t>
            </a:r>
            <a:r>
              <a:rPr lang="en-US" err="1"/>
              <a:t>elit</a:t>
            </a:r>
            <a:r>
              <a:rPr lang="en-US"/>
              <a:t> </a:t>
            </a:r>
            <a:r>
              <a:rPr lang="en-US" err="1"/>
              <a:t>luctus</a:t>
            </a:r>
            <a:r>
              <a:rPr lang="en-US"/>
              <a:t> libero </a:t>
            </a:r>
            <a:r>
              <a:rPr lang="en-US" err="1"/>
              <a:t>duis</a:t>
            </a:r>
            <a:r>
              <a:rPr lang="en-US"/>
              <a:t> </a:t>
            </a:r>
            <a:r>
              <a:rPr lang="en-US" err="1"/>
              <a:t>elementum</a:t>
            </a:r>
            <a:r>
              <a:rPr lang="en-US"/>
              <a:t> </a:t>
            </a:r>
            <a:r>
              <a:rPr lang="en-US" err="1"/>
              <a:t>etiam</a:t>
            </a:r>
            <a:r>
              <a:rPr lang="en-US"/>
              <a:t> lorem cursus </a:t>
            </a:r>
            <a:r>
              <a:rPr lang="en-US" err="1"/>
              <a:t>hendrerit</a:t>
            </a:r>
            <a:r>
              <a:rPr lang="en-US"/>
              <a:t> </a:t>
            </a:r>
            <a:r>
              <a:rPr lang="en-US" err="1"/>
              <a:t>curae</a:t>
            </a:r>
            <a:r>
              <a:rPr lang="en-US"/>
              <a:t> </a:t>
            </a:r>
            <a:r>
              <a:rPr lang="en-US" err="1"/>
              <a:t>primis</a:t>
            </a:r>
            <a:r>
              <a:rPr lang="en-US"/>
              <a:t> </a:t>
            </a:r>
            <a:r>
              <a:rPr lang="en-US" err="1"/>
              <a:t>cubilia</a:t>
            </a:r>
            <a:r>
              <a:rPr lang="en-US"/>
              <a:t>.</a:t>
            </a:r>
          </a:p>
        </p:txBody>
      </p:sp>
      <p:sp>
        <p:nvSpPr>
          <p:cNvPr id="11" name="Text Placeholder 4">
            <a:extLst>
              <a:ext uri="{FF2B5EF4-FFF2-40B4-BE49-F238E27FC236}">
                <a16:creationId xmlns:a16="http://schemas.microsoft.com/office/drawing/2014/main" id="{51F377A5-B459-0F7C-7F34-FEF9D7615202}"/>
              </a:ext>
            </a:extLst>
          </p:cNvPr>
          <p:cNvSpPr>
            <a:spLocks noGrp="1"/>
          </p:cNvSpPr>
          <p:nvPr>
            <p:ph type="body" sz="quarter" idx="28" hasCustomPrompt="1"/>
          </p:nvPr>
        </p:nvSpPr>
        <p:spPr>
          <a:xfrm>
            <a:off x="4393692" y="1752600"/>
            <a:ext cx="3346076" cy="553998"/>
          </a:xfrm>
          <a:prstGeom prst="rect">
            <a:avLst/>
          </a:prstGeom>
        </p:spPr>
        <p:txBody>
          <a:bodyPr wrap="square" anchor="t" anchorCtr="0">
            <a:spAutoFit/>
          </a:bodyPr>
          <a:lstStyle>
            <a:lvl1pPr marL="0" marR="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sz="1800" b="1" i="0">
                <a:solidFill>
                  <a:schemeClr val="bg1"/>
                </a:solidFill>
                <a:latin typeface="Calibri" panose="020F0502020204030204" pitchFamily="34" charset="0"/>
                <a:cs typeface="Calibri" panose="020F0502020204030204" pitchFamily="34" charset="0"/>
              </a:defRPr>
            </a:lvl1pPr>
          </a:lstStyle>
          <a:p>
            <a:r>
              <a:rPr lang="en-US"/>
              <a:t>Lorem ipsum </a:t>
            </a:r>
            <a:r>
              <a:rPr lang="en-US" err="1"/>
              <a:t>nulla</a:t>
            </a:r>
            <a:r>
              <a:rPr lang="en-US"/>
              <a:t> </a:t>
            </a:r>
            <a:r>
              <a:rPr lang="en-US" err="1"/>
              <a:t>primis</a:t>
            </a:r>
            <a:r>
              <a:rPr lang="en-US"/>
              <a:t> eros mi </a:t>
            </a:r>
            <a:r>
              <a:rPr lang="en-US" err="1"/>
              <a:t>maecenas</a:t>
            </a:r>
            <a:r>
              <a:rPr lang="en-US"/>
              <a:t> ligula magna.</a:t>
            </a:r>
          </a:p>
        </p:txBody>
      </p:sp>
      <p:sp>
        <p:nvSpPr>
          <p:cNvPr id="12" name="Text Placeholder 4">
            <a:extLst>
              <a:ext uri="{FF2B5EF4-FFF2-40B4-BE49-F238E27FC236}">
                <a16:creationId xmlns:a16="http://schemas.microsoft.com/office/drawing/2014/main" id="{BFE36997-E074-D0DA-66D5-F4724D23BF52}"/>
              </a:ext>
            </a:extLst>
          </p:cNvPr>
          <p:cNvSpPr>
            <a:spLocks noGrp="1"/>
          </p:cNvSpPr>
          <p:nvPr>
            <p:ph type="body" sz="quarter" idx="29" hasCustomPrompt="1"/>
          </p:nvPr>
        </p:nvSpPr>
        <p:spPr>
          <a:xfrm>
            <a:off x="8150352" y="2698291"/>
            <a:ext cx="3346076" cy="2035109"/>
          </a:xfrm>
          <a:prstGeom prst="rect">
            <a:avLst/>
          </a:prstGeom>
        </p:spPr>
        <p:txBody>
          <a:bodyPr wrap="square" anchor="t" anchorCtr="0">
            <a:spAutoFit/>
          </a:bodyPr>
          <a:lstStyle>
            <a:lvl1pPr marL="0" marR="0" indent="0" algn="l" defTabSz="914400" rtl="0" eaLnBrk="1" fontAlgn="auto" latinLnBrk="0" hangingPunct="1">
              <a:lnSpc>
                <a:spcPts val="2000"/>
              </a:lnSpc>
              <a:spcBef>
                <a:spcPts val="600"/>
              </a:spcBef>
              <a:spcAft>
                <a:spcPts val="0"/>
              </a:spcAft>
              <a:buClrTx/>
              <a:buSzTx/>
              <a:buFont typeface="Arial" panose="020B0604020202020204" pitchFamily="34" charset="0"/>
              <a:buNone/>
              <a:tabLst/>
              <a:defRPr sz="1400" b="0" i="0">
                <a:solidFill>
                  <a:schemeClr val="bg1"/>
                </a:solidFill>
                <a:latin typeface="Calibri Light" panose="020F0302020204030204" pitchFamily="34" charset="0"/>
                <a:cs typeface="Calibri Light" panose="020F0302020204030204" pitchFamily="34" charset="0"/>
              </a:defRPr>
            </a:lvl1pPr>
          </a:lstStyle>
          <a:p>
            <a:r>
              <a:rPr lang="en-US"/>
              <a:t>Lorem ipsum </a:t>
            </a:r>
            <a:r>
              <a:rPr lang="en-US" err="1"/>
              <a:t>nulla</a:t>
            </a:r>
            <a:r>
              <a:rPr lang="en-US"/>
              <a:t> </a:t>
            </a:r>
            <a:r>
              <a:rPr lang="en-US" err="1"/>
              <a:t>primis</a:t>
            </a:r>
            <a:r>
              <a:rPr lang="en-US"/>
              <a:t> eros mi </a:t>
            </a:r>
            <a:r>
              <a:rPr lang="en-US" err="1"/>
              <a:t>maecenas</a:t>
            </a:r>
            <a:r>
              <a:rPr lang="en-US"/>
              <a:t> ligula magna, </a:t>
            </a:r>
            <a:r>
              <a:rPr lang="en-US" err="1"/>
              <a:t>nibh</a:t>
            </a:r>
            <a:r>
              <a:rPr lang="en-US"/>
              <a:t> </a:t>
            </a:r>
            <a:r>
              <a:rPr lang="en-US" err="1"/>
              <a:t>commodo</a:t>
            </a:r>
            <a:r>
              <a:rPr lang="en-US"/>
              <a:t> </a:t>
            </a:r>
            <a:r>
              <a:rPr lang="en-US" err="1"/>
              <a:t>aenean</a:t>
            </a:r>
            <a:r>
              <a:rPr lang="en-US"/>
              <a:t> </a:t>
            </a:r>
            <a:r>
              <a:rPr lang="en-US" err="1"/>
              <a:t>leo</a:t>
            </a:r>
            <a:r>
              <a:rPr lang="en-US"/>
              <a:t> porta </a:t>
            </a:r>
            <a:r>
              <a:rPr lang="en-US" err="1"/>
              <a:t>duis</a:t>
            </a:r>
            <a:r>
              <a:rPr lang="en-US"/>
              <a:t> magna </a:t>
            </a:r>
            <a:r>
              <a:rPr lang="en-US" err="1"/>
              <a:t>felis</a:t>
            </a:r>
            <a:r>
              <a:rPr lang="en-US"/>
              <a:t> </a:t>
            </a:r>
            <a:r>
              <a:rPr lang="en-US" err="1"/>
              <a:t>bibendum</a:t>
            </a:r>
            <a:r>
              <a:rPr lang="en-US"/>
              <a:t> </a:t>
            </a:r>
            <a:r>
              <a:rPr lang="en-US" err="1"/>
              <a:t>tempor</a:t>
            </a:r>
            <a:r>
              <a:rPr lang="en-US"/>
              <a:t> </a:t>
            </a:r>
            <a:r>
              <a:rPr lang="en-US" err="1"/>
              <a:t>cubilia</a:t>
            </a:r>
            <a:r>
              <a:rPr lang="en-US"/>
              <a:t> gravida </a:t>
            </a:r>
            <a:r>
              <a:rPr lang="en-US" err="1"/>
              <a:t>molestie</a:t>
            </a:r>
            <a:r>
              <a:rPr lang="en-US"/>
              <a:t> a </a:t>
            </a:r>
            <a:r>
              <a:rPr lang="en-US" err="1"/>
              <a:t>pretium</a:t>
            </a:r>
            <a:r>
              <a:rPr lang="en-US"/>
              <a:t> </a:t>
            </a:r>
            <a:r>
              <a:rPr lang="en-US" err="1"/>
              <a:t>egestas</a:t>
            </a:r>
            <a:r>
              <a:rPr lang="en-US"/>
              <a:t> </a:t>
            </a:r>
            <a:r>
              <a:rPr lang="en-US" err="1"/>
              <a:t>iaculis</a:t>
            </a:r>
            <a:r>
              <a:rPr lang="en-US"/>
              <a:t> per, eros sit </a:t>
            </a:r>
            <a:r>
              <a:rPr lang="en-US" err="1"/>
              <a:t>leo</a:t>
            </a:r>
            <a:r>
              <a:rPr lang="en-US"/>
              <a:t> </a:t>
            </a:r>
            <a:r>
              <a:rPr lang="en-US" err="1"/>
              <a:t>augue</a:t>
            </a:r>
            <a:r>
              <a:rPr lang="en-US"/>
              <a:t> tempus </a:t>
            </a:r>
            <a:r>
              <a:rPr lang="en-US" err="1"/>
              <a:t>consectetur</a:t>
            </a:r>
            <a:r>
              <a:rPr lang="en-US"/>
              <a:t> </a:t>
            </a:r>
            <a:r>
              <a:rPr lang="en-US" err="1"/>
              <a:t>primis</a:t>
            </a:r>
            <a:r>
              <a:rPr lang="en-US"/>
              <a:t> dolor ac </a:t>
            </a:r>
            <a:r>
              <a:rPr lang="en-US" err="1"/>
              <a:t>euismod</a:t>
            </a:r>
            <a:r>
              <a:rPr lang="en-US"/>
              <a:t> </a:t>
            </a:r>
            <a:r>
              <a:rPr lang="en-US" err="1"/>
              <a:t>accumsan</a:t>
            </a:r>
            <a:r>
              <a:rPr lang="en-US"/>
              <a:t>, </a:t>
            </a:r>
            <a:r>
              <a:rPr lang="en-US" err="1"/>
              <a:t>vivamus</a:t>
            </a:r>
            <a:r>
              <a:rPr lang="en-US"/>
              <a:t> </a:t>
            </a:r>
            <a:r>
              <a:rPr lang="en-US" err="1"/>
              <a:t>feugiat</a:t>
            </a:r>
            <a:r>
              <a:rPr lang="en-US"/>
              <a:t> </a:t>
            </a:r>
            <a:r>
              <a:rPr lang="en-US" err="1"/>
              <a:t>elit</a:t>
            </a:r>
            <a:r>
              <a:rPr lang="en-US"/>
              <a:t> </a:t>
            </a:r>
            <a:r>
              <a:rPr lang="en-US" err="1"/>
              <a:t>luctus</a:t>
            </a:r>
            <a:r>
              <a:rPr lang="en-US"/>
              <a:t> libero </a:t>
            </a:r>
            <a:r>
              <a:rPr lang="en-US" err="1"/>
              <a:t>duis</a:t>
            </a:r>
            <a:r>
              <a:rPr lang="en-US"/>
              <a:t> </a:t>
            </a:r>
            <a:r>
              <a:rPr lang="en-US" err="1"/>
              <a:t>elementum</a:t>
            </a:r>
            <a:r>
              <a:rPr lang="en-US"/>
              <a:t> </a:t>
            </a:r>
            <a:r>
              <a:rPr lang="en-US" err="1"/>
              <a:t>etiam</a:t>
            </a:r>
            <a:r>
              <a:rPr lang="en-US"/>
              <a:t> lorem cursus </a:t>
            </a:r>
            <a:r>
              <a:rPr lang="en-US" err="1"/>
              <a:t>hendrerit</a:t>
            </a:r>
            <a:r>
              <a:rPr lang="en-US"/>
              <a:t> </a:t>
            </a:r>
            <a:r>
              <a:rPr lang="en-US" err="1"/>
              <a:t>curae</a:t>
            </a:r>
            <a:r>
              <a:rPr lang="en-US"/>
              <a:t> </a:t>
            </a:r>
            <a:r>
              <a:rPr lang="en-US" err="1"/>
              <a:t>primis</a:t>
            </a:r>
            <a:r>
              <a:rPr lang="en-US"/>
              <a:t> </a:t>
            </a:r>
            <a:r>
              <a:rPr lang="en-US" err="1"/>
              <a:t>cubilia</a:t>
            </a:r>
            <a:r>
              <a:rPr lang="en-US"/>
              <a:t>.</a:t>
            </a:r>
          </a:p>
        </p:txBody>
      </p:sp>
      <p:sp>
        <p:nvSpPr>
          <p:cNvPr id="13" name="Text Placeholder 4">
            <a:extLst>
              <a:ext uri="{FF2B5EF4-FFF2-40B4-BE49-F238E27FC236}">
                <a16:creationId xmlns:a16="http://schemas.microsoft.com/office/drawing/2014/main" id="{163741EA-6845-0A00-EAE0-5F35986A0EC2}"/>
              </a:ext>
            </a:extLst>
          </p:cNvPr>
          <p:cNvSpPr>
            <a:spLocks noGrp="1"/>
          </p:cNvSpPr>
          <p:nvPr>
            <p:ph type="body" sz="quarter" idx="30" hasCustomPrompt="1"/>
          </p:nvPr>
        </p:nvSpPr>
        <p:spPr>
          <a:xfrm>
            <a:off x="8150352" y="1752600"/>
            <a:ext cx="3346076" cy="553998"/>
          </a:xfrm>
          <a:prstGeom prst="rect">
            <a:avLst/>
          </a:prstGeom>
        </p:spPr>
        <p:txBody>
          <a:bodyPr wrap="square" anchor="t" anchorCtr="0">
            <a:spAutoFit/>
          </a:bodyPr>
          <a:lstStyle>
            <a:lvl1pPr marL="0" marR="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sz="1800" b="1" i="0">
                <a:solidFill>
                  <a:schemeClr val="bg1"/>
                </a:solidFill>
                <a:latin typeface="Calibri" panose="020F0502020204030204" pitchFamily="34" charset="0"/>
                <a:cs typeface="Calibri" panose="020F0502020204030204" pitchFamily="34" charset="0"/>
              </a:defRPr>
            </a:lvl1pPr>
          </a:lstStyle>
          <a:p>
            <a:r>
              <a:rPr lang="en-US"/>
              <a:t>Lorem ipsum </a:t>
            </a:r>
            <a:r>
              <a:rPr lang="en-US" err="1"/>
              <a:t>nulla</a:t>
            </a:r>
            <a:r>
              <a:rPr lang="en-US"/>
              <a:t> </a:t>
            </a:r>
            <a:r>
              <a:rPr lang="en-US" err="1"/>
              <a:t>primis</a:t>
            </a:r>
            <a:r>
              <a:rPr lang="en-US"/>
              <a:t> eros mi </a:t>
            </a:r>
            <a:r>
              <a:rPr lang="en-US" err="1"/>
              <a:t>maecenas</a:t>
            </a:r>
            <a:r>
              <a:rPr lang="en-US"/>
              <a:t> ligula magna.</a:t>
            </a:r>
          </a:p>
        </p:txBody>
      </p:sp>
      <p:sp>
        <p:nvSpPr>
          <p:cNvPr id="4" name="Picture Placeholder 3">
            <a:extLst>
              <a:ext uri="{FF2B5EF4-FFF2-40B4-BE49-F238E27FC236}">
                <a16:creationId xmlns:a16="http://schemas.microsoft.com/office/drawing/2014/main" id="{3CA9DA82-9FD9-26A5-10CB-6B8054B04BBA}"/>
              </a:ext>
            </a:extLst>
          </p:cNvPr>
          <p:cNvSpPr>
            <a:spLocks noGrp="1"/>
          </p:cNvSpPr>
          <p:nvPr>
            <p:ph type="pic" sz="quarter" idx="31"/>
          </p:nvPr>
        </p:nvSpPr>
        <p:spPr>
          <a:xfrm>
            <a:off x="647700" y="2682874"/>
            <a:ext cx="3363468" cy="3035173"/>
          </a:xfrm>
          <a:prstGeom prst="rect">
            <a:avLst/>
          </a:prstGeom>
        </p:spPr>
        <p:txBody>
          <a:bodyPr/>
          <a:lstStyle/>
          <a:p>
            <a:endParaRPr lang="en-US"/>
          </a:p>
        </p:txBody>
      </p:sp>
      <p:sp>
        <p:nvSpPr>
          <p:cNvPr id="2" name="Title 1">
            <a:extLst>
              <a:ext uri="{FF2B5EF4-FFF2-40B4-BE49-F238E27FC236}">
                <a16:creationId xmlns:a16="http://schemas.microsoft.com/office/drawing/2014/main" id="{44C80FE0-8C3B-E337-3609-18863A276E66}"/>
              </a:ext>
            </a:extLst>
          </p:cNvPr>
          <p:cNvSpPr>
            <a:spLocks noGrp="1"/>
          </p:cNvSpPr>
          <p:nvPr>
            <p:ph type="title" hasCustomPrompt="1"/>
          </p:nvPr>
        </p:nvSpPr>
        <p:spPr>
          <a:xfrm>
            <a:off x="633632" y="722843"/>
            <a:ext cx="10963056" cy="338554"/>
          </a:xfrm>
          <a:prstGeom prst="rect">
            <a:avLst/>
          </a:prstGeom>
        </p:spPr>
        <p:txBody>
          <a:bodyPr/>
          <a:lstStyle>
            <a:lvl1pPr>
              <a:defRPr lang="en-US" sz="2200" b="1" i="0" kern="1200" spc="0" dirty="0">
                <a:solidFill>
                  <a:schemeClr val="bg1"/>
                </a:solidFill>
                <a:effectLst/>
                <a:latin typeface="+mj-lt"/>
                <a:ea typeface="Calibri" panose="020F0502020204030204" pitchFamily="34" charset="0"/>
                <a:cs typeface="Calibri" panose="020F0502020204030204" pitchFamily="34" charset="0"/>
              </a:defRPr>
            </a:lvl1pPr>
          </a:lstStyle>
          <a:p>
            <a:pPr marL="0" lvl="0" indent="0" algn="l" defTabSz="914400" rtl="0" eaLnBrk="1" latinLnBrk="0" hangingPunct="1">
              <a:lnSpc>
                <a:spcPct val="100000"/>
              </a:lnSpc>
              <a:spcBef>
                <a:spcPts val="0"/>
              </a:spcBef>
              <a:spcAft>
                <a:spcPts val="0"/>
              </a:spcAft>
              <a:buFont typeface="Arial" panose="020B0604020202020204" pitchFamily="34" charset="0"/>
              <a:buNone/>
            </a:pPr>
            <a:r>
              <a:rPr lang="en-US">
                <a:effectLst/>
              </a:rPr>
              <a:t>Title Goes Here</a:t>
            </a:r>
            <a:endParaRPr lang="en-US"/>
          </a:p>
        </p:txBody>
      </p:sp>
      <p:sp>
        <p:nvSpPr>
          <p:cNvPr id="5" name="Text Placeholder 10">
            <a:extLst>
              <a:ext uri="{FF2B5EF4-FFF2-40B4-BE49-F238E27FC236}">
                <a16:creationId xmlns:a16="http://schemas.microsoft.com/office/drawing/2014/main" id="{BFD32104-A8C4-B02A-0AFB-283FD2A4E7E9}"/>
              </a:ext>
            </a:extLst>
          </p:cNvPr>
          <p:cNvSpPr>
            <a:spLocks noGrp="1"/>
          </p:cNvSpPr>
          <p:nvPr>
            <p:ph type="body" sz="quarter" idx="32" hasCustomPrompt="1"/>
          </p:nvPr>
        </p:nvSpPr>
        <p:spPr>
          <a:xfrm>
            <a:off x="633632" y="419100"/>
            <a:ext cx="3611880" cy="225706"/>
          </a:xfrm>
          <a:prstGeom prst="rect">
            <a:avLst/>
          </a:prstGeom>
        </p:spPr>
        <p:txBody>
          <a:bodyPr/>
          <a:lstStyle>
            <a:lvl1pPr>
              <a:spcBef>
                <a:spcPts val="0"/>
              </a:spcBef>
              <a:defRPr lang="en-US" sz="1000" b="0" i="0" kern="1200" cap="all" spc="300" baseline="0" dirty="0">
                <a:solidFill>
                  <a:schemeClr val="bg1"/>
                </a:solidFill>
                <a:latin typeface="Calibri" panose="020F0502020204030204" pitchFamily="34" charset="0"/>
                <a:ea typeface="Calibri" panose="020F0502020204030204" pitchFamily="34" charset="0"/>
                <a:cs typeface="Calibri" panose="020F0502020204030204" pitchFamily="34" charset="0"/>
              </a:defRPr>
            </a:lvl1pPr>
          </a:lstStyle>
          <a:p>
            <a:pPr marL="0" lvl="0" indent="0" algn="l" defTabSz="914400" rtl="0" eaLnBrk="1" latinLnBrk="0" hangingPunct="1">
              <a:lnSpc>
                <a:spcPct val="100000"/>
              </a:lnSpc>
              <a:spcBef>
                <a:spcPts val="600"/>
              </a:spcBef>
              <a:spcAft>
                <a:spcPts val="0"/>
              </a:spcAft>
              <a:buFont typeface="Arial" panose="020B0604020202020204" pitchFamily="34" charset="0"/>
              <a:buNone/>
            </a:pPr>
            <a:r>
              <a:rPr lang="en-US"/>
              <a:t>Click to add section title</a:t>
            </a:r>
          </a:p>
        </p:txBody>
      </p:sp>
      <p:grpSp>
        <p:nvGrpSpPr>
          <p:cNvPr id="3" name="Group 2">
            <a:extLst>
              <a:ext uri="{FF2B5EF4-FFF2-40B4-BE49-F238E27FC236}">
                <a16:creationId xmlns:a16="http://schemas.microsoft.com/office/drawing/2014/main" id="{2F3C6C3D-0A8F-EAC7-0534-17ADB47E3558}"/>
              </a:ext>
            </a:extLst>
          </p:cNvPr>
          <p:cNvGrpSpPr/>
          <p:nvPr userDrawn="1"/>
        </p:nvGrpSpPr>
        <p:grpSpPr>
          <a:xfrm>
            <a:off x="610888" y="6472556"/>
            <a:ext cx="372834" cy="131175"/>
            <a:chOff x="14288" y="2035175"/>
            <a:chExt cx="10039350" cy="3532188"/>
          </a:xfrm>
          <a:solidFill>
            <a:schemeClr val="bg1"/>
          </a:solidFill>
        </p:grpSpPr>
        <p:sp>
          <p:nvSpPr>
            <p:cNvPr id="6" name="Freeform 1">
              <a:extLst>
                <a:ext uri="{FF2B5EF4-FFF2-40B4-BE49-F238E27FC236}">
                  <a16:creationId xmlns:a16="http://schemas.microsoft.com/office/drawing/2014/main" id="{971318CA-9CF2-A3BD-9F43-135E9617A722}"/>
                </a:ext>
              </a:extLst>
            </p:cNvPr>
            <p:cNvSpPr>
              <a:spLocks noChangeArrowheads="1"/>
            </p:cNvSpPr>
            <p:nvPr/>
          </p:nvSpPr>
          <p:spPr bwMode="auto">
            <a:xfrm>
              <a:off x="1519238" y="2035175"/>
              <a:ext cx="1336675" cy="2836863"/>
            </a:xfrm>
            <a:custGeom>
              <a:avLst/>
              <a:gdLst>
                <a:gd name="T0" fmla="*/ 390493 w 3714"/>
                <a:gd name="T1" fmla="*/ 1200682 h 7882"/>
                <a:gd name="T2" fmla="*/ 945462 w 3714"/>
                <a:gd name="T3" fmla="*/ 1200682 h 7882"/>
                <a:gd name="T4" fmla="*/ 945462 w 3714"/>
                <a:gd name="T5" fmla="*/ 611498 h 7882"/>
                <a:gd name="T6" fmla="*/ 698929 w 3714"/>
                <a:gd name="T7" fmla="*/ 364596 h 7882"/>
                <a:gd name="T8" fmla="*/ 637386 w 3714"/>
                <a:gd name="T9" fmla="*/ 364596 h 7882"/>
                <a:gd name="T10" fmla="*/ 390493 w 3714"/>
                <a:gd name="T11" fmla="*/ 611498 h 7882"/>
                <a:gd name="T12" fmla="*/ 390493 w 3714"/>
                <a:gd name="T13" fmla="*/ 1200682 h 7882"/>
                <a:gd name="T14" fmla="*/ 389414 w 3714"/>
                <a:gd name="T15" fmla="*/ 1576795 h 7882"/>
                <a:gd name="T16" fmla="*/ 390493 w 3714"/>
                <a:gd name="T17" fmla="*/ 2224645 h 7882"/>
                <a:gd name="T18" fmla="*/ 637386 w 3714"/>
                <a:gd name="T19" fmla="*/ 2471548 h 7882"/>
                <a:gd name="T20" fmla="*/ 709366 w 3714"/>
                <a:gd name="T21" fmla="*/ 2471548 h 7882"/>
                <a:gd name="T22" fmla="*/ 955899 w 3714"/>
                <a:gd name="T23" fmla="*/ 2224645 h 7882"/>
                <a:gd name="T24" fmla="*/ 955899 w 3714"/>
                <a:gd name="T25" fmla="*/ 1906119 h 7882"/>
                <a:gd name="T26" fmla="*/ 1336315 w 3714"/>
                <a:gd name="T27" fmla="*/ 1906119 h 7882"/>
                <a:gd name="T28" fmla="*/ 1336315 w 3714"/>
                <a:gd name="T29" fmla="*/ 2209528 h 7882"/>
                <a:gd name="T30" fmla="*/ 709366 w 3714"/>
                <a:gd name="T31" fmla="*/ 2836503 h 7882"/>
                <a:gd name="T32" fmla="*/ 626949 w 3714"/>
                <a:gd name="T33" fmla="*/ 2836503 h 7882"/>
                <a:gd name="T34" fmla="*/ 0 w 3714"/>
                <a:gd name="T35" fmla="*/ 2258117 h 7882"/>
                <a:gd name="T36" fmla="*/ 0 w 3714"/>
                <a:gd name="T37" fmla="*/ 675564 h 7882"/>
                <a:gd name="T38" fmla="*/ 626949 w 3714"/>
                <a:gd name="T39" fmla="*/ 0 h 7882"/>
                <a:gd name="T40" fmla="*/ 709366 w 3714"/>
                <a:gd name="T41" fmla="*/ 0 h 7882"/>
                <a:gd name="T42" fmla="*/ 1336315 w 3714"/>
                <a:gd name="T43" fmla="*/ 626975 h 7882"/>
                <a:gd name="T44" fmla="*/ 1334875 w 3714"/>
                <a:gd name="T45" fmla="*/ 1576795 h 7882"/>
                <a:gd name="T46" fmla="*/ 389414 w 3714"/>
                <a:gd name="T47" fmla="*/ 1576795 h 7882"/>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3714" h="7882">
                  <a:moveTo>
                    <a:pt x="1085" y="3336"/>
                  </a:moveTo>
                  <a:lnTo>
                    <a:pt x="2627" y="3336"/>
                  </a:lnTo>
                  <a:lnTo>
                    <a:pt x="2627" y="1699"/>
                  </a:lnTo>
                  <a:cubicBezTo>
                    <a:pt x="2627" y="1242"/>
                    <a:pt x="2399" y="1013"/>
                    <a:pt x="1942" y="1013"/>
                  </a:cubicBezTo>
                  <a:lnTo>
                    <a:pt x="1771" y="1013"/>
                  </a:lnTo>
                  <a:cubicBezTo>
                    <a:pt x="1314" y="1013"/>
                    <a:pt x="1085" y="1242"/>
                    <a:pt x="1085" y="1699"/>
                  </a:cubicBezTo>
                  <a:lnTo>
                    <a:pt x="1085" y="3336"/>
                  </a:lnTo>
                  <a:close/>
                  <a:moveTo>
                    <a:pt x="1082" y="4381"/>
                  </a:moveTo>
                  <a:lnTo>
                    <a:pt x="1085" y="6181"/>
                  </a:lnTo>
                  <a:cubicBezTo>
                    <a:pt x="1085" y="6638"/>
                    <a:pt x="1314" y="6867"/>
                    <a:pt x="1771" y="6867"/>
                  </a:cubicBezTo>
                  <a:lnTo>
                    <a:pt x="1971" y="6867"/>
                  </a:lnTo>
                  <a:cubicBezTo>
                    <a:pt x="2428" y="6867"/>
                    <a:pt x="2656" y="6638"/>
                    <a:pt x="2656" y="6181"/>
                  </a:cubicBezTo>
                  <a:lnTo>
                    <a:pt x="2656" y="5296"/>
                  </a:lnTo>
                  <a:lnTo>
                    <a:pt x="3713" y="5296"/>
                  </a:lnTo>
                  <a:lnTo>
                    <a:pt x="3713" y="6139"/>
                  </a:lnTo>
                  <a:cubicBezTo>
                    <a:pt x="3713" y="7295"/>
                    <a:pt x="3127" y="7881"/>
                    <a:pt x="1971" y="7881"/>
                  </a:cubicBezTo>
                  <a:lnTo>
                    <a:pt x="1742" y="7881"/>
                  </a:lnTo>
                  <a:cubicBezTo>
                    <a:pt x="585" y="7881"/>
                    <a:pt x="0" y="7295"/>
                    <a:pt x="0" y="6274"/>
                  </a:cubicBezTo>
                  <a:lnTo>
                    <a:pt x="0" y="1877"/>
                  </a:lnTo>
                  <a:cubicBezTo>
                    <a:pt x="0" y="585"/>
                    <a:pt x="585" y="0"/>
                    <a:pt x="1742" y="0"/>
                  </a:cubicBezTo>
                  <a:lnTo>
                    <a:pt x="1971" y="0"/>
                  </a:lnTo>
                  <a:cubicBezTo>
                    <a:pt x="3127" y="0"/>
                    <a:pt x="3713" y="585"/>
                    <a:pt x="3713" y="1742"/>
                  </a:cubicBezTo>
                  <a:lnTo>
                    <a:pt x="3709" y="4381"/>
                  </a:lnTo>
                  <a:lnTo>
                    <a:pt x="1082" y="4381"/>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endParaRPr lang="en-US"/>
            </a:p>
          </p:txBody>
        </p:sp>
        <p:sp>
          <p:nvSpPr>
            <p:cNvPr id="7" name="Freeform 2">
              <a:extLst>
                <a:ext uri="{FF2B5EF4-FFF2-40B4-BE49-F238E27FC236}">
                  <a16:creationId xmlns:a16="http://schemas.microsoft.com/office/drawing/2014/main" id="{BFD13609-4ED5-A5E5-7AF7-1988DD305D56}"/>
                </a:ext>
              </a:extLst>
            </p:cNvPr>
            <p:cNvSpPr>
              <a:spLocks noChangeArrowheads="1"/>
            </p:cNvSpPr>
            <p:nvPr/>
          </p:nvSpPr>
          <p:spPr bwMode="auto">
            <a:xfrm>
              <a:off x="3109913" y="2035175"/>
              <a:ext cx="1368425" cy="3532188"/>
            </a:xfrm>
            <a:custGeom>
              <a:avLst/>
              <a:gdLst>
                <a:gd name="T0" fmla="*/ 390721 w 3800"/>
                <a:gd name="T1" fmla="*/ 2322993 h 9812"/>
                <a:gd name="T2" fmla="*/ 750833 w 3800"/>
                <a:gd name="T3" fmla="*/ 2466628 h 9812"/>
                <a:gd name="T4" fmla="*/ 976983 w 3800"/>
                <a:gd name="T5" fmla="*/ 2240556 h 9812"/>
                <a:gd name="T6" fmla="*/ 976983 w 3800"/>
                <a:gd name="T7" fmla="*/ 596138 h 9812"/>
                <a:gd name="T8" fmla="*/ 750833 w 3800"/>
                <a:gd name="T9" fmla="*/ 370066 h 9812"/>
                <a:gd name="T10" fmla="*/ 390721 w 3800"/>
                <a:gd name="T11" fmla="*/ 514061 h 9812"/>
                <a:gd name="T12" fmla="*/ 390721 w 3800"/>
                <a:gd name="T13" fmla="*/ 2322993 h 9812"/>
                <a:gd name="T14" fmla="*/ 0 w 3800"/>
                <a:gd name="T15" fmla="*/ 30599 h 9812"/>
                <a:gd name="T16" fmla="*/ 390721 w 3800"/>
                <a:gd name="T17" fmla="*/ 30599 h 9812"/>
                <a:gd name="T18" fmla="*/ 390721 w 3800"/>
                <a:gd name="T19" fmla="*/ 210592 h 9812"/>
                <a:gd name="T20" fmla="*/ 868950 w 3800"/>
                <a:gd name="T21" fmla="*/ 0 h 9812"/>
                <a:gd name="T22" fmla="*/ 1368065 w 3800"/>
                <a:gd name="T23" fmla="*/ 549699 h 9812"/>
                <a:gd name="T24" fmla="*/ 1368065 w 3800"/>
                <a:gd name="T25" fmla="*/ 2286995 h 9812"/>
                <a:gd name="T26" fmla="*/ 868950 w 3800"/>
                <a:gd name="T27" fmla="*/ 2837054 h 9812"/>
                <a:gd name="T28" fmla="*/ 390721 w 3800"/>
                <a:gd name="T29" fmla="*/ 2636541 h 9812"/>
                <a:gd name="T30" fmla="*/ 390721 w 3800"/>
                <a:gd name="T31" fmla="*/ 3531828 h 9812"/>
                <a:gd name="T32" fmla="*/ 0 w 3800"/>
                <a:gd name="T33" fmla="*/ 3531828 h 9812"/>
                <a:gd name="T34" fmla="*/ 0 w 3800"/>
                <a:gd name="T35" fmla="*/ 30599 h 9812"/>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3800" h="9812">
                  <a:moveTo>
                    <a:pt x="1085" y="6453"/>
                  </a:moveTo>
                  <a:cubicBezTo>
                    <a:pt x="1385" y="6710"/>
                    <a:pt x="1728" y="6852"/>
                    <a:pt x="2085" y="6852"/>
                  </a:cubicBezTo>
                  <a:cubicBezTo>
                    <a:pt x="2485" y="6852"/>
                    <a:pt x="2713" y="6667"/>
                    <a:pt x="2713" y="6224"/>
                  </a:cubicBezTo>
                  <a:lnTo>
                    <a:pt x="2713" y="1656"/>
                  </a:lnTo>
                  <a:cubicBezTo>
                    <a:pt x="2713" y="1213"/>
                    <a:pt x="2485" y="1028"/>
                    <a:pt x="2085" y="1028"/>
                  </a:cubicBezTo>
                  <a:cubicBezTo>
                    <a:pt x="1728" y="1028"/>
                    <a:pt x="1385" y="1170"/>
                    <a:pt x="1085" y="1428"/>
                  </a:cubicBezTo>
                  <a:lnTo>
                    <a:pt x="1085" y="6453"/>
                  </a:lnTo>
                  <a:close/>
                  <a:moveTo>
                    <a:pt x="0" y="85"/>
                  </a:moveTo>
                  <a:lnTo>
                    <a:pt x="1085" y="85"/>
                  </a:lnTo>
                  <a:lnTo>
                    <a:pt x="1085" y="585"/>
                  </a:lnTo>
                  <a:cubicBezTo>
                    <a:pt x="1342" y="314"/>
                    <a:pt x="1785" y="0"/>
                    <a:pt x="2413" y="0"/>
                  </a:cubicBezTo>
                  <a:cubicBezTo>
                    <a:pt x="3342" y="0"/>
                    <a:pt x="3799" y="614"/>
                    <a:pt x="3799" y="1527"/>
                  </a:cubicBezTo>
                  <a:lnTo>
                    <a:pt x="3799" y="6353"/>
                  </a:lnTo>
                  <a:cubicBezTo>
                    <a:pt x="3799" y="7267"/>
                    <a:pt x="3342" y="7881"/>
                    <a:pt x="2413" y="7881"/>
                  </a:cubicBezTo>
                  <a:cubicBezTo>
                    <a:pt x="1785" y="7881"/>
                    <a:pt x="1342" y="7581"/>
                    <a:pt x="1085" y="7324"/>
                  </a:cubicBezTo>
                  <a:lnTo>
                    <a:pt x="1085" y="9811"/>
                  </a:lnTo>
                  <a:lnTo>
                    <a:pt x="0" y="9811"/>
                  </a:lnTo>
                  <a:lnTo>
                    <a:pt x="0" y="85"/>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endParaRPr lang="en-US"/>
            </a:p>
          </p:txBody>
        </p:sp>
        <p:sp>
          <p:nvSpPr>
            <p:cNvPr id="8" name="Freeform 3">
              <a:extLst>
                <a:ext uri="{FF2B5EF4-FFF2-40B4-BE49-F238E27FC236}">
                  <a16:creationId xmlns:a16="http://schemas.microsoft.com/office/drawing/2014/main" id="{709FCF19-C1DD-08BD-1675-2CB5904EB108}"/>
                </a:ext>
              </a:extLst>
            </p:cNvPr>
            <p:cNvSpPr>
              <a:spLocks noChangeArrowheads="1"/>
            </p:cNvSpPr>
            <p:nvPr/>
          </p:nvSpPr>
          <p:spPr bwMode="auto">
            <a:xfrm>
              <a:off x="4711700" y="2035175"/>
              <a:ext cx="1328738" cy="2836863"/>
            </a:xfrm>
            <a:custGeom>
              <a:avLst/>
              <a:gdLst>
                <a:gd name="T0" fmla="*/ 937679 w 3690"/>
                <a:gd name="T1" fmla="*/ 2338019 h 7882"/>
                <a:gd name="T2" fmla="*/ 937679 w 3690"/>
                <a:gd name="T3" fmla="*/ 1422750 h 7882"/>
                <a:gd name="T4" fmla="*/ 582988 w 3690"/>
                <a:gd name="T5" fmla="*/ 1556999 h 7882"/>
                <a:gd name="T6" fmla="*/ 392500 w 3690"/>
                <a:gd name="T7" fmla="*/ 1844573 h 7882"/>
                <a:gd name="T8" fmla="*/ 392500 w 3690"/>
                <a:gd name="T9" fmla="*/ 2266035 h 7882"/>
                <a:gd name="T10" fmla="*/ 582988 w 3690"/>
                <a:gd name="T11" fmla="*/ 2466149 h 7882"/>
                <a:gd name="T12" fmla="*/ 937679 w 3690"/>
                <a:gd name="T13" fmla="*/ 2338019 h 7882"/>
                <a:gd name="T14" fmla="*/ 2161 w 3690"/>
                <a:gd name="T15" fmla="*/ 1839174 h 7882"/>
                <a:gd name="T16" fmla="*/ 413025 w 3690"/>
                <a:gd name="T17" fmla="*/ 1253950 h 7882"/>
                <a:gd name="T18" fmla="*/ 937679 w 3690"/>
                <a:gd name="T19" fmla="*/ 1073991 h 7882"/>
                <a:gd name="T20" fmla="*/ 937679 w 3690"/>
                <a:gd name="T21" fmla="*/ 611498 h 7882"/>
                <a:gd name="T22" fmla="*/ 690656 w 3690"/>
                <a:gd name="T23" fmla="*/ 359557 h 7882"/>
                <a:gd name="T24" fmla="*/ 627280 w 3690"/>
                <a:gd name="T25" fmla="*/ 359557 h 7882"/>
                <a:gd name="T26" fmla="*/ 380257 w 3690"/>
                <a:gd name="T27" fmla="*/ 611498 h 7882"/>
                <a:gd name="T28" fmla="*/ 380257 w 3690"/>
                <a:gd name="T29" fmla="*/ 1004527 h 7882"/>
                <a:gd name="T30" fmla="*/ 0 w 3690"/>
                <a:gd name="T31" fmla="*/ 1004527 h 7882"/>
                <a:gd name="T32" fmla="*/ 0 w 3690"/>
                <a:gd name="T33" fmla="*/ 626975 h 7882"/>
                <a:gd name="T34" fmla="*/ 627280 w 3690"/>
                <a:gd name="T35" fmla="*/ 0 h 7882"/>
                <a:gd name="T36" fmla="*/ 701098 w 3690"/>
                <a:gd name="T37" fmla="*/ 0 h 7882"/>
                <a:gd name="T38" fmla="*/ 1328378 w 3690"/>
                <a:gd name="T39" fmla="*/ 626975 h 7882"/>
                <a:gd name="T40" fmla="*/ 1328378 w 3690"/>
                <a:gd name="T41" fmla="*/ 2805550 h 7882"/>
                <a:gd name="T42" fmla="*/ 937679 w 3690"/>
                <a:gd name="T43" fmla="*/ 2805550 h 7882"/>
                <a:gd name="T44" fmla="*/ 937679 w 3690"/>
                <a:gd name="T45" fmla="*/ 2630631 h 7882"/>
                <a:gd name="T46" fmla="*/ 459477 w 3690"/>
                <a:gd name="T47" fmla="*/ 2836503 h 7882"/>
                <a:gd name="T48" fmla="*/ 2161 w 3690"/>
                <a:gd name="T49" fmla="*/ 2348096 h 7882"/>
                <a:gd name="T50" fmla="*/ 2161 w 3690"/>
                <a:gd name="T51" fmla="*/ 1839174 h 7882"/>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3690" h="7882">
                  <a:moveTo>
                    <a:pt x="2604" y="6496"/>
                  </a:moveTo>
                  <a:lnTo>
                    <a:pt x="2604" y="3953"/>
                  </a:lnTo>
                  <a:lnTo>
                    <a:pt x="1619" y="4326"/>
                  </a:lnTo>
                  <a:cubicBezTo>
                    <a:pt x="1219" y="4483"/>
                    <a:pt x="1090" y="4683"/>
                    <a:pt x="1090" y="5125"/>
                  </a:cubicBezTo>
                  <a:lnTo>
                    <a:pt x="1090" y="6296"/>
                  </a:lnTo>
                  <a:cubicBezTo>
                    <a:pt x="1090" y="6667"/>
                    <a:pt x="1276" y="6852"/>
                    <a:pt x="1619" y="6852"/>
                  </a:cubicBezTo>
                  <a:cubicBezTo>
                    <a:pt x="1947" y="6852"/>
                    <a:pt x="2247" y="6738"/>
                    <a:pt x="2604" y="6496"/>
                  </a:cubicBezTo>
                  <a:close/>
                  <a:moveTo>
                    <a:pt x="6" y="5110"/>
                  </a:moveTo>
                  <a:cubicBezTo>
                    <a:pt x="6" y="4155"/>
                    <a:pt x="320" y="3769"/>
                    <a:pt x="1147" y="3484"/>
                  </a:cubicBezTo>
                  <a:lnTo>
                    <a:pt x="2604" y="2984"/>
                  </a:lnTo>
                  <a:lnTo>
                    <a:pt x="2604" y="1699"/>
                  </a:lnTo>
                  <a:cubicBezTo>
                    <a:pt x="2604" y="1242"/>
                    <a:pt x="2375" y="999"/>
                    <a:pt x="1918" y="999"/>
                  </a:cubicBezTo>
                  <a:lnTo>
                    <a:pt x="1742" y="999"/>
                  </a:lnTo>
                  <a:cubicBezTo>
                    <a:pt x="1285" y="999"/>
                    <a:pt x="1056" y="1242"/>
                    <a:pt x="1056" y="1699"/>
                  </a:cubicBezTo>
                  <a:lnTo>
                    <a:pt x="1056" y="2791"/>
                  </a:lnTo>
                  <a:lnTo>
                    <a:pt x="0" y="2791"/>
                  </a:lnTo>
                  <a:lnTo>
                    <a:pt x="0" y="1742"/>
                  </a:lnTo>
                  <a:cubicBezTo>
                    <a:pt x="0" y="585"/>
                    <a:pt x="586" y="0"/>
                    <a:pt x="1742" y="0"/>
                  </a:cubicBezTo>
                  <a:lnTo>
                    <a:pt x="1947" y="0"/>
                  </a:lnTo>
                  <a:cubicBezTo>
                    <a:pt x="3104" y="0"/>
                    <a:pt x="3689" y="585"/>
                    <a:pt x="3689" y="1742"/>
                  </a:cubicBezTo>
                  <a:lnTo>
                    <a:pt x="3689" y="7795"/>
                  </a:lnTo>
                  <a:lnTo>
                    <a:pt x="2604" y="7795"/>
                  </a:lnTo>
                  <a:lnTo>
                    <a:pt x="2604" y="7309"/>
                  </a:lnTo>
                  <a:cubicBezTo>
                    <a:pt x="2304" y="7595"/>
                    <a:pt x="1904" y="7881"/>
                    <a:pt x="1276" y="7881"/>
                  </a:cubicBezTo>
                  <a:cubicBezTo>
                    <a:pt x="406" y="7881"/>
                    <a:pt x="6" y="7381"/>
                    <a:pt x="6" y="6524"/>
                  </a:cubicBezTo>
                  <a:lnTo>
                    <a:pt x="6" y="5110"/>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endParaRPr lang="en-US"/>
            </a:p>
          </p:txBody>
        </p:sp>
        <p:sp>
          <p:nvSpPr>
            <p:cNvPr id="14" name="Freeform 4">
              <a:extLst>
                <a:ext uri="{FF2B5EF4-FFF2-40B4-BE49-F238E27FC236}">
                  <a16:creationId xmlns:a16="http://schemas.microsoft.com/office/drawing/2014/main" id="{6ABA3164-8724-104F-8773-AA4F8E5E2F60}"/>
                </a:ext>
              </a:extLst>
            </p:cNvPr>
            <p:cNvSpPr>
              <a:spLocks noChangeArrowheads="1"/>
            </p:cNvSpPr>
            <p:nvPr/>
          </p:nvSpPr>
          <p:spPr bwMode="auto">
            <a:xfrm>
              <a:off x="6292850" y="2035175"/>
              <a:ext cx="2262188" cy="2806700"/>
            </a:xfrm>
            <a:custGeom>
              <a:avLst/>
              <a:gdLst>
                <a:gd name="T0" fmla="*/ 1326358 w 6285"/>
                <a:gd name="T1" fmla="*/ 2806340 h 7796"/>
                <a:gd name="T2" fmla="*/ 935470 w 6285"/>
                <a:gd name="T3" fmla="*/ 2806340 h 7796"/>
                <a:gd name="T4" fmla="*/ 935470 w 6285"/>
                <a:gd name="T5" fmla="*/ 570628 h 7796"/>
                <a:gd name="T6" fmla="*/ 750463 w 6285"/>
                <a:gd name="T7" fmla="*/ 370098 h 7796"/>
                <a:gd name="T8" fmla="*/ 390889 w 6285"/>
                <a:gd name="T9" fmla="*/ 508705 h 7796"/>
                <a:gd name="T10" fmla="*/ 390889 w 6285"/>
                <a:gd name="T11" fmla="*/ 2806340 h 7796"/>
                <a:gd name="T12" fmla="*/ 0 w 6285"/>
                <a:gd name="T13" fmla="*/ 2806340 h 7796"/>
                <a:gd name="T14" fmla="*/ 0 w 6285"/>
                <a:gd name="T15" fmla="*/ 30602 h 7796"/>
                <a:gd name="T16" fmla="*/ 390889 w 6285"/>
                <a:gd name="T17" fmla="*/ 30602 h 7796"/>
                <a:gd name="T18" fmla="*/ 390889 w 6285"/>
                <a:gd name="T19" fmla="*/ 210611 h 7796"/>
                <a:gd name="T20" fmla="*/ 868882 w 6285"/>
                <a:gd name="T21" fmla="*/ 0 h 7796"/>
                <a:gd name="T22" fmla="*/ 1274888 w 6285"/>
                <a:gd name="T23" fmla="*/ 226091 h 7796"/>
                <a:gd name="T24" fmla="*/ 1804351 w 6285"/>
                <a:gd name="T25" fmla="*/ 0 h 7796"/>
                <a:gd name="T26" fmla="*/ 2261828 w 6285"/>
                <a:gd name="T27" fmla="*/ 488184 h 7796"/>
                <a:gd name="T28" fmla="*/ 2261828 w 6285"/>
                <a:gd name="T29" fmla="*/ 2806340 h 7796"/>
                <a:gd name="T30" fmla="*/ 1870939 w 6285"/>
                <a:gd name="T31" fmla="*/ 2806340 h 7796"/>
                <a:gd name="T32" fmla="*/ 1870939 w 6285"/>
                <a:gd name="T33" fmla="*/ 570628 h 7796"/>
                <a:gd name="T34" fmla="*/ 1685933 w 6285"/>
                <a:gd name="T35" fmla="*/ 370098 h 7796"/>
                <a:gd name="T36" fmla="*/ 1326358 w 6285"/>
                <a:gd name="T37" fmla="*/ 508705 h 7796"/>
                <a:gd name="T38" fmla="*/ 1326358 w 6285"/>
                <a:gd name="T39" fmla="*/ 2806340 h 779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6285" h="7796">
                  <a:moveTo>
                    <a:pt x="3685" y="7795"/>
                  </a:moveTo>
                  <a:lnTo>
                    <a:pt x="2599" y="7795"/>
                  </a:lnTo>
                  <a:lnTo>
                    <a:pt x="2599" y="1585"/>
                  </a:lnTo>
                  <a:cubicBezTo>
                    <a:pt x="2599" y="1199"/>
                    <a:pt x="2414" y="1028"/>
                    <a:pt x="2085" y="1028"/>
                  </a:cubicBezTo>
                  <a:cubicBezTo>
                    <a:pt x="1785" y="1028"/>
                    <a:pt x="1471" y="1142"/>
                    <a:pt x="1086" y="1413"/>
                  </a:cubicBezTo>
                  <a:lnTo>
                    <a:pt x="1086" y="7795"/>
                  </a:lnTo>
                  <a:lnTo>
                    <a:pt x="0" y="7795"/>
                  </a:lnTo>
                  <a:lnTo>
                    <a:pt x="0" y="85"/>
                  </a:lnTo>
                  <a:lnTo>
                    <a:pt x="1086" y="85"/>
                  </a:lnTo>
                  <a:lnTo>
                    <a:pt x="1086" y="585"/>
                  </a:lnTo>
                  <a:cubicBezTo>
                    <a:pt x="1400" y="285"/>
                    <a:pt x="1814" y="0"/>
                    <a:pt x="2414" y="0"/>
                  </a:cubicBezTo>
                  <a:cubicBezTo>
                    <a:pt x="2971" y="0"/>
                    <a:pt x="3342" y="228"/>
                    <a:pt x="3542" y="628"/>
                  </a:cubicBezTo>
                  <a:cubicBezTo>
                    <a:pt x="3928" y="299"/>
                    <a:pt x="4385" y="0"/>
                    <a:pt x="5013" y="0"/>
                  </a:cubicBezTo>
                  <a:cubicBezTo>
                    <a:pt x="5855" y="0"/>
                    <a:pt x="6284" y="514"/>
                    <a:pt x="6284" y="1356"/>
                  </a:cubicBezTo>
                  <a:lnTo>
                    <a:pt x="6284" y="7795"/>
                  </a:lnTo>
                  <a:lnTo>
                    <a:pt x="5198" y="7795"/>
                  </a:lnTo>
                  <a:lnTo>
                    <a:pt x="5198" y="1585"/>
                  </a:lnTo>
                  <a:cubicBezTo>
                    <a:pt x="5198" y="1199"/>
                    <a:pt x="5013" y="1028"/>
                    <a:pt x="4684" y="1028"/>
                  </a:cubicBezTo>
                  <a:cubicBezTo>
                    <a:pt x="4385" y="1028"/>
                    <a:pt x="4070" y="1142"/>
                    <a:pt x="3685" y="1413"/>
                  </a:cubicBezTo>
                  <a:lnTo>
                    <a:pt x="3685" y="7795"/>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endParaRPr lang="en-US"/>
            </a:p>
          </p:txBody>
        </p:sp>
        <p:sp>
          <p:nvSpPr>
            <p:cNvPr id="15" name="Freeform 5">
              <a:extLst>
                <a:ext uri="{FF2B5EF4-FFF2-40B4-BE49-F238E27FC236}">
                  <a16:creationId xmlns:a16="http://schemas.microsoft.com/office/drawing/2014/main" id="{3F688234-BE63-381F-8E58-8A8DD397DE4A}"/>
                </a:ext>
              </a:extLst>
            </p:cNvPr>
            <p:cNvSpPr>
              <a:spLocks noChangeArrowheads="1"/>
            </p:cNvSpPr>
            <p:nvPr/>
          </p:nvSpPr>
          <p:spPr bwMode="auto">
            <a:xfrm>
              <a:off x="14288" y="2322513"/>
              <a:ext cx="1004887" cy="2274887"/>
            </a:xfrm>
            <a:custGeom>
              <a:avLst/>
              <a:gdLst>
                <a:gd name="T0" fmla="*/ 1004527 w 2790"/>
                <a:gd name="T1" fmla="*/ 0 h 6317"/>
                <a:gd name="T2" fmla="*/ 1004527 w 2790"/>
                <a:gd name="T3" fmla="*/ 510652 h 6317"/>
                <a:gd name="T4" fmla="*/ 346488 w 2790"/>
                <a:gd name="T5" fmla="*/ 1137624 h 6317"/>
                <a:gd name="T6" fmla="*/ 1004527 w 2790"/>
                <a:gd name="T7" fmla="*/ 1752711 h 6317"/>
                <a:gd name="T8" fmla="*/ 1004527 w 2790"/>
                <a:gd name="T9" fmla="*/ 2274527 h 6317"/>
                <a:gd name="T10" fmla="*/ 0 w 2790"/>
                <a:gd name="T11" fmla="*/ 1331009 h 6317"/>
                <a:gd name="T12" fmla="*/ 0 w 2790"/>
                <a:gd name="T13" fmla="*/ 955042 h 6317"/>
                <a:gd name="T14" fmla="*/ 1004527 w 2790"/>
                <a:gd name="T15" fmla="*/ 0 h 6317"/>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2790" h="6317">
                  <a:moveTo>
                    <a:pt x="2789" y="0"/>
                  </a:moveTo>
                  <a:lnTo>
                    <a:pt x="2789" y="1418"/>
                  </a:lnTo>
                  <a:lnTo>
                    <a:pt x="962" y="3159"/>
                  </a:lnTo>
                  <a:lnTo>
                    <a:pt x="2789" y="4867"/>
                  </a:lnTo>
                  <a:lnTo>
                    <a:pt x="2789" y="6316"/>
                  </a:lnTo>
                  <a:lnTo>
                    <a:pt x="0" y="3696"/>
                  </a:lnTo>
                  <a:lnTo>
                    <a:pt x="0" y="2652"/>
                  </a:lnTo>
                  <a:lnTo>
                    <a:pt x="2789"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endParaRPr lang="en-US"/>
            </a:p>
          </p:txBody>
        </p:sp>
        <p:sp>
          <p:nvSpPr>
            <p:cNvPr id="16" name="Freeform 6">
              <a:extLst>
                <a:ext uri="{FF2B5EF4-FFF2-40B4-BE49-F238E27FC236}">
                  <a16:creationId xmlns:a16="http://schemas.microsoft.com/office/drawing/2014/main" id="{0112DEC1-A5DA-2AC6-3131-C0C3036C2D38}"/>
                </a:ext>
              </a:extLst>
            </p:cNvPr>
            <p:cNvSpPr>
              <a:spLocks noChangeArrowheads="1"/>
            </p:cNvSpPr>
            <p:nvPr/>
          </p:nvSpPr>
          <p:spPr bwMode="auto">
            <a:xfrm>
              <a:off x="9050338" y="2322513"/>
              <a:ext cx="1003300" cy="2274887"/>
            </a:xfrm>
            <a:custGeom>
              <a:avLst/>
              <a:gdLst>
                <a:gd name="T0" fmla="*/ 1002940 w 2789"/>
                <a:gd name="T1" fmla="*/ 955042 h 6317"/>
                <a:gd name="T2" fmla="*/ 1002940 w 2789"/>
                <a:gd name="T3" fmla="*/ 1331009 h 6317"/>
                <a:gd name="T4" fmla="*/ 0 w 2789"/>
                <a:gd name="T5" fmla="*/ 2274527 h 6317"/>
                <a:gd name="T6" fmla="*/ 0 w 2789"/>
                <a:gd name="T7" fmla="*/ 1752711 h 6317"/>
                <a:gd name="T8" fmla="*/ 656876 w 2789"/>
                <a:gd name="T9" fmla="*/ 1137624 h 6317"/>
                <a:gd name="T10" fmla="*/ 0 w 2789"/>
                <a:gd name="T11" fmla="*/ 510652 h 6317"/>
                <a:gd name="T12" fmla="*/ 0 w 2789"/>
                <a:gd name="T13" fmla="*/ 0 h 6317"/>
                <a:gd name="T14" fmla="*/ 1002940 w 2789"/>
                <a:gd name="T15" fmla="*/ 955042 h 6317"/>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2789" h="6317">
                  <a:moveTo>
                    <a:pt x="2788" y="2652"/>
                  </a:moveTo>
                  <a:lnTo>
                    <a:pt x="2788" y="3696"/>
                  </a:lnTo>
                  <a:lnTo>
                    <a:pt x="0" y="6316"/>
                  </a:lnTo>
                  <a:lnTo>
                    <a:pt x="0" y="4867"/>
                  </a:lnTo>
                  <a:lnTo>
                    <a:pt x="1826" y="3159"/>
                  </a:lnTo>
                  <a:lnTo>
                    <a:pt x="0" y="1418"/>
                  </a:lnTo>
                  <a:lnTo>
                    <a:pt x="0" y="0"/>
                  </a:lnTo>
                  <a:lnTo>
                    <a:pt x="2788" y="2652"/>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endParaRPr lang="en-US"/>
            </a:p>
          </p:txBody>
        </p:sp>
      </p:grpSp>
      <p:sp>
        <p:nvSpPr>
          <p:cNvPr id="17" name="Footer Placeholder 14">
            <a:extLst>
              <a:ext uri="{FF2B5EF4-FFF2-40B4-BE49-F238E27FC236}">
                <a16:creationId xmlns:a16="http://schemas.microsoft.com/office/drawing/2014/main" id="{5F7E5528-2198-FAC3-03B2-DA9DB4EEB606}"/>
              </a:ext>
            </a:extLst>
          </p:cNvPr>
          <p:cNvSpPr txBox="1">
            <a:spLocks/>
          </p:cNvSpPr>
          <p:nvPr userDrawn="1"/>
        </p:nvSpPr>
        <p:spPr>
          <a:xfrm>
            <a:off x="1206203" y="6411603"/>
            <a:ext cx="2157779" cy="228599"/>
          </a:xfrm>
          <a:prstGeom prst="rect">
            <a:avLst/>
          </a:prstGeom>
        </p:spPr>
        <p:txBody>
          <a:bodyPr vert="horz" lIns="0" tIns="0" rIns="0" bIns="0" rtlCol="0" anchor="ctr"/>
          <a:lstStyle>
            <a:defPPr>
              <a:defRPr lang="en-US"/>
            </a:defPPr>
            <a:lvl1pPr marL="0" algn="r" defTabSz="914400" rtl="0" eaLnBrk="1" latinLnBrk="0" hangingPunct="1">
              <a:defRPr sz="600" b="0" i="0" kern="1200">
                <a:solidFill>
                  <a:schemeClr val="tx1"/>
                </a:solidFill>
                <a:latin typeface="+mn-lt"/>
                <a:ea typeface="Calibri" panose="020F0502020204030204" pitchFamily="34" charset="0"/>
                <a:cs typeface="Calibri" panose="020F050202020403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b="0" i="0">
                <a:solidFill>
                  <a:schemeClr val="bg1"/>
                </a:solidFill>
                <a:latin typeface="+mn-lt"/>
              </a:rPr>
              <a:t>EPAM Proprietary &amp; Confidential</a:t>
            </a:r>
            <a:r>
              <a:rPr lang="ru-RU" b="0" i="0">
                <a:solidFill>
                  <a:schemeClr val="bg1"/>
                </a:solidFill>
                <a:latin typeface="+mn-lt"/>
              </a:rPr>
              <a:t> </a:t>
            </a:r>
            <a:endParaRPr lang="en-US" b="0" i="0">
              <a:solidFill>
                <a:schemeClr val="bg1"/>
              </a:solidFill>
              <a:latin typeface="+mn-lt"/>
            </a:endParaRPr>
          </a:p>
        </p:txBody>
      </p:sp>
      <p:pic>
        <p:nvPicPr>
          <p:cNvPr id="20" name="Graphic 19">
            <a:extLst>
              <a:ext uri="{FF2B5EF4-FFF2-40B4-BE49-F238E27FC236}">
                <a16:creationId xmlns:a16="http://schemas.microsoft.com/office/drawing/2014/main" id="{AEACF2AA-163F-A584-54A6-FA4342F5BA5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820266" y="6419060"/>
            <a:ext cx="762921" cy="205636"/>
          </a:xfrm>
          <a:prstGeom prst="rect">
            <a:avLst/>
          </a:prstGeom>
        </p:spPr>
      </p:pic>
    </p:spTree>
    <p:extLst>
      <p:ext uri="{BB962C8B-B14F-4D97-AF65-F5344CB8AC3E}">
        <p14:creationId xmlns:p14="http://schemas.microsoft.com/office/powerpoint/2010/main" val="2208319673"/>
      </p:ext>
    </p:extLst>
  </p:cSld>
  <p:clrMapOvr>
    <a:masterClrMapping/>
  </p:clrMapOvr>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ver_Shorter_Title_Half_Page">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BD4E904F-7D79-4A50-A009-698D67202ACC}"/>
              </a:ext>
            </a:extLst>
          </p:cNvPr>
          <p:cNvSpPr/>
          <p:nvPr userDrawn="1"/>
        </p:nvSpPr>
        <p:spPr bwMode="auto">
          <a:xfrm>
            <a:off x="0" y="0"/>
            <a:ext cx="12192000" cy="6858000"/>
          </a:xfrm>
          <a:prstGeom prst="rect">
            <a:avLst/>
          </a:prstGeom>
          <a:solidFill>
            <a:schemeClr val="bg1"/>
          </a:solidFill>
          <a:ln>
            <a:noFill/>
          </a:ln>
          <a:effectLst/>
        </p:spPr>
        <p:txBody>
          <a:bodyPr wrap="none" rtlCol="0" anchor="ctr"/>
          <a:lstStyle/>
          <a:p>
            <a:pPr algn="ctr"/>
            <a:endParaRPr lang="en-US" sz="2400" err="1">
              <a:solidFill>
                <a:schemeClr val="bg1"/>
              </a:solidFill>
              <a:latin typeface="Calibri Light" panose="020F0302020204030204" pitchFamily="34" charset="0"/>
              <a:ea typeface="Human Sans ExtraLight" charset="0"/>
              <a:cs typeface="Human Sans ExtraLight" charset="0"/>
            </a:endParaRPr>
          </a:p>
        </p:txBody>
      </p:sp>
      <p:sp>
        <p:nvSpPr>
          <p:cNvPr id="5" name="Picture Placeholder 2">
            <a:extLst>
              <a:ext uri="{FF2B5EF4-FFF2-40B4-BE49-F238E27FC236}">
                <a16:creationId xmlns:a16="http://schemas.microsoft.com/office/drawing/2014/main" id="{040E1BA6-2B94-3FB9-8A61-22A11D25EDE1}"/>
              </a:ext>
            </a:extLst>
          </p:cNvPr>
          <p:cNvSpPr>
            <a:spLocks noGrp="1"/>
          </p:cNvSpPr>
          <p:nvPr>
            <p:ph type="pic" sz="quarter" idx="24"/>
          </p:nvPr>
        </p:nvSpPr>
        <p:spPr>
          <a:xfrm>
            <a:off x="6123008" y="0"/>
            <a:ext cx="6068992" cy="6858000"/>
          </a:xfrm>
          <a:prstGeom prst="rect">
            <a:avLst/>
          </a:prstGeom>
        </p:spPr>
        <p:txBody>
          <a:bodyPr/>
          <a:lstStyle/>
          <a:p>
            <a:endParaRPr lang="en-US"/>
          </a:p>
        </p:txBody>
      </p:sp>
      <p:sp>
        <p:nvSpPr>
          <p:cNvPr id="6" name="Text Placeholder 4">
            <a:extLst>
              <a:ext uri="{FF2B5EF4-FFF2-40B4-BE49-F238E27FC236}">
                <a16:creationId xmlns:a16="http://schemas.microsoft.com/office/drawing/2014/main" id="{5DF60C00-4DF7-EA8B-64E5-6D8707C3F163}"/>
              </a:ext>
            </a:extLst>
          </p:cNvPr>
          <p:cNvSpPr>
            <a:spLocks noGrp="1"/>
          </p:cNvSpPr>
          <p:nvPr>
            <p:ph type="body" sz="quarter" idx="25" hasCustomPrompt="1"/>
          </p:nvPr>
        </p:nvSpPr>
        <p:spPr>
          <a:xfrm>
            <a:off x="639074" y="4670399"/>
            <a:ext cx="5151216" cy="372538"/>
          </a:xfrm>
          <a:prstGeom prst="rect">
            <a:avLst/>
          </a:prstGeom>
        </p:spPr>
        <p:txBody>
          <a:bodyPr wrap="square">
            <a:spAutoFit/>
          </a:bodyPr>
          <a:lstStyle>
            <a:lvl1pPr>
              <a:lnSpc>
                <a:spcPct val="150000"/>
              </a:lnSpc>
              <a:spcBef>
                <a:spcPts val="0"/>
              </a:spcBef>
              <a:defRPr sz="1800">
                <a:solidFill>
                  <a:schemeClr val="tx1"/>
                </a:solidFill>
                <a:latin typeface="Calibri Light" panose="020F0302020204030204" pitchFamily="34" charset="0"/>
                <a:cs typeface="Calibri Light" panose="020F0302020204030204" pitchFamily="34" charset="0"/>
              </a:defRPr>
            </a:lvl1pPr>
            <a:lvl2pPr>
              <a:buNone/>
              <a:defRPr/>
            </a:lvl2pPr>
          </a:lstStyle>
          <a:p>
            <a:pPr lvl="0"/>
            <a:r>
              <a:rPr lang="en-US">
                <a:effectLst/>
              </a:rPr>
              <a:t>Sub-description text goes here over one or two lines</a:t>
            </a:r>
            <a:endParaRPr lang="en-US"/>
          </a:p>
        </p:txBody>
      </p:sp>
      <p:sp>
        <p:nvSpPr>
          <p:cNvPr id="7" name="Text Placeholder 4">
            <a:extLst>
              <a:ext uri="{FF2B5EF4-FFF2-40B4-BE49-F238E27FC236}">
                <a16:creationId xmlns:a16="http://schemas.microsoft.com/office/drawing/2014/main" id="{1CED6F17-ABB3-3BF2-0943-BB3D363DB394}"/>
              </a:ext>
            </a:extLst>
          </p:cNvPr>
          <p:cNvSpPr>
            <a:spLocks noGrp="1"/>
          </p:cNvSpPr>
          <p:nvPr>
            <p:ph type="body" sz="quarter" idx="12" hasCustomPrompt="1"/>
          </p:nvPr>
        </p:nvSpPr>
        <p:spPr>
          <a:xfrm>
            <a:off x="639074" y="5393921"/>
            <a:ext cx="5185941" cy="200055"/>
          </a:xfrm>
          <a:prstGeom prst="rect">
            <a:avLst/>
          </a:prstGeom>
        </p:spPr>
        <p:txBody>
          <a:bodyPr wrap="square">
            <a:spAutoFit/>
          </a:bodyPr>
          <a:lstStyle>
            <a:lvl1pPr>
              <a:lnSpc>
                <a:spcPct val="100000"/>
              </a:lnSpc>
              <a:spcBef>
                <a:spcPts val="0"/>
              </a:spcBef>
              <a:defRPr sz="1300" b="1" i="0" spc="400" baseline="0">
                <a:solidFill>
                  <a:schemeClr val="accent6"/>
                </a:solidFill>
                <a:latin typeface="Calibri" panose="020F0502020204030204" pitchFamily="34" charset="0"/>
                <a:cs typeface="Calibri" panose="020F0502020204030204" pitchFamily="34" charset="0"/>
              </a:defRPr>
            </a:lvl1pPr>
            <a:lvl2pPr>
              <a:buNone/>
              <a:defRPr/>
            </a:lvl2pPr>
          </a:lstStyle>
          <a:p>
            <a:pPr lvl="0"/>
            <a:r>
              <a:rPr lang="en-US">
                <a:effectLst/>
              </a:rPr>
              <a:t>DECEMBER 2022</a:t>
            </a:r>
            <a:endParaRPr lang="en-US"/>
          </a:p>
        </p:txBody>
      </p:sp>
      <p:sp>
        <p:nvSpPr>
          <p:cNvPr id="8" name="Text Placeholder 4">
            <a:extLst>
              <a:ext uri="{FF2B5EF4-FFF2-40B4-BE49-F238E27FC236}">
                <a16:creationId xmlns:a16="http://schemas.microsoft.com/office/drawing/2014/main" id="{03242F72-C056-2877-37FC-0C0E8E2FA1E4}"/>
              </a:ext>
            </a:extLst>
          </p:cNvPr>
          <p:cNvSpPr>
            <a:spLocks noGrp="1"/>
          </p:cNvSpPr>
          <p:nvPr>
            <p:ph type="body" sz="quarter" idx="26" hasCustomPrompt="1"/>
          </p:nvPr>
        </p:nvSpPr>
        <p:spPr>
          <a:xfrm>
            <a:off x="639074" y="1653938"/>
            <a:ext cx="5139642" cy="1846659"/>
          </a:xfrm>
          <a:prstGeom prst="rect">
            <a:avLst/>
          </a:prstGeom>
        </p:spPr>
        <p:txBody>
          <a:bodyPr wrap="square">
            <a:spAutoFit/>
          </a:bodyPr>
          <a:lstStyle>
            <a:lvl1pPr>
              <a:lnSpc>
                <a:spcPct val="100000"/>
              </a:lnSpc>
              <a:spcBef>
                <a:spcPts val="0"/>
              </a:spcBef>
              <a:defRPr sz="6000" b="0" i="0">
                <a:solidFill>
                  <a:schemeClr val="tx1"/>
                </a:solidFill>
                <a:latin typeface="Calibri Light" panose="020F0302020204030204" pitchFamily="34" charset="0"/>
                <a:cs typeface="Calibri Light" panose="020F0302020204030204" pitchFamily="34" charset="0"/>
              </a:defRPr>
            </a:lvl1pPr>
            <a:lvl2pPr>
              <a:buNone/>
              <a:defRPr/>
            </a:lvl2pPr>
          </a:lstStyle>
          <a:p>
            <a:pPr lvl="0"/>
            <a:r>
              <a:rPr lang="en-US"/>
              <a:t>Cover with Shorter Title</a:t>
            </a:r>
          </a:p>
        </p:txBody>
      </p:sp>
    </p:spTree>
    <p:extLst>
      <p:ext uri="{BB962C8B-B14F-4D97-AF65-F5344CB8AC3E}">
        <p14:creationId xmlns:p14="http://schemas.microsoft.com/office/powerpoint/2010/main" val="2586875984"/>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4_photos_varied_blur">
    <p:bg>
      <p:bgPr>
        <a:solidFill>
          <a:schemeClr val="bg1"/>
        </a:solidFill>
        <a:effectLst/>
      </p:bgPr>
    </p:bg>
    <p:spTree>
      <p:nvGrpSpPr>
        <p:cNvPr id="1" name=""/>
        <p:cNvGrpSpPr/>
        <p:nvPr/>
      </p:nvGrpSpPr>
      <p:grpSpPr>
        <a:xfrm>
          <a:off x="0" y="0"/>
          <a:ext cx="0" cy="0"/>
          <a:chOff x="0" y="0"/>
          <a:chExt cx="0" cy="0"/>
        </a:xfrm>
      </p:grpSpPr>
      <p:sp>
        <p:nvSpPr>
          <p:cNvPr id="13" name="Picture Placeholder 12">
            <a:extLst>
              <a:ext uri="{FF2B5EF4-FFF2-40B4-BE49-F238E27FC236}">
                <a16:creationId xmlns:a16="http://schemas.microsoft.com/office/drawing/2014/main" id="{C667FF5A-BD3B-6823-510D-65EA34CAC692}"/>
              </a:ext>
            </a:extLst>
          </p:cNvPr>
          <p:cNvSpPr>
            <a:spLocks noGrp="1"/>
          </p:cNvSpPr>
          <p:nvPr>
            <p:ph type="pic" sz="quarter" idx="13"/>
          </p:nvPr>
        </p:nvSpPr>
        <p:spPr>
          <a:xfrm>
            <a:off x="0" y="2700596"/>
            <a:ext cx="2616200" cy="2605088"/>
          </a:xfrm>
          <a:prstGeom prst="rect">
            <a:avLst/>
          </a:prstGeom>
        </p:spPr>
        <p:txBody>
          <a:bodyPr/>
          <a:lstStyle/>
          <a:p>
            <a:endParaRPr lang="en-US"/>
          </a:p>
        </p:txBody>
      </p:sp>
      <p:sp>
        <p:nvSpPr>
          <p:cNvPr id="15" name="Picture Placeholder 14">
            <a:extLst>
              <a:ext uri="{FF2B5EF4-FFF2-40B4-BE49-F238E27FC236}">
                <a16:creationId xmlns:a16="http://schemas.microsoft.com/office/drawing/2014/main" id="{4093A2EB-3C19-9E31-FDC7-914877B946FA}"/>
              </a:ext>
            </a:extLst>
          </p:cNvPr>
          <p:cNvSpPr>
            <a:spLocks noGrp="1"/>
          </p:cNvSpPr>
          <p:nvPr>
            <p:ph type="pic" sz="quarter" idx="14"/>
          </p:nvPr>
        </p:nvSpPr>
        <p:spPr>
          <a:xfrm>
            <a:off x="2828666" y="1286134"/>
            <a:ext cx="3923414" cy="4370387"/>
          </a:xfrm>
          <a:prstGeom prst="rect">
            <a:avLst/>
          </a:prstGeom>
        </p:spPr>
        <p:txBody>
          <a:bodyPr/>
          <a:lstStyle/>
          <a:p>
            <a:endParaRPr lang="en-US"/>
          </a:p>
        </p:txBody>
      </p:sp>
      <p:sp>
        <p:nvSpPr>
          <p:cNvPr id="17" name="Picture Placeholder 16">
            <a:extLst>
              <a:ext uri="{FF2B5EF4-FFF2-40B4-BE49-F238E27FC236}">
                <a16:creationId xmlns:a16="http://schemas.microsoft.com/office/drawing/2014/main" id="{AD0AD93E-4D95-4081-4F15-A8D7B51D2526}"/>
              </a:ext>
            </a:extLst>
          </p:cNvPr>
          <p:cNvSpPr>
            <a:spLocks noGrp="1"/>
          </p:cNvSpPr>
          <p:nvPr>
            <p:ph type="pic" sz="quarter" idx="15"/>
          </p:nvPr>
        </p:nvSpPr>
        <p:spPr>
          <a:xfrm>
            <a:off x="6964546" y="2179896"/>
            <a:ext cx="2179638" cy="2614613"/>
          </a:xfrm>
          <a:prstGeom prst="rect">
            <a:avLst/>
          </a:prstGeom>
        </p:spPr>
        <p:txBody>
          <a:bodyPr/>
          <a:lstStyle/>
          <a:p>
            <a:endParaRPr lang="en-US"/>
          </a:p>
        </p:txBody>
      </p:sp>
      <p:sp>
        <p:nvSpPr>
          <p:cNvPr id="19" name="Picture Placeholder 18">
            <a:extLst>
              <a:ext uri="{FF2B5EF4-FFF2-40B4-BE49-F238E27FC236}">
                <a16:creationId xmlns:a16="http://schemas.microsoft.com/office/drawing/2014/main" id="{2F0AF10A-A1DF-4170-D2CD-EFCFAB551DAE}"/>
              </a:ext>
            </a:extLst>
          </p:cNvPr>
          <p:cNvSpPr>
            <a:spLocks noGrp="1"/>
          </p:cNvSpPr>
          <p:nvPr>
            <p:ph type="pic" sz="quarter" idx="16"/>
          </p:nvPr>
        </p:nvSpPr>
        <p:spPr>
          <a:xfrm>
            <a:off x="9356651" y="1775084"/>
            <a:ext cx="2835349" cy="3413125"/>
          </a:xfrm>
          <a:prstGeom prst="rect">
            <a:avLst/>
          </a:prstGeom>
        </p:spPr>
        <p:txBody>
          <a:bodyPr/>
          <a:lstStyle/>
          <a:p>
            <a:endParaRPr lang="en-US"/>
          </a:p>
        </p:txBody>
      </p:sp>
      <p:sp>
        <p:nvSpPr>
          <p:cNvPr id="7" name="Title 1">
            <a:extLst>
              <a:ext uri="{FF2B5EF4-FFF2-40B4-BE49-F238E27FC236}">
                <a16:creationId xmlns:a16="http://schemas.microsoft.com/office/drawing/2014/main" id="{04AD1B3A-1106-508C-C1EE-402BC1616D36}"/>
              </a:ext>
            </a:extLst>
          </p:cNvPr>
          <p:cNvSpPr>
            <a:spLocks noGrp="1"/>
          </p:cNvSpPr>
          <p:nvPr>
            <p:ph type="title" hasCustomPrompt="1"/>
          </p:nvPr>
        </p:nvSpPr>
        <p:spPr>
          <a:xfrm>
            <a:off x="633632" y="722843"/>
            <a:ext cx="10963056" cy="338554"/>
          </a:xfrm>
          <a:prstGeom prst="rect">
            <a:avLst/>
          </a:prstGeom>
        </p:spPr>
        <p:txBody>
          <a:bodyPr/>
          <a:lstStyle>
            <a:lvl1pPr>
              <a:defRPr lang="en-US" sz="2200" b="1" i="0" kern="1200" spc="0" dirty="0">
                <a:solidFill>
                  <a:schemeClr val="tx1"/>
                </a:solidFill>
                <a:effectLst/>
                <a:latin typeface="+mj-lt"/>
                <a:ea typeface="Calibri" panose="020F0502020204030204" pitchFamily="34" charset="0"/>
                <a:cs typeface="Calibri" panose="020F0502020204030204" pitchFamily="34" charset="0"/>
              </a:defRPr>
            </a:lvl1pPr>
          </a:lstStyle>
          <a:p>
            <a:pPr marL="0" lvl="0" indent="0" algn="l" defTabSz="914400" rtl="0" eaLnBrk="1" latinLnBrk="0" hangingPunct="1">
              <a:lnSpc>
                <a:spcPct val="100000"/>
              </a:lnSpc>
              <a:spcBef>
                <a:spcPts val="0"/>
              </a:spcBef>
              <a:spcAft>
                <a:spcPts val="0"/>
              </a:spcAft>
              <a:buFont typeface="Arial" panose="020B0604020202020204" pitchFamily="34" charset="0"/>
              <a:buNone/>
            </a:pPr>
            <a:r>
              <a:rPr lang="en-US">
                <a:effectLst/>
              </a:rPr>
              <a:t>Title Goes Here</a:t>
            </a:r>
            <a:endParaRPr lang="en-US"/>
          </a:p>
        </p:txBody>
      </p:sp>
      <p:sp>
        <p:nvSpPr>
          <p:cNvPr id="8" name="Text Placeholder 10">
            <a:extLst>
              <a:ext uri="{FF2B5EF4-FFF2-40B4-BE49-F238E27FC236}">
                <a16:creationId xmlns:a16="http://schemas.microsoft.com/office/drawing/2014/main" id="{C617CEC1-235A-FC5F-E4B7-BCA873BFF033}"/>
              </a:ext>
            </a:extLst>
          </p:cNvPr>
          <p:cNvSpPr>
            <a:spLocks noGrp="1"/>
          </p:cNvSpPr>
          <p:nvPr>
            <p:ph type="body" sz="quarter" idx="28" hasCustomPrompt="1"/>
          </p:nvPr>
        </p:nvSpPr>
        <p:spPr>
          <a:xfrm>
            <a:off x="633632" y="419100"/>
            <a:ext cx="3611880" cy="225706"/>
          </a:xfrm>
          <a:prstGeom prst="rect">
            <a:avLst/>
          </a:prstGeom>
        </p:spPr>
        <p:txBody>
          <a:bodyPr/>
          <a:lstStyle>
            <a:lvl1pPr>
              <a:spcBef>
                <a:spcPts val="0"/>
              </a:spcBef>
              <a:defRPr lang="en-US" sz="1000" b="0" i="0" kern="1200" cap="all" spc="300" baseline="0" dirty="0">
                <a:solidFill>
                  <a:schemeClr val="tx1"/>
                </a:solidFill>
                <a:latin typeface="Calibri" panose="020F0502020204030204" pitchFamily="34" charset="0"/>
                <a:ea typeface="Calibri" panose="020F0502020204030204" pitchFamily="34" charset="0"/>
                <a:cs typeface="Calibri" panose="020F0502020204030204" pitchFamily="34" charset="0"/>
              </a:defRPr>
            </a:lvl1pPr>
          </a:lstStyle>
          <a:p>
            <a:pPr marL="0" lvl="0" indent="0" algn="l" defTabSz="914400" rtl="0" eaLnBrk="1" latinLnBrk="0" hangingPunct="1">
              <a:lnSpc>
                <a:spcPct val="100000"/>
              </a:lnSpc>
              <a:spcBef>
                <a:spcPts val="600"/>
              </a:spcBef>
              <a:spcAft>
                <a:spcPts val="0"/>
              </a:spcAft>
              <a:buFont typeface="Arial" panose="020B0604020202020204" pitchFamily="34" charset="0"/>
              <a:buNone/>
            </a:pPr>
            <a:r>
              <a:rPr lang="en-US"/>
              <a:t>Click to add section title</a:t>
            </a:r>
          </a:p>
        </p:txBody>
      </p:sp>
    </p:spTree>
    <p:extLst>
      <p:ext uri="{BB962C8B-B14F-4D97-AF65-F5344CB8AC3E}">
        <p14:creationId xmlns:p14="http://schemas.microsoft.com/office/powerpoint/2010/main" val="1248232175"/>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4_photos_varied">
    <p:bg>
      <p:bgPr>
        <a:solidFill>
          <a:schemeClr val="tx1"/>
        </a:solidFill>
        <a:effectLst/>
      </p:bgPr>
    </p:bg>
    <p:spTree>
      <p:nvGrpSpPr>
        <p:cNvPr id="1" name=""/>
        <p:cNvGrpSpPr/>
        <p:nvPr/>
      </p:nvGrpSpPr>
      <p:grpSpPr>
        <a:xfrm>
          <a:off x="0" y="0"/>
          <a:ext cx="0" cy="0"/>
          <a:chOff x="0" y="0"/>
          <a:chExt cx="0" cy="0"/>
        </a:xfrm>
      </p:grpSpPr>
      <p:sp>
        <p:nvSpPr>
          <p:cNvPr id="13" name="Picture Placeholder 12">
            <a:extLst>
              <a:ext uri="{FF2B5EF4-FFF2-40B4-BE49-F238E27FC236}">
                <a16:creationId xmlns:a16="http://schemas.microsoft.com/office/drawing/2014/main" id="{C667FF5A-BD3B-6823-510D-65EA34CAC692}"/>
              </a:ext>
            </a:extLst>
          </p:cNvPr>
          <p:cNvSpPr>
            <a:spLocks noGrp="1"/>
          </p:cNvSpPr>
          <p:nvPr>
            <p:ph type="pic" sz="quarter" idx="13"/>
          </p:nvPr>
        </p:nvSpPr>
        <p:spPr>
          <a:xfrm>
            <a:off x="0" y="2700596"/>
            <a:ext cx="2616200" cy="2605088"/>
          </a:xfrm>
          <a:prstGeom prst="rect">
            <a:avLst/>
          </a:prstGeom>
        </p:spPr>
        <p:txBody>
          <a:bodyPr/>
          <a:lstStyle/>
          <a:p>
            <a:endParaRPr lang="en-US"/>
          </a:p>
        </p:txBody>
      </p:sp>
      <p:sp>
        <p:nvSpPr>
          <p:cNvPr id="15" name="Picture Placeholder 14">
            <a:extLst>
              <a:ext uri="{FF2B5EF4-FFF2-40B4-BE49-F238E27FC236}">
                <a16:creationId xmlns:a16="http://schemas.microsoft.com/office/drawing/2014/main" id="{4093A2EB-3C19-9E31-FDC7-914877B946FA}"/>
              </a:ext>
            </a:extLst>
          </p:cNvPr>
          <p:cNvSpPr>
            <a:spLocks noGrp="1"/>
          </p:cNvSpPr>
          <p:nvPr>
            <p:ph type="pic" sz="quarter" idx="14"/>
          </p:nvPr>
        </p:nvSpPr>
        <p:spPr>
          <a:xfrm>
            <a:off x="2828666" y="1286134"/>
            <a:ext cx="3923414" cy="4370387"/>
          </a:xfrm>
          <a:prstGeom prst="rect">
            <a:avLst/>
          </a:prstGeom>
        </p:spPr>
        <p:txBody>
          <a:bodyPr/>
          <a:lstStyle/>
          <a:p>
            <a:endParaRPr lang="en-US"/>
          </a:p>
        </p:txBody>
      </p:sp>
      <p:sp>
        <p:nvSpPr>
          <p:cNvPr id="17" name="Picture Placeholder 16">
            <a:extLst>
              <a:ext uri="{FF2B5EF4-FFF2-40B4-BE49-F238E27FC236}">
                <a16:creationId xmlns:a16="http://schemas.microsoft.com/office/drawing/2014/main" id="{AD0AD93E-4D95-4081-4F15-A8D7B51D2526}"/>
              </a:ext>
            </a:extLst>
          </p:cNvPr>
          <p:cNvSpPr>
            <a:spLocks noGrp="1"/>
          </p:cNvSpPr>
          <p:nvPr>
            <p:ph type="pic" sz="quarter" idx="15"/>
          </p:nvPr>
        </p:nvSpPr>
        <p:spPr>
          <a:xfrm>
            <a:off x="6964546" y="2179896"/>
            <a:ext cx="2179638" cy="2614613"/>
          </a:xfrm>
          <a:prstGeom prst="rect">
            <a:avLst/>
          </a:prstGeom>
        </p:spPr>
        <p:txBody>
          <a:bodyPr/>
          <a:lstStyle/>
          <a:p>
            <a:endParaRPr lang="en-US"/>
          </a:p>
        </p:txBody>
      </p:sp>
      <p:sp>
        <p:nvSpPr>
          <p:cNvPr id="19" name="Picture Placeholder 18">
            <a:extLst>
              <a:ext uri="{FF2B5EF4-FFF2-40B4-BE49-F238E27FC236}">
                <a16:creationId xmlns:a16="http://schemas.microsoft.com/office/drawing/2014/main" id="{2F0AF10A-A1DF-4170-D2CD-EFCFAB551DAE}"/>
              </a:ext>
            </a:extLst>
          </p:cNvPr>
          <p:cNvSpPr>
            <a:spLocks noGrp="1"/>
          </p:cNvSpPr>
          <p:nvPr>
            <p:ph type="pic" sz="quarter" idx="16"/>
          </p:nvPr>
        </p:nvSpPr>
        <p:spPr>
          <a:xfrm>
            <a:off x="9356651" y="1775084"/>
            <a:ext cx="2835349" cy="3413125"/>
          </a:xfrm>
          <a:prstGeom prst="rect">
            <a:avLst/>
          </a:prstGeom>
        </p:spPr>
        <p:txBody>
          <a:bodyPr/>
          <a:lstStyle/>
          <a:p>
            <a:endParaRPr lang="en-US"/>
          </a:p>
        </p:txBody>
      </p:sp>
      <p:sp>
        <p:nvSpPr>
          <p:cNvPr id="2" name="Title 1">
            <a:extLst>
              <a:ext uri="{FF2B5EF4-FFF2-40B4-BE49-F238E27FC236}">
                <a16:creationId xmlns:a16="http://schemas.microsoft.com/office/drawing/2014/main" id="{6CD30DAF-6F83-AC0B-17AE-2C97B151DF10}"/>
              </a:ext>
            </a:extLst>
          </p:cNvPr>
          <p:cNvSpPr>
            <a:spLocks noGrp="1"/>
          </p:cNvSpPr>
          <p:nvPr>
            <p:ph type="title" hasCustomPrompt="1"/>
          </p:nvPr>
        </p:nvSpPr>
        <p:spPr>
          <a:xfrm>
            <a:off x="633632" y="722843"/>
            <a:ext cx="10963056" cy="338554"/>
          </a:xfrm>
          <a:prstGeom prst="rect">
            <a:avLst/>
          </a:prstGeom>
        </p:spPr>
        <p:txBody>
          <a:bodyPr/>
          <a:lstStyle>
            <a:lvl1pPr>
              <a:defRPr lang="en-US" sz="2200" b="1" i="0" kern="1200" spc="0" dirty="0">
                <a:solidFill>
                  <a:schemeClr val="bg1"/>
                </a:solidFill>
                <a:effectLst/>
                <a:latin typeface="+mj-lt"/>
                <a:ea typeface="Calibri" panose="020F0502020204030204" pitchFamily="34" charset="0"/>
                <a:cs typeface="Calibri" panose="020F0502020204030204" pitchFamily="34" charset="0"/>
              </a:defRPr>
            </a:lvl1pPr>
          </a:lstStyle>
          <a:p>
            <a:pPr marL="0" lvl="0" indent="0" algn="l" defTabSz="914400" rtl="0" eaLnBrk="1" latinLnBrk="0" hangingPunct="1">
              <a:lnSpc>
                <a:spcPct val="100000"/>
              </a:lnSpc>
              <a:spcBef>
                <a:spcPts val="0"/>
              </a:spcBef>
              <a:spcAft>
                <a:spcPts val="0"/>
              </a:spcAft>
              <a:buFont typeface="Arial" panose="020B0604020202020204" pitchFamily="34" charset="0"/>
              <a:buNone/>
            </a:pPr>
            <a:r>
              <a:rPr lang="en-US">
                <a:effectLst/>
              </a:rPr>
              <a:t>Title Goes Here</a:t>
            </a:r>
            <a:endParaRPr lang="en-US"/>
          </a:p>
        </p:txBody>
      </p:sp>
      <p:sp>
        <p:nvSpPr>
          <p:cNvPr id="5" name="Text Placeholder 10">
            <a:extLst>
              <a:ext uri="{FF2B5EF4-FFF2-40B4-BE49-F238E27FC236}">
                <a16:creationId xmlns:a16="http://schemas.microsoft.com/office/drawing/2014/main" id="{62A3FE9E-E0D4-BFFE-5B6F-AA54D4AB1E11}"/>
              </a:ext>
            </a:extLst>
          </p:cNvPr>
          <p:cNvSpPr>
            <a:spLocks noGrp="1"/>
          </p:cNvSpPr>
          <p:nvPr>
            <p:ph type="body" sz="quarter" idx="28" hasCustomPrompt="1"/>
          </p:nvPr>
        </p:nvSpPr>
        <p:spPr>
          <a:xfrm>
            <a:off x="633632" y="419100"/>
            <a:ext cx="3611880" cy="225706"/>
          </a:xfrm>
          <a:prstGeom prst="rect">
            <a:avLst/>
          </a:prstGeom>
        </p:spPr>
        <p:txBody>
          <a:bodyPr/>
          <a:lstStyle>
            <a:lvl1pPr>
              <a:spcBef>
                <a:spcPts val="0"/>
              </a:spcBef>
              <a:defRPr lang="en-US" sz="1000" b="0" i="0" kern="1200" cap="all" spc="300" baseline="0" dirty="0">
                <a:solidFill>
                  <a:schemeClr val="bg1"/>
                </a:solidFill>
                <a:latin typeface="Calibri" panose="020F0502020204030204" pitchFamily="34" charset="0"/>
                <a:ea typeface="Calibri" panose="020F0502020204030204" pitchFamily="34" charset="0"/>
                <a:cs typeface="Calibri" panose="020F0502020204030204" pitchFamily="34" charset="0"/>
              </a:defRPr>
            </a:lvl1pPr>
          </a:lstStyle>
          <a:p>
            <a:pPr marL="0" lvl="0" indent="0" algn="l" defTabSz="914400" rtl="0" eaLnBrk="1" latinLnBrk="0" hangingPunct="1">
              <a:lnSpc>
                <a:spcPct val="100000"/>
              </a:lnSpc>
              <a:spcBef>
                <a:spcPts val="600"/>
              </a:spcBef>
              <a:spcAft>
                <a:spcPts val="0"/>
              </a:spcAft>
              <a:buFont typeface="Arial" panose="020B0604020202020204" pitchFamily="34" charset="0"/>
              <a:buNone/>
            </a:pPr>
            <a:r>
              <a:rPr lang="en-US"/>
              <a:t>Click to add section title</a:t>
            </a:r>
          </a:p>
        </p:txBody>
      </p:sp>
      <p:grpSp>
        <p:nvGrpSpPr>
          <p:cNvPr id="3" name="Group 2">
            <a:extLst>
              <a:ext uri="{FF2B5EF4-FFF2-40B4-BE49-F238E27FC236}">
                <a16:creationId xmlns:a16="http://schemas.microsoft.com/office/drawing/2014/main" id="{CC9B7AEE-AF24-20B5-997B-24C3E347DA3B}"/>
              </a:ext>
            </a:extLst>
          </p:cNvPr>
          <p:cNvGrpSpPr/>
          <p:nvPr userDrawn="1"/>
        </p:nvGrpSpPr>
        <p:grpSpPr>
          <a:xfrm>
            <a:off x="610888" y="6472556"/>
            <a:ext cx="372834" cy="131175"/>
            <a:chOff x="14288" y="2035175"/>
            <a:chExt cx="10039350" cy="3532188"/>
          </a:xfrm>
          <a:solidFill>
            <a:schemeClr val="bg1"/>
          </a:solidFill>
        </p:grpSpPr>
        <p:sp>
          <p:nvSpPr>
            <p:cNvPr id="4" name="Freeform 1">
              <a:extLst>
                <a:ext uri="{FF2B5EF4-FFF2-40B4-BE49-F238E27FC236}">
                  <a16:creationId xmlns:a16="http://schemas.microsoft.com/office/drawing/2014/main" id="{92C22CFB-56FA-DE95-2C73-E6E86E3CAEB3}"/>
                </a:ext>
              </a:extLst>
            </p:cNvPr>
            <p:cNvSpPr>
              <a:spLocks noChangeArrowheads="1"/>
            </p:cNvSpPr>
            <p:nvPr/>
          </p:nvSpPr>
          <p:spPr bwMode="auto">
            <a:xfrm>
              <a:off x="1519238" y="2035175"/>
              <a:ext cx="1336675" cy="2836863"/>
            </a:xfrm>
            <a:custGeom>
              <a:avLst/>
              <a:gdLst>
                <a:gd name="T0" fmla="*/ 390493 w 3714"/>
                <a:gd name="T1" fmla="*/ 1200682 h 7882"/>
                <a:gd name="T2" fmla="*/ 945462 w 3714"/>
                <a:gd name="T3" fmla="*/ 1200682 h 7882"/>
                <a:gd name="T4" fmla="*/ 945462 w 3714"/>
                <a:gd name="T5" fmla="*/ 611498 h 7882"/>
                <a:gd name="T6" fmla="*/ 698929 w 3714"/>
                <a:gd name="T7" fmla="*/ 364596 h 7882"/>
                <a:gd name="T8" fmla="*/ 637386 w 3714"/>
                <a:gd name="T9" fmla="*/ 364596 h 7882"/>
                <a:gd name="T10" fmla="*/ 390493 w 3714"/>
                <a:gd name="T11" fmla="*/ 611498 h 7882"/>
                <a:gd name="T12" fmla="*/ 390493 w 3714"/>
                <a:gd name="T13" fmla="*/ 1200682 h 7882"/>
                <a:gd name="T14" fmla="*/ 389414 w 3714"/>
                <a:gd name="T15" fmla="*/ 1576795 h 7882"/>
                <a:gd name="T16" fmla="*/ 390493 w 3714"/>
                <a:gd name="T17" fmla="*/ 2224645 h 7882"/>
                <a:gd name="T18" fmla="*/ 637386 w 3714"/>
                <a:gd name="T19" fmla="*/ 2471548 h 7882"/>
                <a:gd name="T20" fmla="*/ 709366 w 3714"/>
                <a:gd name="T21" fmla="*/ 2471548 h 7882"/>
                <a:gd name="T22" fmla="*/ 955899 w 3714"/>
                <a:gd name="T23" fmla="*/ 2224645 h 7882"/>
                <a:gd name="T24" fmla="*/ 955899 w 3714"/>
                <a:gd name="T25" fmla="*/ 1906119 h 7882"/>
                <a:gd name="T26" fmla="*/ 1336315 w 3714"/>
                <a:gd name="T27" fmla="*/ 1906119 h 7882"/>
                <a:gd name="T28" fmla="*/ 1336315 w 3714"/>
                <a:gd name="T29" fmla="*/ 2209528 h 7882"/>
                <a:gd name="T30" fmla="*/ 709366 w 3714"/>
                <a:gd name="T31" fmla="*/ 2836503 h 7882"/>
                <a:gd name="T32" fmla="*/ 626949 w 3714"/>
                <a:gd name="T33" fmla="*/ 2836503 h 7882"/>
                <a:gd name="T34" fmla="*/ 0 w 3714"/>
                <a:gd name="T35" fmla="*/ 2258117 h 7882"/>
                <a:gd name="T36" fmla="*/ 0 w 3714"/>
                <a:gd name="T37" fmla="*/ 675564 h 7882"/>
                <a:gd name="T38" fmla="*/ 626949 w 3714"/>
                <a:gd name="T39" fmla="*/ 0 h 7882"/>
                <a:gd name="T40" fmla="*/ 709366 w 3714"/>
                <a:gd name="T41" fmla="*/ 0 h 7882"/>
                <a:gd name="T42" fmla="*/ 1336315 w 3714"/>
                <a:gd name="T43" fmla="*/ 626975 h 7882"/>
                <a:gd name="T44" fmla="*/ 1334875 w 3714"/>
                <a:gd name="T45" fmla="*/ 1576795 h 7882"/>
                <a:gd name="T46" fmla="*/ 389414 w 3714"/>
                <a:gd name="T47" fmla="*/ 1576795 h 7882"/>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3714" h="7882">
                  <a:moveTo>
                    <a:pt x="1085" y="3336"/>
                  </a:moveTo>
                  <a:lnTo>
                    <a:pt x="2627" y="3336"/>
                  </a:lnTo>
                  <a:lnTo>
                    <a:pt x="2627" y="1699"/>
                  </a:lnTo>
                  <a:cubicBezTo>
                    <a:pt x="2627" y="1242"/>
                    <a:pt x="2399" y="1013"/>
                    <a:pt x="1942" y="1013"/>
                  </a:cubicBezTo>
                  <a:lnTo>
                    <a:pt x="1771" y="1013"/>
                  </a:lnTo>
                  <a:cubicBezTo>
                    <a:pt x="1314" y="1013"/>
                    <a:pt x="1085" y="1242"/>
                    <a:pt x="1085" y="1699"/>
                  </a:cubicBezTo>
                  <a:lnTo>
                    <a:pt x="1085" y="3336"/>
                  </a:lnTo>
                  <a:close/>
                  <a:moveTo>
                    <a:pt x="1082" y="4381"/>
                  </a:moveTo>
                  <a:lnTo>
                    <a:pt x="1085" y="6181"/>
                  </a:lnTo>
                  <a:cubicBezTo>
                    <a:pt x="1085" y="6638"/>
                    <a:pt x="1314" y="6867"/>
                    <a:pt x="1771" y="6867"/>
                  </a:cubicBezTo>
                  <a:lnTo>
                    <a:pt x="1971" y="6867"/>
                  </a:lnTo>
                  <a:cubicBezTo>
                    <a:pt x="2428" y="6867"/>
                    <a:pt x="2656" y="6638"/>
                    <a:pt x="2656" y="6181"/>
                  </a:cubicBezTo>
                  <a:lnTo>
                    <a:pt x="2656" y="5296"/>
                  </a:lnTo>
                  <a:lnTo>
                    <a:pt x="3713" y="5296"/>
                  </a:lnTo>
                  <a:lnTo>
                    <a:pt x="3713" y="6139"/>
                  </a:lnTo>
                  <a:cubicBezTo>
                    <a:pt x="3713" y="7295"/>
                    <a:pt x="3127" y="7881"/>
                    <a:pt x="1971" y="7881"/>
                  </a:cubicBezTo>
                  <a:lnTo>
                    <a:pt x="1742" y="7881"/>
                  </a:lnTo>
                  <a:cubicBezTo>
                    <a:pt x="585" y="7881"/>
                    <a:pt x="0" y="7295"/>
                    <a:pt x="0" y="6274"/>
                  </a:cubicBezTo>
                  <a:lnTo>
                    <a:pt x="0" y="1877"/>
                  </a:lnTo>
                  <a:cubicBezTo>
                    <a:pt x="0" y="585"/>
                    <a:pt x="585" y="0"/>
                    <a:pt x="1742" y="0"/>
                  </a:cubicBezTo>
                  <a:lnTo>
                    <a:pt x="1971" y="0"/>
                  </a:lnTo>
                  <a:cubicBezTo>
                    <a:pt x="3127" y="0"/>
                    <a:pt x="3713" y="585"/>
                    <a:pt x="3713" y="1742"/>
                  </a:cubicBezTo>
                  <a:lnTo>
                    <a:pt x="3709" y="4381"/>
                  </a:lnTo>
                  <a:lnTo>
                    <a:pt x="1082" y="4381"/>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endParaRPr lang="en-US"/>
            </a:p>
          </p:txBody>
        </p:sp>
        <p:sp>
          <p:nvSpPr>
            <p:cNvPr id="6" name="Freeform 2">
              <a:extLst>
                <a:ext uri="{FF2B5EF4-FFF2-40B4-BE49-F238E27FC236}">
                  <a16:creationId xmlns:a16="http://schemas.microsoft.com/office/drawing/2014/main" id="{D5D05C2D-861E-ED67-8B84-60E91823F417}"/>
                </a:ext>
              </a:extLst>
            </p:cNvPr>
            <p:cNvSpPr>
              <a:spLocks noChangeArrowheads="1"/>
            </p:cNvSpPr>
            <p:nvPr/>
          </p:nvSpPr>
          <p:spPr bwMode="auto">
            <a:xfrm>
              <a:off x="3109913" y="2035175"/>
              <a:ext cx="1368425" cy="3532188"/>
            </a:xfrm>
            <a:custGeom>
              <a:avLst/>
              <a:gdLst>
                <a:gd name="T0" fmla="*/ 390721 w 3800"/>
                <a:gd name="T1" fmla="*/ 2322993 h 9812"/>
                <a:gd name="T2" fmla="*/ 750833 w 3800"/>
                <a:gd name="T3" fmla="*/ 2466628 h 9812"/>
                <a:gd name="T4" fmla="*/ 976983 w 3800"/>
                <a:gd name="T5" fmla="*/ 2240556 h 9812"/>
                <a:gd name="T6" fmla="*/ 976983 w 3800"/>
                <a:gd name="T7" fmla="*/ 596138 h 9812"/>
                <a:gd name="T8" fmla="*/ 750833 w 3800"/>
                <a:gd name="T9" fmla="*/ 370066 h 9812"/>
                <a:gd name="T10" fmla="*/ 390721 w 3800"/>
                <a:gd name="T11" fmla="*/ 514061 h 9812"/>
                <a:gd name="T12" fmla="*/ 390721 w 3800"/>
                <a:gd name="T13" fmla="*/ 2322993 h 9812"/>
                <a:gd name="T14" fmla="*/ 0 w 3800"/>
                <a:gd name="T15" fmla="*/ 30599 h 9812"/>
                <a:gd name="T16" fmla="*/ 390721 w 3800"/>
                <a:gd name="T17" fmla="*/ 30599 h 9812"/>
                <a:gd name="T18" fmla="*/ 390721 w 3800"/>
                <a:gd name="T19" fmla="*/ 210592 h 9812"/>
                <a:gd name="T20" fmla="*/ 868950 w 3800"/>
                <a:gd name="T21" fmla="*/ 0 h 9812"/>
                <a:gd name="T22" fmla="*/ 1368065 w 3800"/>
                <a:gd name="T23" fmla="*/ 549699 h 9812"/>
                <a:gd name="T24" fmla="*/ 1368065 w 3800"/>
                <a:gd name="T25" fmla="*/ 2286995 h 9812"/>
                <a:gd name="T26" fmla="*/ 868950 w 3800"/>
                <a:gd name="T27" fmla="*/ 2837054 h 9812"/>
                <a:gd name="T28" fmla="*/ 390721 w 3800"/>
                <a:gd name="T29" fmla="*/ 2636541 h 9812"/>
                <a:gd name="T30" fmla="*/ 390721 w 3800"/>
                <a:gd name="T31" fmla="*/ 3531828 h 9812"/>
                <a:gd name="T32" fmla="*/ 0 w 3800"/>
                <a:gd name="T33" fmla="*/ 3531828 h 9812"/>
                <a:gd name="T34" fmla="*/ 0 w 3800"/>
                <a:gd name="T35" fmla="*/ 30599 h 9812"/>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3800" h="9812">
                  <a:moveTo>
                    <a:pt x="1085" y="6453"/>
                  </a:moveTo>
                  <a:cubicBezTo>
                    <a:pt x="1385" y="6710"/>
                    <a:pt x="1728" y="6852"/>
                    <a:pt x="2085" y="6852"/>
                  </a:cubicBezTo>
                  <a:cubicBezTo>
                    <a:pt x="2485" y="6852"/>
                    <a:pt x="2713" y="6667"/>
                    <a:pt x="2713" y="6224"/>
                  </a:cubicBezTo>
                  <a:lnTo>
                    <a:pt x="2713" y="1656"/>
                  </a:lnTo>
                  <a:cubicBezTo>
                    <a:pt x="2713" y="1213"/>
                    <a:pt x="2485" y="1028"/>
                    <a:pt x="2085" y="1028"/>
                  </a:cubicBezTo>
                  <a:cubicBezTo>
                    <a:pt x="1728" y="1028"/>
                    <a:pt x="1385" y="1170"/>
                    <a:pt x="1085" y="1428"/>
                  </a:cubicBezTo>
                  <a:lnTo>
                    <a:pt x="1085" y="6453"/>
                  </a:lnTo>
                  <a:close/>
                  <a:moveTo>
                    <a:pt x="0" y="85"/>
                  </a:moveTo>
                  <a:lnTo>
                    <a:pt x="1085" y="85"/>
                  </a:lnTo>
                  <a:lnTo>
                    <a:pt x="1085" y="585"/>
                  </a:lnTo>
                  <a:cubicBezTo>
                    <a:pt x="1342" y="314"/>
                    <a:pt x="1785" y="0"/>
                    <a:pt x="2413" y="0"/>
                  </a:cubicBezTo>
                  <a:cubicBezTo>
                    <a:pt x="3342" y="0"/>
                    <a:pt x="3799" y="614"/>
                    <a:pt x="3799" y="1527"/>
                  </a:cubicBezTo>
                  <a:lnTo>
                    <a:pt x="3799" y="6353"/>
                  </a:lnTo>
                  <a:cubicBezTo>
                    <a:pt x="3799" y="7267"/>
                    <a:pt x="3342" y="7881"/>
                    <a:pt x="2413" y="7881"/>
                  </a:cubicBezTo>
                  <a:cubicBezTo>
                    <a:pt x="1785" y="7881"/>
                    <a:pt x="1342" y="7581"/>
                    <a:pt x="1085" y="7324"/>
                  </a:cubicBezTo>
                  <a:lnTo>
                    <a:pt x="1085" y="9811"/>
                  </a:lnTo>
                  <a:lnTo>
                    <a:pt x="0" y="9811"/>
                  </a:lnTo>
                  <a:lnTo>
                    <a:pt x="0" y="85"/>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endParaRPr lang="en-US"/>
            </a:p>
          </p:txBody>
        </p:sp>
        <p:sp>
          <p:nvSpPr>
            <p:cNvPr id="7" name="Freeform 3">
              <a:extLst>
                <a:ext uri="{FF2B5EF4-FFF2-40B4-BE49-F238E27FC236}">
                  <a16:creationId xmlns:a16="http://schemas.microsoft.com/office/drawing/2014/main" id="{BC6BBBEA-2E0B-151D-BEA2-E9C3C822B2E5}"/>
                </a:ext>
              </a:extLst>
            </p:cNvPr>
            <p:cNvSpPr>
              <a:spLocks noChangeArrowheads="1"/>
            </p:cNvSpPr>
            <p:nvPr/>
          </p:nvSpPr>
          <p:spPr bwMode="auto">
            <a:xfrm>
              <a:off x="4711700" y="2035175"/>
              <a:ext cx="1328738" cy="2836863"/>
            </a:xfrm>
            <a:custGeom>
              <a:avLst/>
              <a:gdLst>
                <a:gd name="T0" fmla="*/ 937679 w 3690"/>
                <a:gd name="T1" fmla="*/ 2338019 h 7882"/>
                <a:gd name="T2" fmla="*/ 937679 w 3690"/>
                <a:gd name="T3" fmla="*/ 1422750 h 7882"/>
                <a:gd name="T4" fmla="*/ 582988 w 3690"/>
                <a:gd name="T5" fmla="*/ 1556999 h 7882"/>
                <a:gd name="T6" fmla="*/ 392500 w 3690"/>
                <a:gd name="T7" fmla="*/ 1844573 h 7882"/>
                <a:gd name="T8" fmla="*/ 392500 w 3690"/>
                <a:gd name="T9" fmla="*/ 2266035 h 7882"/>
                <a:gd name="T10" fmla="*/ 582988 w 3690"/>
                <a:gd name="T11" fmla="*/ 2466149 h 7882"/>
                <a:gd name="T12" fmla="*/ 937679 w 3690"/>
                <a:gd name="T13" fmla="*/ 2338019 h 7882"/>
                <a:gd name="T14" fmla="*/ 2161 w 3690"/>
                <a:gd name="T15" fmla="*/ 1839174 h 7882"/>
                <a:gd name="T16" fmla="*/ 413025 w 3690"/>
                <a:gd name="T17" fmla="*/ 1253950 h 7882"/>
                <a:gd name="T18" fmla="*/ 937679 w 3690"/>
                <a:gd name="T19" fmla="*/ 1073991 h 7882"/>
                <a:gd name="T20" fmla="*/ 937679 w 3690"/>
                <a:gd name="T21" fmla="*/ 611498 h 7882"/>
                <a:gd name="T22" fmla="*/ 690656 w 3690"/>
                <a:gd name="T23" fmla="*/ 359557 h 7882"/>
                <a:gd name="T24" fmla="*/ 627280 w 3690"/>
                <a:gd name="T25" fmla="*/ 359557 h 7882"/>
                <a:gd name="T26" fmla="*/ 380257 w 3690"/>
                <a:gd name="T27" fmla="*/ 611498 h 7882"/>
                <a:gd name="T28" fmla="*/ 380257 w 3690"/>
                <a:gd name="T29" fmla="*/ 1004527 h 7882"/>
                <a:gd name="T30" fmla="*/ 0 w 3690"/>
                <a:gd name="T31" fmla="*/ 1004527 h 7882"/>
                <a:gd name="T32" fmla="*/ 0 w 3690"/>
                <a:gd name="T33" fmla="*/ 626975 h 7882"/>
                <a:gd name="T34" fmla="*/ 627280 w 3690"/>
                <a:gd name="T35" fmla="*/ 0 h 7882"/>
                <a:gd name="T36" fmla="*/ 701098 w 3690"/>
                <a:gd name="T37" fmla="*/ 0 h 7882"/>
                <a:gd name="T38" fmla="*/ 1328378 w 3690"/>
                <a:gd name="T39" fmla="*/ 626975 h 7882"/>
                <a:gd name="T40" fmla="*/ 1328378 w 3690"/>
                <a:gd name="T41" fmla="*/ 2805550 h 7882"/>
                <a:gd name="T42" fmla="*/ 937679 w 3690"/>
                <a:gd name="T43" fmla="*/ 2805550 h 7882"/>
                <a:gd name="T44" fmla="*/ 937679 w 3690"/>
                <a:gd name="T45" fmla="*/ 2630631 h 7882"/>
                <a:gd name="T46" fmla="*/ 459477 w 3690"/>
                <a:gd name="T47" fmla="*/ 2836503 h 7882"/>
                <a:gd name="T48" fmla="*/ 2161 w 3690"/>
                <a:gd name="T49" fmla="*/ 2348096 h 7882"/>
                <a:gd name="T50" fmla="*/ 2161 w 3690"/>
                <a:gd name="T51" fmla="*/ 1839174 h 7882"/>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3690" h="7882">
                  <a:moveTo>
                    <a:pt x="2604" y="6496"/>
                  </a:moveTo>
                  <a:lnTo>
                    <a:pt x="2604" y="3953"/>
                  </a:lnTo>
                  <a:lnTo>
                    <a:pt x="1619" y="4326"/>
                  </a:lnTo>
                  <a:cubicBezTo>
                    <a:pt x="1219" y="4483"/>
                    <a:pt x="1090" y="4683"/>
                    <a:pt x="1090" y="5125"/>
                  </a:cubicBezTo>
                  <a:lnTo>
                    <a:pt x="1090" y="6296"/>
                  </a:lnTo>
                  <a:cubicBezTo>
                    <a:pt x="1090" y="6667"/>
                    <a:pt x="1276" y="6852"/>
                    <a:pt x="1619" y="6852"/>
                  </a:cubicBezTo>
                  <a:cubicBezTo>
                    <a:pt x="1947" y="6852"/>
                    <a:pt x="2247" y="6738"/>
                    <a:pt x="2604" y="6496"/>
                  </a:cubicBezTo>
                  <a:close/>
                  <a:moveTo>
                    <a:pt x="6" y="5110"/>
                  </a:moveTo>
                  <a:cubicBezTo>
                    <a:pt x="6" y="4155"/>
                    <a:pt x="320" y="3769"/>
                    <a:pt x="1147" y="3484"/>
                  </a:cubicBezTo>
                  <a:lnTo>
                    <a:pt x="2604" y="2984"/>
                  </a:lnTo>
                  <a:lnTo>
                    <a:pt x="2604" y="1699"/>
                  </a:lnTo>
                  <a:cubicBezTo>
                    <a:pt x="2604" y="1242"/>
                    <a:pt x="2375" y="999"/>
                    <a:pt x="1918" y="999"/>
                  </a:cubicBezTo>
                  <a:lnTo>
                    <a:pt x="1742" y="999"/>
                  </a:lnTo>
                  <a:cubicBezTo>
                    <a:pt x="1285" y="999"/>
                    <a:pt x="1056" y="1242"/>
                    <a:pt x="1056" y="1699"/>
                  </a:cubicBezTo>
                  <a:lnTo>
                    <a:pt x="1056" y="2791"/>
                  </a:lnTo>
                  <a:lnTo>
                    <a:pt x="0" y="2791"/>
                  </a:lnTo>
                  <a:lnTo>
                    <a:pt x="0" y="1742"/>
                  </a:lnTo>
                  <a:cubicBezTo>
                    <a:pt x="0" y="585"/>
                    <a:pt x="586" y="0"/>
                    <a:pt x="1742" y="0"/>
                  </a:cubicBezTo>
                  <a:lnTo>
                    <a:pt x="1947" y="0"/>
                  </a:lnTo>
                  <a:cubicBezTo>
                    <a:pt x="3104" y="0"/>
                    <a:pt x="3689" y="585"/>
                    <a:pt x="3689" y="1742"/>
                  </a:cubicBezTo>
                  <a:lnTo>
                    <a:pt x="3689" y="7795"/>
                  </a:lnTo>
                  <a:lnTo>
                    <a:pt x="2604" y="7795"/>
                  </a:lnTo>
                  <a:lnTo>
                    <a:pt x="2604" y="7309"/>
                  </a:lnTo>
                  <a:cubicBezTo>
                    <a:pt x="2304" y="7595"/>
                    <a:pt x="1904" y="7881"/>
                    <a:pt x="1276" y="7881"/>
                  </a:cubicBezTo>
                  <a:cubicBezTo>
                    <a:pt x="406" y="7881"/>
                    <a:pt x="6" y="7381"/>
                    <a:pt x="6" y="6524"/>
                  </a:cubicBezTo>
                  <a:lnTo>
                    <a:pt x="6" y="5110"/>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endParaRPr lang="en-US"/>
            </a:p>
          </p:txBody>
        </p:sp>
        <p:sp>
          <p:nvSpPr>
            <p:cNvPr id="8" name="Freeform 4">
              <a:extLst>
                <a:ext uri="{FF2B5EF4-FFF2-40B4-BE49-F238E27FC236}">
                  <a16:creationId xmlns:a16="http://schemas.microsoft.com/office/drawing/2014/main" id="{20866D1C-D833-F559-0812-5BE60C5CF041}"/>
                </a:ext>
              </a:extLst>
            </p:cNvPr>
            <p:cNvSpPr>
              <a:spLocks noChangeArrowheads="1"/>
            </p:cNvSpPr>
            <p:nvPr/>
          </p:nvSpPr>
          <p:spPr bwMode="auto">
            <a:xfrm>
              <a:off x="6292850" y="2035175"/>
              <a:ext cx="2262188" cy="2806700"/>
            </a:xfrm>
            <a:custGeom>
              <a:avLst/>
              <a:gdLst>
                <a:gd name="T0" fmla="*/ 1326358 w 6285"/>
                <a:gd name="T1" fmla="*/ 2806340 h 7796"/>
                <a:gd name="T2" fmla="*/ 935470 w 6285"/>
                <a:gd name="T3" fmla="*/ 2806340 h 7796"/>
                <a:gd name="T4" fmla="*/ 935470 w 6285"/>
                <a:gd name="T5" fmla="*/ 570628 h 7796"/>
                <a:gd name="T6" fmla="*/ 750463 w 6285"/>
                <a:gd name="T7" fmla="*/ 370098 h 7796"/>
                <a:gd name="T8" fmla="*/ 390889 w 6285"/>
                <a:gd name="T9" fmla="*/ 508705 h 7796"/>
                <a:gd name="T10" fmla="*/ 390889 w 6285"/>
                <a:gd name="T11" fmla="*/ 2806340 h 7796"/>
                <a:gd name="T12" fmla="*/ 0 w 6285"/>
                <a:gd name="T13" fmla="*/ 2806340 h 7796"/>
                <a:gd name="T14" fmla="*/ 0 w 6285"/>
                <a:gd name="T15" fmla="*/ 30602 h 7796"/>
                <a:gd name="T16" fmla="*/ 390889 w 6285"/>
                <a:gd name="T17" fmla="*/ 30602 h 7796"/>
                <a:gd name="T18" fmla="*/ 390889 w 6285"/>
                <a:gd name="T19" fmla="*/ 210611 h 7796"/>
                <a:gd name="T20" fmla="*/ 868882 w 6285"/>
                <a:gd name="T21" fmla="*/ 0 h 7796"/>
                <a:gd name="T22" fmla="*/ 1274888 w 6285"/>
                <a:gd name="T23" fmla="*/ 226091 h 7796"/>
                <a:gd name="T24" fmla="*/ 1804351 w 6285"/>
                <a:gd name="T25" fmla="*/ 0 h 7796"/>
                <a:gd name="T26" fmla="*/ 2261828 w 6285"/>
                <a:gd name="T27" fmla="*/ 488184 h 7796"/>
                <a:gd name="T28" fmla="*/ 2261828 w 6285"/>
                <a:gd name="T29" fmla="*/ 2806340 h 7796"/>
                <a:gd name="T30" fmla="*/ 1870939 w 6285"/>
                <a:gd name="T31" fmla="*/ 2806340 h 7796"/>
                <a:gd name="T32" fmla="*/ 1870939 w 6285"/>
                <a:gd name="T33" fmla="*/ 570628 h 7796"/>
                <a:gd name="T34" fmla="*/ 1685933 w 6285"/>
                <a:gd name="T35" fmla="*/ 370098 h 7796"/>
                <a:gd name="T36" fmla="*/ 1326358 w 6285"/>
                <a:gd name="T37" fmla="*/ 508705 h 7796"/>
                <a:gd name="T38" fmla="*/ 1326358 w 6285"/>
                <a:gd name="T39" fmla="*/ 2806340 h 779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6285" h="7796">
                  <a:moveTo>
                    <a:pt x="3685" y="7795"/>
                  </a:moveTo>
                  <a:lnTo>
                    <a:pt x="2599" y="7795"/>
                  </a:lnTo>
                  <a:lnTo>
                    <a:pt x="2599" y="1585"/>
                  </a:lnTo>
                  <a:cubicBezTo>
                    <a:pt x="2599" y="1199"/>
                    <a:pt x="2414" y="1028"/>
                    <a:pt x="2085" y="1028"/>
                  </a:cubicBezTo>
                  <a:cubicBezTo>
                    <a:pt x="1785" y="1028"/>
                    <a:pt x="1471" y="1142"/>
                    <a:pt x="1086" y="1413"/>
                  </a:cubicBezTo>
                  <a:lnTo>
                    <a:pt x="1086" y="7795"/>
                  </a:lnTo>
                  <a:lnTo>
                    <a:pt x="0" y="7795"/>
                  </a:lnTo>
                  <a:lnTo>
                    <a:pt x="0" y="85"/>
                  </a:lnTo>
                  <a:lnTo>
                    <a:pt x="1086" y="85"/>
                  </a:lnTo>
                  <a:lnTo>
                    <a:pt x="1086" y="585"/>
                  </a:lnTo>
                  <a:cubicBezTo>
                    <a:pt x="1400" y="285"/>
                    <a:pt x="1814" y="0"/>
                    <a:pt x="2414" y="0"/>
                  </a:cubicBezTo>
                  <a:cubicBezTo>
                    <a:pt x="2971" y="0"/>
                    <a:pt x="3342" y="228"/>
                    <a:pt x="3542" y="628"/>
                  </a:cubicBezTo>
                  <a:cubicBezTo>
                    <a:pt x="3928" y="299"/>
                    <a:pt x="4385" y="0"/>
                    <a:pt x="5013" y="0"/>
                  </a:cubicBezTo>
                  <a:cubicBezTo>
                    <a:pt x="5855" y="0"/>
                    <a:pt x="6284" y="514"/>
                    <a:pt x="6284" y="1356"/>
                  </a:cubicBezTo>
                  <a:lnTo>
                    <a:pt x="6284" y="7795"/>
                  </a:lnTo>
                  <a:lnTo>
                    <a:pt x="5198" y="7795"/>
                  </a:lnTo>
                  <a:lnTo>
                    <a:pt x="5198" y="1585"/>
                  </a:lnTo>
                  <a:cubicBezTo>
                    <a:pt x="5198" y="1199"/>
                    <a:pt x="5013" y="1028"/>
                    <a:pt x="4684" y="1028"/>
                  </a:cubicBezTo>
                  <a:cubicBezTo>
                    <a:pt x="4385" y="1028"/>
                    <a:pt x="4070" y="1142"/>
                    <a:pt x="3685" y="1413"/>
                  </a:cubicBezTo>
                  <a:lnTo>
                    <a:pt x="3685" y="7795"/>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endParaRPr lang="en-US"/>
            </a:p>
          </p:txBody>
        </p:sp>
        <p:sp>
          <p:nvSpPr>
            <p:cNvPr id="9" name="Freeform 5">
              <a:extLst>
                <a:ext uri="{FF2B5EF4-FFF2-40B4-BE49-F238E27FC236}">
                  <a16:creationId xmlns:a16="http://schemas.microsoft.com/office/drawing/2014/main" id="{0C4CA347-AB34-21E7-2265-4E5A6722F98A}"/>
                </a:ext>
              </a:extLst>
            </p:cNvPr>
            <p:cNvSpPr>
              <a:spLocks noChangeArrowheads="1"/>
            </p:cNvSpPr>
            <p:nvPr/>
          </p:nvSpPr>
          <p:spPr bwMode="auto">
            <a:xfrm>
              <a:off x="14288" y="2322513"/>
              <a:ext cx="1004887" cy="2274887"/>
            </a:xfrm>
            <a:custGeom>
              <a:avLst/>
              <a:gdLst>
                <a:gd name="T0" fmla="*/ 1004527 w 2790"/>
                <a:gd name="T1" fmla="*/ 0 h 6317"/>
                <a:gd name="T2" fmla="*/ 1004527 w 2790"/>
                <a:gd name="T3" fmla="*/ 510652 h 6317"/>
                <a:gd name="T4" fmla="*/ 346488 w 2790"/>
                <a:gd name="T5" fmla="*/ 1137624 h 6317"/>
                <a:gd name="T6" fmla="*/ 1004527 w 2790"/>
                <a:gd name="T7" fmla="*/ 1752711 h 6317"/>
                <a:gd name="T8" fmla="*/ 1004527 w 2790"/>
                <a:gd name="T9" fmla="*/ 2274527 h 6317"/>
                <a:gd name="T10" fmla="*/ 0 w 2790"/>
                <a:gd name="T11" fmla="*/ 1331009 h 6317"/>
                <a:gd name="T12" fmla="*/ 0 w 2790"/>
                <a:gd name="T13" fmla="*/ 955042 h 6317"/>
                <a:gd name="T14" fmla="*/ 1004527 w 2790"/>
                <a:gd name="T15" fmla="*/ 0 h 6317"/>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2790" h="6317">
                  <a:moveTo>
                    <a:pt x="2789" y="0"/>
                  </a:moveTo>
                  <a:lnTo>
                    <a:pt x="2789" y="1418"/>
                  </a:lnTo>
                  <a:lnTo>
                    <a:pt x="962" y="3159"/>
                  </a:lnTo>
                  <a:lnTo>
                    <a:pt x="2789" y="4867"/>
                  </a:lnTo>
                  <a:lnTo>
                    <a:pt x="2789" y="6316"/>
                  </a:lnTo>
                  <a:lnTo>
                    <a:pt x="0" y="3696"/>
                  </a:lnTo>
                  <a:lnTo>
                    <a:pt x="0" y="2652"/>
                  </a:lnTo>
                  <a:lnTo>
                    <a:pt x="2789"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endParaRPr lang="en-US"/>
            </a:p>
          </p:txBody>
        </p:sp>
        <p:sp>
          <p:nvSpPr>
            <p:cNvPr id="10" name="Freeform 6">
              <a:extLst>
                <a:ext uri="{FF2B5EF4-FFF2-40B4-BE49-F238E27FC236}">
                  <a16:creationId xmlns:a16="http://schemas.microsoft.com/office/drawing/2014/main" id="{05870630-3B7F-F734-67D0-0E8F435F31CF}"/>
                </a:ext>
              </a:extLst>
            </p:cNvPr>
            <p:cNvSpPr>
              <a:spLocks noChangeArrowheads="1"/>
            </p:cNvSpPr>
            <p:nvPr/>
          </p:nvSpPr>
          <p:spPr bwMode="auto">
            <a:xfrm>
              <a:off x="9050338" y="2322513"/>
              <a:ext cx="1003300" cy="2274887"/>
            </a:xfrm>
            <a:custGeom>
              <a:avLst/>
              <a:gdLst>
                <a:gd name="T0" fmla="*/ 1002940 w 2789"/>
                <a:gd name="T1" fmla="*/ 955042 h 6317"/>
                <a:gd name="T2" fmla="*/ 1002940 w 2789"/>
                <a:gd name="T3" fmla="*/ 1331009 h 6317"/>
                <a:gd name="T4" fmla="*/ 0 w 2789"/>
                <a:gd name="T5" fmla="*/ 2274527 h 6317"/>
                <a:gd name="T6" fmla="*/ 0 w 2789"/>
                <a:gd name="T7" fmla="*/ 1752711 h 6317"/>
                <a:gd name="T8" fmla="*/ 656876 w 2789"/>
                <a:gd name="T9" fmla="*/ 1137624 h 6317"/>
                <a:gd name="T10" fmla="*/ 0 w 2789"/>
                <a:gd name="T11" fmla="*/ 510652 h 6317"/>
                <a:gd name="T12" fmla="*/ 0 w 2789"/>
                <a:gd name="T13" fmla="*/ 0 h 6317"/>
                <a:gd name="T14" fmla="*/ 1002940 w 2789"/>
                <a:gd name="T15" fmla="*/ 955042 h 6317"/>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2789" h="6317">
                  <a:moveTo>
                    <a:pt x="2788" y="2652"/>
                  </a:moveTo>
                  <a:lnTo>
                    <a:pt x="2788" y="3696"/>
                  </a:lnTo>
                  <a:lnTo>
                    <a:pt x="0" y="6316"/>
                  </a:lnTo>
                  <a:lnTo>
                    <a:pt x="0" y="4867"/>
                  </a:lnTo>
                  <a:lnTo>
                    <a:pt x="1826" y="3159"/>
                  </a:lnTo>
                  <a:lnTo>
                    <a:pt x="0" y="1418"/>
                  </a:lnTo>
                  <a:lnTo>
                    <a:pt x="0" y="0"/>
                  </a:lnTo>
                  <a:lnTo>
                    <a:pt x="2788" y="2652"/>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endParaRPr lang="en-US"/>
            </a:p>
          </p:txBody>
        </p:sp>
      </p:grpSp>
      <p:sp>
        <p:nvSpPr>
          <p:cNvPr id="11" name="Footer Placeholder 14">
            <a:extLst>
              <a:ext uri="{FF2B5EF4-FFF2-40B4-BE49-F238E27FC236}">
                <a16:creationId xmlns:a16="http://schemas.microsoft.com/office/drawing/2014/main" id="{0BFE6E67-369E-1C8E-9BF5-6647FE618BAE}"/>
              </a:ext>
            </a:extLst>
          </p:cNvPr>
          <p:cNvSpPr txBox="1">
            <a:spLocks/>
          </p:cNvSpPr>
          <p:nvPr userDrawn="1"/>
        </p:nvSpPr>
        <p:spPr>
          <a:xfrm>
            <a:off x="1206203" y="6411603"/>
            <a:ext cx="2157779" cy="228599"/>
          </a:xfrm>
          <a:prstGeom prst="rect">
            <a:avLst/>
          </a:prstGeom>
        </p:spPr>
        <p:txBody>
          <a:bodyPr vert="horz" lIns="0" tIns="0" rIns="0" bIns="0" rtlCol="0" anchor="ctr"/>
          <a:lstStyle>
            <a:defPPr>
              <a:defRPr lang="en-US"/>
            </a:defPPr>
            <a:lvl1pPr marL="0" algn="r" defTabSz="914400" rtl="0" eaLnBrk="1" latinLnBrk="0" hangingPunct="1">
              <a:defRPr sz="600" b="0" i="0" kern="1200">
                <a:solidFill>
                  <a:schemeClr val="tx1"/>
                </a:solidFill>
                <a:latin typeface="+mn-lt"/>
                <a:ea typeface="Calibri" panose="020F0502020204030204" pitchFamily="34" charset="0"/>
                <a:cs typeface="Calibri" panose="020F050202020403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b="0" i="0">
                <a:solidFill>
                  <a:schemeClr val="bg1"/>
                </a:solidFill>
                <a:latin typeface="+mn-lt"/>
              </a:rPr>
              <a:t>EPAM Proprietary &amp; Confidential</a:t>
            </a:r>
            <a:r>
              <a:rPr lang="ru-RU" b="0" i="0">
                <a:solidFill>
                  <a:schemeClr val="bg1"/>
                </a:solidFill>
                <a:latin typeface="+mn-lt"/>
              </a:rPr>
              <a:t> </a:t>
            </a:r>
            <a:endParaRPr lang="en-US" b="0" i="0">
              <a:solidFill>
                <a:schemeClr val="bg1"/>
              </a:solidFill>
              <a:latin typeface="+mn-lt"/>
            </a:endParaRPr>
          </a:p>
        </p:txBody>
      </p:sp>
      <p:pic>
        <p:nvPicPr>
          <p:cNvPr id="16" name="Graphic 15">
            <a:extLst>
              <a:ext uri="{FF2B5EF4-FFF2-40B4-BE49-F238E27FC236}">
                <a16:creationId xmlns:a16="http://schemas.microsoft.com/office/drawing/2014/main" id="{A91E19BB-E7BB-61BE-8C48-B572F2BF537C}"/>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820266" y="6419060"/>
            <a:ext cx="762921" cy="205636"/>
          </a:xfrm>
          <a:prstGeom prst="rect">
            <a:avLst/>
          </a:prstGeom>
        </p:spPr>
      </p:pic>
    </p:spTree>
    <p:extLst>
      <p:ext uri="{BB962C8B-B14F-4D97-AF65-F5344CB8AC3E}">
        <p14:creationId xmlns:p14="http://schemas.microsoft.com/office/powerpoint/2010/main" val="2070875369"/>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Arrow">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B17DFB89-A9BD-47AC-B57A-7869039229B5}"/>
              </a:ext>
            </a:extLst>
          </p:cNvPr>
          <p:cNvSpPr/>
          <p:nvPr userDrawn="1"/>
        </p:nvSpPr>
        <p:spPr bwMode="auto">
          <a:xfrm>
            <a:off x="-14154" y="0"/>
            <a:ext cx="6022081" cy="6858000"/>
          </a:xfrm>
          <a:prstGeom prst="rect">
            <a:avLst/>
          </a:prstGeom>
          <a:solidFill>
            <a:schemeClr val="bg1">
              <a:lumMod val="95000"/>
            </a:schemeClr>
          </a:solidFill>
          <a:ln>
            <a:noFill/>
          </a:ln>
          <a:effectLst/>
        </p:spPr>
        <p:txBody>
          <a:bodyPr wrap="none" rtlCol="0" anchor="ctr"/>
          <a:lstStyle/>
          <a:p>
            <a:pPr algn="ctr"/>
            <a:endParaRPr lang="en-US" sz="2400">
              <a:solidFill>
                <a:schemeClr val="bg1"/>
              </a:solidFill>
              <a:latin typeface="Calibri Light" panose="020F0302020204030204" pitchFamily="34" charset="0"/>
              <a:ea typeface="Human Sans ExtraLight" charset="0"/>
              <a:cs typeface="Calibri" panose="020F0502020204030204" pitchFamily="34" charset="0"/>
            </a:endParaRPr>
          </a:p>
        </p:txBody>
      </p:sp>
      <p:sp>
        <p:nvSpPr>
          <p:cNvPr id="7" name="Isosceles Triangle 13">
            <a:extLst>
              <a:ext uri="{FF2B5EF4-FFF2-40B4-BE49-F238E27FC236}">
                <a16:creationId xmlns:a16="http://schemas.microsoft.com/office/drawing/2014/main" id="{33DA4BCA-E06D-9C46-8E45-43243DD633D7}"/>
              </a:ext>
            </a:extLst>
          </p:cNvPr>
          <p:cNvSpPr/>
          <p:nvPr userDrawn="1"/>
        </p:nvSpPr>
        <p:spPr>
          <a:xfrm rot="5400000" flipH="1">
            <a:off x="2855323" y="3152602"/>
            <a:ext cx="6858002" cy="552793"/>
          </a:xfrm>
          <a:prstGeom prst="triangl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itle 1">
            <a:extLst>
              <a:ext uri="{FF2B5EF4-FFF2-40B4-BE49-F238E27FC236}">
                <a16:creationId xmlns:a16="http://schemas.microsoft.com/office/drawing/2014/main" id="{938414CD-ADEE-2A1C-3732-775C2F8A6622}"/>
              </a:ext>
            </a:extLst>
          </p:cNvPr>
          <p:cNvSpPr>
            <a:spLocks noGrp="1"/>
          </p:cNvSpPr>
          <p:nvPr>
            <p:ph type="title"/>
          </p:nvPr>
        </p:nvSpPr>
        <p:spPr>
          <a:xfrm>
            <a:off x="639074" y="731520"/>
            <a:ext cx="4559300" cy="457200"/>
          </a:xfrm>
          <a:prstGeom prst="rect">
            <a:avLst/>
          </a:prstGeom>
        </p:spPr>
        <p:txBody>
          <a:bodyPr lIns="0" tIns="0" rIns="0" bIns="0">
            <a:noAutofit/>
          </a:bodyPr>
          <a:lstStyle>
            <a:lvl1pPr>
              <a:defRPr lang="en-US"/>
            </a:lvl1pPr>
          </a:lstStyle>
          <a:p>
            <a:pPr marL="0" lvl="0" indent="0">
              <a:spcBef>
                <a:spcPts val="0"/>
              </a:spcBef>
              <a:spcAft>
                <a:spcPts val="0"/>
              </a:spcAft>
              <a:buFont typeface="Arial" panose="020B0604020202020204" pitchFamily="34" charset="0"/>
            </a:pPr>
            <a:r>
              <a:rPr lang="en-US"/>
              <a:t>Click to edit Master title style</a:t>
            </a:r>
          </a:p>
        </p:txBody>
      </p:sp>
      <p:sp>
        <p:nvSpPr>
          <p:cNvPr id="4" name="Text Placeholder 10">
            <a:extLst>
              <a:ext uri="{FF2B5EF4-FFF2-40B4-BE49-F238E27FC236}">
                <a16:creationId xmlns:a16="http://schemas.microsoft.com/office/drawing/2014/main" id="{1E28BCD1-980E-222A-56FB-AF81B1AAA188}"/>
              </a:ext>
            </a:extLst>
          </p:cNvPr>
          <p:cNvSpPr>
            <a:spLocks noGrp="1"/>
          </p:cNvSpPr>
          <p:nvPr>
            <p:ph type="body" sz="quarter" idx="15" hasCustomPrompt="1"/>
          </p:nvPr>
        </p:nvSpPr>
        <p:spPr>
          <a:xfrm>
            <a:off x="639074" y="419100"/>
            <a:ext cx="3611880" cy="225706"/>
          </a:xfrm>
          <a:prstGeom prst="rect">
            <a:avLst/>
          </a:prstGeom>
        </p:spPr>
        <p:txBody>
          <a:bodyPr vert="horz" lIns="0" tIns="0" rIns="0" bIns="0" rtlCol="0">
            <a:noAutofit/>
          </a:bodyPr>
          <a:lstStyle>
            <a:lvl1pPr>
              <a:defRPr lang="en-US" sz="1000" b="0" cap="all" spc="300" baseline="0">
                <a:solidFill>
                  <a:schemeClr val="tx1"/>
                </a:solidFill>
                <a:latin typeface="Calibri" panose="020F0502020204030204" pitchFamily="34" charset="0"/>
              </a:defRPr>
            </a:lvl1pPr>
          </a:lstStyle>
          <a:p>
            <a:pPr lvl="0"/>
            <a:r>
              <a:rPr lang="en-US"/>
              <a:t>Click to add section title</a:t>
            </a:r>
          </a:p>
        </p:txBody>
      </p:sp>
      <p:grpSp>
        <p:nvGrpSpPr>
          <p:cNvPr id="6" name="Group 5">
            <a:extLst>
              <a:ext uri="{FF2B5EF4-FFF2-40B4-BE49-F238E27FC236}">
                <a16:creationId xmlns:a16="http://schemas.microsoft.com/office/drawing/2014/main" id="{21088888-AF11-6F8F-2BD1-941630B28474}"/>
              </a:ext>
            </a:extLst>
          </p:cNvPr>
          <p:cNvGrpSpPr/>
          <p:nvPr userDrawn="1"/>
        </p:nvGrpSpPr>
        <p:grpSpPr>
          <a:xfrm>
            <a:off x="611054" y="6471298"/>
            <a:ext cx="372834" cy="131175"/>
            <a:chOff x="14288" y="2035175"/>
            <a:chExt cx="10039350" cy="3532188"/>
          </a:xfrm>
          <a:solidFill>
            <a:schemeClr val="tx1"/>
          </a:solidFill>
        </p:grpSpPr>
        <p:sp>
          <p:nvSpPr>
            <p:cNvPr id="8" name="Freeform 1">
              <a:extLst>
                <a:ext uri="{FF2B5EF4-FFF2-40B4-BE49-F238E27FC236}">
                  <a16:creationId xmlns:a16="http://schemas.microsoft.com/office/drawing/2014/main" id="{F29EF596-EBA0-D88B-CBED-6AB9C80A14DF}"/>
                </a:ext>
              </a:extLst>
            </p:cNvPr>
            <p:cNvSpPr>
              <a:spLocks noChangeArrowheads="1"/>
            </p:cNvSpPr>
            <p:nvPr/>
          </p:nvSpPr>
          <p:spPr bwMode="auto">
            <a:xfrm>
              <a:off x="1519238" y="2035175"/>
              <a:ext cx="1336675" cy="2836863"/>
            </a:xfrm>
            <a:custGeom>
              <a:avLst/>
              <a:gdLst>
                <a:gd name="T0" fmla="*/ 390493 w 3714"/>
                <a:gd name="T1" fmla="*/ 1200682 h 7882"/>
                <a:gd name="T2" fmla="*/ 945462 w 3714"/>
                <a:gd name="T3" fmla="*/ 1200682 h 7882"/>
                <a:gd name="T4" fmla="*/ 945462 w 3714"/>
                <a:gd name="T5" fmla="*/ 611498 h 7882"/>
                <a:gd name="T6" fmla="*/ 698929 w 3714"/>
                <a:gd name="T7" fmla="*/ 364596 h 7882"/>
                <a:gd name="T8" fmla="*/ 637386 w 3714"/>
                <a:gd name="T9" fmla="*/ 364596 h 7882"/>
                <a:gd name="T10" fmla="*/ 390493 w 3714"/>
                <a:gd name="T11" fmla="*/ 611498 h 7882"/>
                <a:gd name="T12" fmla="*/ 390493 w 3714"/>
                <a:gd name="T13" fmla="*/ 1200682 h 7882"/>
                <a:gd name="T14" fmla="*/ 389414 w 3714"/>
                <a:gd name="T15" fmla="*/ 1576795 h 7882"/>
                <a:gd name="T16" fmla="*/ 390493 w 3714"/>
                <a:gd name="T17" fmla="*/ 2224645 h 7882"/>
                <a:gd name="T18" fmla="*/ 637386 w 3714"/>
                <a:gd name="T19" fmla="*/ 2471548 h 7882"/>
                <a:gd name="T20" fmla="*/ 709366 w 3714"/>
                <a:gd name="T21" fmla="*/ 2471548 h 7882"/>
                <a:gd name="T22" fmla="*/ 955899 w 3714"/>
                <a:gd name="T23" fmla="*/ 2224645 h 7882"/>
                <a:gd name="T24" fmla="*/ 955899 w 3714"/>
                <a:gd name="T25" fmla="*/ 1906119 h 7882"/>
                <a:gd name="T26" fmla="*/ 1336315 w 3714"/>
                <a:gd name="T27" fmla="*/ 1906119 h 7882"/>
                <a:gd name="T28" fmla="*/ 1336315 w 3714"/>
                <a:gd name="T29" fmla="*/ 2209528 h 7882"/>
                <a:gd name="T30" fmla="*/ 709366 w 3714"/>
                <a:gd name="T31" fmla="*/ 2836503 h 7882"/>
                <a:gd name="T32" fmla="*/ 626949 w 3714"/>
                <a:gd name="T33" fmla="*/ 2836503 h 7882"/>
                <a:gd name="T34" fmla="*/ 0 w 3714"/>
                <a:gd name="T35" fmla="*/ 2258117 h 7882"/>
                <a:gd name="T36" fmla="*/ 0 w 3714"/>
                <a:gd name="T37" fmla="*/ 675564 h 7882"/>
                <a:gd name="T38" fmla="*/ 626949 w 3714"/>
                <a:gd name="T39" fmla="*/ 0 h 7882"/>
                <a:gd name="T40" fmla="*/ 709366 w 3714"/>
                <a:gd name="T41" fmla="*/ 0 h 7882"/>
                <a:gd name="T42" fmla="*/ 1336315 w 3714"/>
                <a:gd name="T43" fmla="*/ 626975 h 7882"/>
                <a:gd name="T44" fmla="*/ 1334875 w 3714"/>
                <a:gd name="T45" fmla="*/ 1576795 h 7882"/>
                <a:gd name="T46" fmla="*/ 389414 w 3714"/>
                <a:gd name="T47" fmla="*/ 1576795 h 7882"/>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3714" h="7882">
                  <a:moveTo>
                    <a:pt x="1085" y="3336"/>
                  </a:moveTo>
                  <a:lnTo>
                    <a:pt x="2627" y="3336"/>
                  </a:lnTo>
                  <a:lnTo>
                    <a:pt x="2627" y="1699"/>
                  </a:lnTo>
                  <a:cubicBezTo>
                    <a:pt x="2627" y="1242"/>
                    <a:pt x="2399" y="1013"/>
                    <a:pt x="1942" y="1013"/>
                  </a:cubicBezTo>
                  <a:lnTo>
                    <a:pt x="1771" y="1013"/>
                  </a:lnTo>
                  <a:cubicBezTo>
                    <a:pt x="1314" y="1013"/>
                    <a:pt x="1085" y="1242"/>
                    <a:pt x="1085" y="1699"/>
                  </a:cubicBezTo>
                  <a:lnTo>
                    <a:pt x="1085" y="3336"/>
                  </a:lnTo>
                  <a:close/>
                  <a:moveTo>
                    <a:pt x="1082" y="4381"/>
                  </a:moveTo>
                  <a:lnTo>
                    <a:pt x="1085" y="6181"/>
                  </a:lnTo>
                  <a:cubicBezTo>
                    <a:pt x="1085" y="6638"/>
                    <a:pt x="1314" y="6867"/>
                    <a:pt x="1771" y="6867"/>
                  </a:cubicBezTo>
                  <a:lnTo>
                    <a:pt x="1971" y="6867"/>
                  </a:lnTo>
                  <a:cubicBezTo>
                    <a:pt x="2428" y="6867"/>
                    <a:pt x="2656" y="6638"/>
                    <a:pt x="2656" y="6181"/>
                  </a:cubicBezTo>
                  <a:lnTo>
                    <a:pt x="2656" y="5296"/>
                  </a:lnTo>
                  <a:lnTo>
                    <a:pt x="3713" y="5296"/>
                  </a:lnTo>
                  <a:lnTo>
                    <a:pt x="3713" y="6139"/>
                  </a:lnTo>
                  <a:cubicBezTo>
                    <a:pt x="3713" y="7295"/>
                    <a:pt x="3127" y="7881"/>
                    <a:pt x="1971" y="7881"/>
                  </a:cubicBezTo>
                  <a:lnTo>
                    <a:pt x="1742" y="7881"/>
                  </a:lnTo>
                  <a:cubicBezTo>
                    <a:pt x="585" y="7881"/>
                    <a:pt x="0" y="7295"/>
                    <a:pt x="0" y="6274"/>
                  </a:cubicBezTo>
                  <a:lnTo>
                    <a:pt x="0" y="1877"/>
                  </a:lnTo>
                  <a:cubicBezTo>
                    <a:pt x="0" y="585"/>
                    <a:pt x="585" y="0"/>
                    <a:pt x="1742" y="0"/>
                  </a:cubicBezTo>
                  <a:lnTo>
                    <a:pt x="1971" y="0"/>
                  </a:lnTo>
                  <a:cubicBezTo>
                    <a:pt x="3127" y="0"/>
                    <a:pt x="3713" y="585"/>
                    <a:pt x="3713" y="1742"/>
                  </a:cubicBezTo>
                  <a:lnTo>
                    <a:pt x="3709" y="4381"/>
                  </a:lnTo>
                  <a:lnTo>
                    <a:pt x="1082" y="4381"/>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endParaRPr lang="en-US"/>
            </a:p>
          </p:txBody>
        </p:sp>
        <p:sp>
          <p:nvSpPr>
            <p:cNvPr id="9" name="Freeform 2">
              <a:extLst>
                <a:ext uri="{FF2B5EF4-FFF2-40B4-BE49-F238E27FC236}">
                  <a16:creationId xmlns:a16="http://schemas.microsoft.com/office/drawing/2014/main" id="{C806E74F-B996-9F30-48A8-F55FC21FD85A}"/>
                </a:ext>
              </a:extLst>
            </p:cNvPr>
            <p:cNvSpPr>
              <a:spLocks noChangeArrowheads="1"/>
            </p:cNvSpPr>
            <p:nvPr/>
          </p:nvSpPr>
          <p:spPr bwMode="auto">
            <a:xfrm>
              <a:off x="3109913" y="2035175"/>
              <a:ext cx="1368425" cy="3532188"/>
            </a:xfrm>
            <a:custGeom>
              <a:avLst/>
              <a:gdLst>
                <a:gd name="T0" fmla="*/ 390721 w 3800"/>
                <a:gd name="T1" fmla="*/ 2322993 h 9812"/>
                <a:gd name="T2" fmla="*/ 750833 w 3800"/>
                <a:gd name="T3" fmla="*/ 2466628 h 9812"/>
                <a:gd name="T4" fmla="*/ 976983 w 3800"/>
                <a:gd name="T5" fmla="*/ 2240556 h 9812"/>
                <a:gd name="T6" fmla="*/ 976983 w 3800"/>
                <a:gd name="T7" fmla="*/ 596138 h 9812"/>
                <a:gd name="T8" fmla="*/ 750833 w 3800"/>
                <a:gd name="T9" fmla="*/ 370066 h 9812"/>
                <a:gd name="T10" fmla="*/ 390721 w 3800"/>
                <a:gd name="T11" fmla="*/ 514061 h 9812"/>
                <a:gd name="T12" fmla="*/ 390721 w 3800"/>
                <a:gd name="T13" fmla="*/ 2322993 h 9812"/>
                <a:gd name="T14" fmla="*/ 0 w 3800"/>
                <a:gd name="T15" fmla="*/ 30599 h 9812"/>
                <a:gd name="T16" fmla="*/ 390721 w 3800"/>
                <a:gd name="T17" fmla="*/ 30599 h 9812"/>
                <a:gd name="T18" fmla="*/ 390721 w 3800"/>
                <a:gd name="T19" fmla="*/ 210592 h 9812"/>
                <a:gd name="T20" fmla="*/ 868950 w 3800"/>
                <a:gd name="T21" fmla="*/ 0 h 9812"/>
                <a:gd name="T22" fmla="*/ 1368065 w 3800"/>
                <a:gd name="T23" fmla="*/ 549699 h 9812"/>
                <a:gd name="T24" fmla="*/ 1368065 w 3800"/>
                <a:gd name="T25" fmla="*/ 2286995 h 9812"/>
                <a:gd name="T26" fmla="*/ 868950 w 3800"/>
                <a:gd name="T27" fmla="*/ 2837054 h 9812"/>
                <a:gd name="T28" fmla="*/ 390721 w 3800"/>
                <a:gd name="T29" fmla="*/ 2636541 h 9812"/>
                <a:gd name="T30" fmla="*/ 390721 w 3800"/>
                <a:gd name="T31" fmla="*/ 3531828 h 9812"/>
                <a:gd name="T32" fmla="*/ 0 w 3800"/>
                <a:gd name="T33" fmla="*/ 3531828 h 9812"/>
                <a:gd name="T34" fmla="*/ 0 w 3800"/>
                <a:gd name="T35" fmla="*/ 30599 h 9812"/>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3800" h="9812">
                  <a:moveTo>
                    <a:pt x="1085" y="6453"/>
                  </a:moveTo>
                  <a:cubicBezTo>
                    <a:pt x="1385" y="6710"/>
                    <a:pt x="1728" y="6852"/>
                    <a:pt x="2085" y="6852"/>
                  </a:cubicBezTo>
                  <a:cubicBezTo>
                    <a:pt x="2485" y="6852"/>
                    <a:pt x="2713" y="6667"/>
                    <a:pt x="2713" y="6224"/>
                  </a:cubicBezTo>
                  <a:lnTo>
                    <a:pt x="2713" y="1656"/>
                  </a:lnTo>
                  <a:cubicBezTo>
                    <a:pt x="2713" y="1213"/>
                    <a:pt x="2485" y="1028"/>
                    <a:pt x="2085" y="1028"/>
                  </a:cubicBezTo>
                  <a:cubicBezTo>
                    <a:pt x="1728" y="1028"/>
                    <a:pt x="1385" y="1170"/>
                    <a:pt x="1085" y="1428"/>
                  </a:cubicBezTo>
                  <a:lnTo>
                    <a:pt x="1085" y="6453"/>
                  </a:lnTo>
                  <a:close/>
                  <a:moveTo>
                    <a:pt x="0" y="85"/>
                  </a:moveTo>
                  <a:lnTo>
                    <a:pt x="1085" y="85"/>
                  </a:lnTo>
                  <a:lnTo>
                    <a:pt x="1085" y="585"/>
                  </a:lnTo>
                  <a:cubicBezTo>
                    <a:pt x="1342" y="314"/>
                    <a:pt x="1785" y="0"/>
                    <a:pt x="2413" y="0"/>
                  </a:cubicBezTo>
                  <a:cubicBezTo>
                    <a:pt x="3342" y="0"/>
                    <a:pt x="3799" y="614"/>
                    <a:pt x="3799" y="1527"/>
                  </a:cubicBezTo>
                  <a:lnTo>
                    <a:pt x="3799" y="6353"/>
                  </a:lnTo>
                  <a:cubicBezTo>
                    <a:pt x="3799" y="7267"/>
                    <a:pt x="3342" y="7881"/>
                    <a:pt x="2413" y="7881"/>
                  </a:cubicBezTo>
                  <a:cubicBezTo>
                    <a:pt x="1785" y="7881"/>
                    <a:pt x="1342" y="7581"/>
                    <a:pt x="1085" y="7324"/>
                  </a:cubicBezTo>
                  <a:lnTo>
                    <a:pt x="1085" y="9811"/>
                  </a:lnTo>
                  <a:lnTo>
                    <a:pt x="0" y="9811"/>
                  </a:lnTo>
                  <a:lnTo>
                    <a:pt x="0" y="85"/>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endParaRPr lang="en-US"/>
            </a:p>
          </p:txBody>
        </p:sp>
        <p:sp>
          <p:nvSpPr>
            <p:cNvPr id="10" name="Freeform 3">
              <a:extLst>
                <a:ext uri="{FF2B5EF4-FFF2-40B4-BE49-F238E27FC236}">
                  <a16:creationId xmlns:a16="http://schemas.microsoft.com/office/drawing/2014/main" id="{43169BDB-F5CC-CA6E-68DA-C607A593A798}"/>
                </a:ext>
              </a:extLst>
            </p:cNvPr>
            <p:cNvSpPr>
              <a:spLocks noChangeArrowheads="1"/>
            </p:cNvSpPr>
            <p:nvPr/>
          </p:nvSpPr>
          <p:spPr bwMode="auto">
            <a:xfrm>
              <a:off x="4711700" y="2035175"/>
              <a:ext cx="1328738" cy="2836863"/>
            </a:xfrm>
            <a:custGeom>
              <a:avLst/>
              <a:gdLst>
                <a:gd name="T0" fmla="*/ 937679 w 3690"/>
                <a:gd name="T1" fmla="*/ 2338019 h 7882"/>
                <a:gd name="T2" fmla="*/ 937679 w 3690"/>
                <a:gd name="T3" fmla="*/ 1422750 h 7882"/>
                <a:gd name="T4" fmla="*/ 582988 w 3690"/>
                <a:gd name="T5" fmla="*/ 1556999 h 7882"/>
                <a:gd name="T6" fmla="*/ 392500 w 3690"/>
                <a:gd name="T7" fmla="*/ 1844573 h 7882"/>
                <a:gd name="T8" fmla="*/ 392500 w 3690"/>
                <a:gd name="T9" fmla="*/ 2266035 h 7882"/>
                <a:gd name="T10" fmla="*/ 582988 w 3690"/>
                <a:gd name="T11" fmla="*/ 2466149 h 7882"/>
                <a:gd name="T12" fmla="*/ 937679 w 3690"/>
                <a:gd name="T13" fmla="*/ 2338019 h 7882"/>
                <a:gd name="T14" fmla="*/ 2161 w 3690"/>
                <a:gd name="T15" fmla="*/ 1839174 h 7882"/>
                <a:gd name="T16" fmla="*/ 413025 w 3690"/>
                <a:gd name="T17" fmla="*/ 1253950 h 7882"/>
                <a:gd name="T18" fmla="*/ 937679 w 3690"/>
                <a:gd name="T19" fmla="*/ 1073991 h 7882"/>
                <a:gd name="T20" fmla="*/ 937679 w 3690"/>
                <a:gd name="T21" fmla="*/ 611498 h 7882"/>
                <a:gd name="T22" fmla="*/ 690656 w 3690"/>
                <a:gd name="T23" fmla="*/ 359557 h 7882"/>
                <a:gd name="T24" fmla="*/ 627280 w 3690"/>
                <a:gd name="T25" fmla="*/ 359557 h 7882"/>
                <a:gd name="T26" fmla="*/ 380257 w 3690"/>
                <a:gd name="T27" fmla="*/ 611498 h 7882"/>
                <a:gd name="T28" fmla="*/ 380257 w 3690"/>
                <a:gd name="T29" fmla="*/ 1004527 h 7882"/>
                <a:gd name="T30" fmla="*/ 0 w 3690"/>
                <a:gd name="T31" fmla="*/ 1004527 h 7882"/>
                <a:gd name="T32" fmla="*/ 0 w 3690"/>
                <a:gd name="T33" fmla="*/ 626975 h 7882"/>
                <a:gd name="T34" fmla="*/ 627280 w 3690"/>
                <a:gd name="T35" fmla="*/ 0 h 7882"/>
                <a:gd name="T36" fmla="*/ 701098 w 3690"/>
                <a:gd name="T37" fmla="*/ 0 h 7882"/>
                <a:gd name="T38" fmla="*/ 1328378 w 3690"/>
                <a:gd name="T39" fmla="*/ 626975 h 7882"/>
                <a:gd name="T40" fmla="*/ 1328378 w 3690"/>
                <a:gd name="T41" fmla="*/ 2805550 h 7882"/>
                <a:gd name="T42" fmla="*/ 937679 w 3690"/>
                <a:gd name="T43" fmla="*/ 2805550 h 7882"/>
                <a:gd name="T44" fmla="*/ 937679 w 3690"/>
                <a:gd name="T45" fmla="*/ 2630631 h 7882"/>
                <a:gd name="T46" fmla="*/ 459477 w 3690"/>
                <a:gd name="T47" fmla="*/ 2836503 h 7882"/>
                <a:gd name="T48" fmla="*/ 2161 w 3690"/>
                <a:gd name="T49" fmla="*/ 2348096 h 7882"/>
                <a:gd name="T50" fmla="*/ 2161 w 3690"/>
                <a:gd name="T51" fmla="*/ 1839174 h 7882"/>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3690" h="7882">
                  <a:moveTo>
                    <a:pt x="2604" y="6496"/>
                  </a:moveTo>
                  <a:lnTo>
                    <a:pt x="2604" y="3953"/>
                  </a:lnTo>
                  <a:lnTo>
                    <a:pt x="1619" y="4326"/>
                  </a:lnTo>
                  <a:cubicBezTo>
                    <a:pt x="1219" y="4483"/>
                    <a:pt x="1090" y="4683"/>
                    <a:pt x="1090" y="5125"/>
                  </a:cubicBezTo>
                  <a:lnTo>
                    <a:pt x="1090" y="6296"/>
                  </a:lnTo>
                  <a:cubicBezTo>
                    <a:pt x="1090" y="6667"/>
                    <a:pt x="1276" y="6852"/>
                    <a:pt x="1619" y="6852"/>
                  </a:cubicBezTo>
                  <a:cubicBezTo>
                    <a:pt x="1947" y="6852"/>
                    <a:pt x="2247" y="6738"/>
                    <a:pt x="2604" y="6496"/>
                  </a:cubicBezTo>
                  <a:close/>
                  <a:moveTo>
                    <a:pt x="6" y="5110"/>
                  </a:moveTo>
                  <a:cubicBezTo>
                    <a:pt x="6" y="4155"/>
                    <a:pt x="320" y="3769"/>
                    <a:pt x="1147" y="3484"/>
                  </a:cubicBezTo>
                  <a:lnTo>
                    <a:pt x="2604" y="2984"/>
                  </a:lnTo>
                  <a:lnTo>
                    <a:pt x="2604" y="1699"/>
                  </a:lnTo>
                  <a:cubicBezTo>
                    <a:pt x="2604" y="1242"/>
                    <a:pt x="2375" y="999"/>
                    <a:pt x="1918" y="999"/>
                  </a:cubicBezTo>
                  <a:lnTo>
                    <a:pt x="1742" y="999"/>
                  </a:lnTo>
                  <a:cubicBezTo>
                    <a:pt x="1285" y="999"/>
                    <a:pt x="1056" y="1242"/>
                    <a:pt x="1056" y="1699"/>
                  </a:cubicBezTo>
                  <a:lnTo>
                    <a:pt x="1056" y="2791"/>
                  </a:lnTo>
                  <a:lnTo>
                    <a:pt x="0" y="2791"/>
                  </a:lnTo>
                  <a:lnTo>
                    <a:pt x="0" y="1742"/>
                  </a:lnTo>
                  <a:cubicBezTo>
                    <a:pt x="0" y="585"/>
                    <a:pt x="586" y="0"/>
                    <a:pt x="1742" y="0"/>
                  </a:cubicBezTo>
                  <a:lnTo>
                    <a:pt x="1947" y="0"/>
                  </a:lnTo>
                  <a:cubicBezTo>
                    <a:pt x="3104" y="0"/>
                    <a:pt x="3689" y="585"/>
                    <a:pt x="3689" y="1742"/>
                  </a:cubicBezTo>
                  <a:lnTo>
                    <a:pt x="3689" y="7795"/>
                  </a:lnTo>
                  <a:lnTo>
                    <a:pt x="2604" y="7795"/>
                  </a:lnTo>
                  <a:lnTo>
                    <a:pt x="2604" y="7309"/>
                  </a:lnTo>
                  <a:cubicBezTo>
                    <a:pt x="2304" y="7595"/>
                    <a:pt x="1904" y="7881"/>
                    <a:pt x="1276" y="7881"/>
                  </a:cubicBezTo>
                  <a:cubicBezTo>
                    <a:pt x="406" y="7881"/>
                    <a:pt x="6" y="7381"/>
                    <a:pt x="6" y="6524"/>
                  </a:cubicBezTo>
                  <a:lnTo>
                    <a:pt x="6" y="5110"/>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endParaRPr lang="en-US"/>
            </a:p>
          </p:txBody>
        </p:sp>
        <p:sp>
          <p:nvSpPr>
            <p:cNvPr id="11" name="Freeform 4">
              <a:extLst>
                <a:ext uri="{FF2B5EF4-FFF2-40B4-BE49-F238E27FC236}">
                  <a16:creationId xmlns:a16="http://schemas.microsoft.com/office/drawing/2014/main" id="{170A6A77-ED49-15CF-CC9C-177A67E5F34B}"/>
                </a:ext>
              </a:extLst>
            </p:cNvPr>
            <p:cNvSpPr>
              <a:spLocks noChangeArrowheads="1"/>
            </p:cNvSpPr>
            <p:nvPr/>
          </p:nvSpPr>
          <p:spPr bwMode="auto">
            <a:xfrm>
              <a:off x="6292850" y="2035175"/>
              <a:ext cx="2262188" cy="2806700"/>
            </a:xfrm>
            <a:custGeom>
              <a:avLst/>
              <a:gdLst>
                <a:gd name="T0" fmla="*/ 1326358 w 6285"/>
                <a:gd name="T1" fmla="*/ 2806340 h 7796"/>
                <a:gd name="T2" fmla="*/ 935470 w 6285"/>
                <a:gd name="T3" fmla="*/ 2806340 h 7796"/>
                <a:gd name="T4" fmla="*/ 935470 w 6285"/>
                <a:gd name="T5" fmla="*/ 570628 h 7796"/>
                <a:gd name="T6" fmla="*/ 750463 w 6285"/>
                <a:gd name="T7" fmla="*/ 370098 h 7796"/>
                <a:gd name="T8" fmla="*/ 390889 w 6285"/>
                <a:gd name="T9" fmla="*/ 508705 h 7796"/>
                <a:gd name="T10" fmla="*/ 390889 w 6285"/>
                <a:gd name="T11" fmla="*/ 2806340 h 7796"/>
                <a:gd name="T12" fmla="*/ 0 w 6285"/>
                <a:gd name="T13" fmla="*/ 2806340 h 7796"/>
                <a:gd name="T14" fmla="*/ 0 w 6285"/>
                <a:gd name="T15" fmla="*/ 30602 h 7796"/>
                <a:gd name="T16" fmla="*/ 390889 w 6285"/>
                <a:gd name="T17" fmla="*/ 30602 h 7796"/>
                <a:gd name="T18" fmla="*/ 390889 w 6285"/>
                <a:gd name="T19" fmla="*/ 210611 h 7796"/>
                <a:gd name="T20" fmla="*/ 868882 w 6285"/>
                <a:gd name="T21" fmla="*/ 0 h 7796"/>
                <a:gd name="T22" fmla="*/ 1274888 w 6285"/>
                <a:gd name="T23" fmla="*/ 226091 h 7796"/>
                <a:gd name="T24" fmla="*/ 1804351 w 6285"/>
                <a:gd name="T25" fmla="*/ 0 h 7796"/>
                <a:gd name="T26" fmla="*/ 2261828 w 6285"/>
                <a:gd name="T27" fmla="*/ 488184 h 7796"/>
                <a:gd name="T28" fmla="*/ 2261828 w 6285"/>
                <a:gd name="T29" fmla="*/ 2806340 h 7796"/>
                <a:gd name="T30" fmla="*/ 1870939 w 6285"/>
                <a:gd name="T31" fmla="*/ 2806340 h 7796"/>
                <a:gd name="T32" fmla="*/ 1870939 w 6285"/>
                <a:gd name="T33" fmla="*/ 570628 h 7796"/>
                <a:gd name="T34" fmla="*/ 1685933 w 6285"/>
                <a:gd name="T35" fmla="*/ 370098 h 7796"/>
                <a:gd name="T36" fmla="*/ 1326358 w 6285"/>
                <a:gd name="T37" fmla="*/ 508705 h 7796"/>
                <a:gd name="T38" fmla="*/ 1326358 w 6285"/>
                <a:gd name="T39" fmla="*/ 2806340 h 779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6285" h="7796">
                  <a:moveTo>
                    <a:pt x="3685" y="7795"/>
                  </a:moveTo>
                  <a:lnTo>
                    <a:pt x="2599" y="7795"/>
                  </a:lnTo>
                  <a:lnTo>
                    <a:pt x="2599" y="1585"/>
                  </a:lnTo>
                  <a:cubicBezTo>
                    <a:pt x="2599" y="1199"/>
                    <a:pt x="2414" y="1028"/>
                    <a:pt x="2085" y="1028"/>
                  </a:cubicBezTo>
                  <a:cubicBezTo>
                    <a:pt x="1785" y="1028"/>
                    <a:pt x="1471" y="1142"/>
                    <a:pt x="1086" y="1413"/>
                  </a:cubicBezTo>
                  <a:lnTo>
                    <a:pt x="1086" y="7795"/>
                  </a:lnTo>
                  <a:lnTo>
                    <a:pt x="0" y="7795"/>
                  </a:lnTo>
                  <a:lnTo>
                    <a:pt x="0" y="85"/>
                  </a:lnTo>
                  <a:lnTo>
                    <a:pt x="1086" y="85"/>
                  </a:lnTo>
                  <a:lnTo>
                    <a:pt x="1086" y="585"/>
                  </a:lnTo>
                  <a:cubicBezTo>
                    <a:pt x="1400" y="285"/>
                    <a:pt x="1814" y="0"/>
                    <a:pt x="2414" y="0"/>
                  </a:cubicBezTo>
                  <a:cubicBezTo>
                    <a:pt x="2971" y="0"/>
                    <a:pt x="3342" y="228"/>
                    <a:pt x="3542" y="628"/>
                  </a:cubicBezTo>
                  <a:cubicBezTo>
                    <a:pt x="3928" y="299"/>
                    <a:pt x="4385" y="0"/>
                    <a:pt x="5013" y="0"/>
                  </a:cubicBezTo>
                  <a:cubicBezTo>
                    <a:pt x="5855" y="0"/>
                    <a:pt x="6284" y="514"/>
                    <a:pt x="6284" y="1356"/>
                  </a:cubicBezTo>
                  <a:lnTo>
                    <a:pt x="6284" y="7795"/>
                  </a:lnTo>
                  <a:lnTo>
                    <a:pt x="5198" y="7795"/>
                  </a:lnTo>
                  <a:lnTo>
                    <a:pt x="5198" y="1585"/>
                  </a:lnTo>
                  <a:cubicBezTo>
                    <a:pt x="5198" y="1199"/>
                    <a:pt x="5013" y="1028"/>
                    <a:pt x="4684" y="1028"/>
                  </a:cubicBezTo>
                  <a:cubicBezTo>
                    <a:pt x="4385" y="1028"/>
                    <a:pt x="4070" y="1142"/>
                    <a:pt x="3685" y="1413"/>
                  </a:cubicBezTo>
                  <a:lnTo>
                    <a:pt x="3685" y="7795"/>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endParaRPr lang="en-US"/>
            </a:p>
          </p:txBody>
        </p:sp>
        <p:sp>
          <p:nvSpPr>
            <p:cNvPr id="12" name="Freeform 5">
              <a:extLst>
                <a:ext uri="{FF2B5EF4-FFF2-40B4-BE49-F238E27FC236}">
                  <a16:creationId xmlns:a16="http://schemas.microsoft.com/office/drawing/2014/main" id="{8ECABD07-F623-7614-13FB-17D7744326D7}"/>
                </a:ext>
              </a:extLst>
            </p:cNvPr>
            <p:cNvSpPr>
              <a:spLocks noChangeArrowheads="1"/>
            </p:cNvSpPr>
            <p:nvPr/>
          </p:nvSpPr>
          <p:spPr bwMode="auto">
            <a:xfrm>
              <a:off x="14288" y="2322513"/>
              <a:ext cx="1004887" cy="2274887"/>
            </a:xfrm>
            <a:custGeom>
              <a:avLst/>
              <a:gdLst>
                <a:gd name="T0" fmla="*/ 1004527 w 2790"/>
                <a:gd name="T1" fmla="*/ 0 h 6317"/>
                <a:gd name="T2" fmla="*/ 1004527 w 2790"/>
                <a:gd name="T3" fmla="*/ 510652 h 6317"/>
                <a:gd name="T4" fmla="*/ 346488 w 2790"/>
                <a:gd name="T5" fmla="*/ 1137624 h 6317"/>
                <a:gd name="T6" fmla="*/ 1004527 w 2790"/>
                <a:gd name="T7" fmla="*/ 1752711 h 6317"/>
                <a:gd name="T8" fmla="*/ 1004527 w 2790"/>
                <a:gd name="T9" fmla="*/ 2274527 h 6317"/>
                <a:gd name="T10" fmla="*/ 0 w 2790"/>
                <a:gd name="T11" fmla="*/ 1331009 h 6317"/>
                <a:gd name="T12" fmla="*/ 0 w 2790"/>
                <a:gd name="T13" fmla="*/ 955042 h 6317"/>
                <a:gd name="T14" fmla="*/ 1004527 w 2790"/>
                <a:gd name="T15" fmla="*/ 0 h 6317"/>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2790" h="6317">
                  <a:moveTo>
                    <a:pt x="2789" y="0"/>
                  </a:moveTo>
                  <a:lnTo>
                    <a:pt x="2789" y="1418"/>
                  </a:lnTo>
                  <a:lnTo>
                    <a:pt x="962" y="3159"/>
                  </a:lnTo>
                  <a:lnTo>
                    <a:pt x="2789" y="4867"/>
                  </a:lnTo>
                  <a:lnTo>
                    <a:pt x="2789" y="6316"/>
                  </a:lnTo>
                  <a:lnTo>
                    <a:pt x="0" y="3696"/>
                  </a:lnTo>
                  <a:lnTo>
                    <a:pt x="0" y="2652"/>
                  </a:lnTo>
                  <a:lnTo>
                    <a:pt x="2789"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endParaRPr lang="en-US"/>
            </a:p>
          </p:txBody>
        </p:sp>
        <p:sp>
          <p:nvSpPr>
            <p:cNvPr id="13" name="Freeform 6">
              <a:extLst>
                <a:ext uri="{FF2B5EF4-FFF2-40B4-BE49-F238E27FC236}">
                  <a16:creationId xmlns:a16="http://schemas.microsoft.com/office/drawing/2014/main" id="{F7BDCC5B-FD72-FE24-F3A0-524127622795}"/>
                </a:ext>
              </a:extLst>
            </p:cNvPr>
            <p:cNvSpPr>
              <a:spLocks noChangeArrowheads="1"/>
            </p:cNvSpPr>
            <p:nvPr/>
          </p:nvSpPr>
          <p:spPr bwMode="auto">
            <a:xfrm>
              <a:off x="9050338" y="2322513"/>
              <a:ext cx="1003300" cy="2274887"/>
            </a:xfrm>
            <a:custGeom>
              <a:avLst/>
              <a:gdLst>
                <a:gd name="T0" fmla="*/ 1002940 w 2789"/>
                <a:gd name="T1" fmla="*/ 955042 h 6317"/>
                <a:gd name="T2" fmla="*/ 1002940 w 2789"/>
                <a:gd name="T3" fmla="*/ 1331009 h 6317"/>
                <a:gd name="T4" fmla="*/ 0 w 2789"/>
                <a:gd name="T5" fmla="*/ 2274527 h 6317"/>
                <a:gd name="T6" fmla="*/ 0 w 2789"/>
                <a:gd name="T7" fmla="*/ 1752711 h 6317"/>
                <a:gd name="T8" fmla="*/ 656876 w 2789"/>
                <a:gd name="T9" fmla="*/ 1137624 h 6317"/>
                <a:gd name="T10" fmla="*/ 0 w 2789"/>
                <a:gd name="T11" fmla="*/ 510652 h 6317"/>
                <a:gd name="T12" fmla="*/ 0 w 2789"/>
                <a:gd name="T13" fmla="*/ 0 h 6317"/>
                <a:gd name="T14" fmla="*/ 1002940 w 2789"/>
                <a:gd name="T15" fmla="*/ 955042 h 6317"/>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2789" h="6317">
                  <a:moveTo>
                    <a:pt x="2788" y="2652"/>
                  </a:moveTo>
                  <a:lnTo>
                    <a:pt x="2788" y="3696"/>
                  </a:lnTo>
                  <a:lnTo>
                    <a:pt x="0" y="6316"/>
                  </a:lnTo>
                  <a:lnTo>
                    <a:pt x="0" y="4867"/>
                  </a:lnTo>
                  <a:lnTo>
                    <a:pt x="1826" y="3159"/>
                  </a:lnTo>
                  <a:lnTo>
                    <a:pt x="0" y="1418"/>
                  </a:lnTo>
                  <a:lnTo>
                    <a:pt x="0" y="0"/>
                  </a:lnTo>
                  <a:lnTo>
                    <a:pt x="2788" y="2652"/>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endParaRPr lang="en-US"/>
            </a:p>
          </p:txBody>
        </p:sp>
      </p:grpSp>
      <p:sp>
        <p:nvSpPr>
          <p:cNvPr id="14" name="Footer Placeholder 14">
            <a:extLst>
              <a:ext uri="{FF2B5EF4-FFF2-40B4-BE49-F238E27FC236}">
                <a16:creationId xmlns:a16="http://schemas.microsoft.com/office/drawing/2014/main" id="{6F59BBC9-3779-038B-910D-18A792837E0B}"/>
              </a:ext>
            </a:extLst>
          </p:cNvPr>
          <p:cNvSpPr txBox="1">
            <a:spLocks/>
          </p:cNvSpPr>
          <p:nvPr userDrawn="1"/>
        </p:nvSpPr>
        <p:spPr>
          <a:xfrm>
            <a:off x="1205299" y="6410231"/>
            <a:ext cx="2157779" cy="228599"/>
          </a:xfrm>
          <a:prstGeom prst="rect">
            <a:avLst/>
          </a:prstGeom>
        </p:spPr>
        <p:txBody>
          <a:bodyPr vert="horz" lIns="0" tIns="0" rIns="0" bIns="0" rtlCol="0" anchor="ctr"/>
          <a:lstStyle>
            <a:defPPr>
              <a:defRPr lang="en-US"/>
            </a:defPPr>
            <a:lvl1pPr marL="0" algn="r" defTabSz="914400" rtl="0" eaLnBrk="1" latinLnBrk="0" hangingPunct="1">
              <a:defRPr sz="600" b="0" i="0" kern="1200">
                <a:solidFill>
                  <a:schemeClr val="tx1"/>
                </a:solidFill>
                <a:latin typeface="+mn-lt"/>
                <a:ea typeface="Calibri" panose="020F0502020204030204" pitchFamily="34" charset="0"/>
                <a:cs typeface="Calibri" panose="020F050202020403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b="0" i="0">
                <a:solidFill>
                  <a:schemeClr val="tx1"/>
                </a:solidFill>
                <a:latin typeface="+mn-lt"/>
              </a:rPr>
              <a:t>EPAM Proprietary &amp; Confidential</a:t>
            </a:r>
            <a:r>
              <a:rPr lang="ru-RU" b="0" i="0">
                <a:solidFill>
                  <a:schemeClr val="tx1"/>
                </a:solidFill>
                <a:latin typeface="+mn-lt"/>
              </a:rPr>
              <a:t> </a:t>
            </a:r>
            <a:endParaRPr lang="en-US" b="0" i="0">
              <a:solidFill>
                <a:schemeClr val="tx1"/>
              </a:solidFill>
              <a:latin typeface="+mn-lt"/>
            </a:endParaRPr>
          </a:p>
        </p:txBody>
      </p:sp>
    </p:spTree>
    <p:extLst>
      <p:ext uri="{BB962C8B-B14F-4D97-AF65-F5344CB8AC3E}">
        <p14:creationId xmlns:p14="http://schemas.microsoft.com/office/powerpoint/2010/main" val="449181313"/>
      </p:ext>
    </p:extLst>
  </p:cSld>
  <p:clrMapOvr>
    <a:masterClrMapping/>
  </p:clrMapOvr>
  <p:extLst>
    <p:ext uri="{DCECCB84-F9BA-43D5-87BE-67443E8EF086}">
      <p15:sldGuideLst xmlns:p15="http://schemas.microsoft.com/office/powerpoint/2012/main"/>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Case Study-1/6">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B64E8965-1EA8-8005-A909-76465BA4C0FB}"/>
              </a:ext>
            </a:extLst>
          </p:cNvPr>
          <p:cNvSpPr/>
          <p:nvPr userDrawn="1"/>
        </p:nvSpPr>
        <p:spPr bwMode="auto">
          <a:xfrm>
            <a:off x="9696450" y="0"/>
            <a:ext cx="2495550" cy="6858000"/>
          </a:xfrm>
          <a:prstGeom prst="rect">
            <a:avLst/>
          </a:prstGeom>
          <a:solidFill>
            <a:schemeClr val="bg1">
              <a:lumMod val="95000"/>
            </a:schemeClr>
          </a:solidFill>
          <a:ln>
            <a:noFill/>
          </a:ln>
          <a:effectLst/>
        </p:spPr>
        <p:txBody>
          <a:bodyPr wrap="none" rtlCol="0" anchor="ctr"/>
          <a:lstStyle/>
          <a:p>
            <a:pPr algn="ctr"/>
            <a:endParaRPr lang="en-US" sz="2400" err="1">
              <a:solidFill>
                <a:schemeClr val="bg1"/>
              </a:solidFill>
              <a:latin typeface="Calibri Light" panose="020F0302020204030204" pitchFamily="34" charset="0"/>
              <a:ea typeface="Human Sans ExtraLight" charset="0"/>
              <a:cs typeface="Human Sans ExtraLight" charset="0"/>
            </a:endParaRPr>
          </a:p>
        </p:txBody>
      </p:sp>
      <p:sp>
        <p:nvSpPr>
          <p:cNvPr id="2" name="Title 1">
            <a:extLst>
              <a:ext uri="{FF2B5EF4-FFF2-40B4-BE49-F238E27FC236}">
                <a16:creationId xmlns:a16="http://schemas.microsoft.com/office/drawing/2014/main" id="{7CA1A5DA-E4C1-1856-5847-AE3486592FD5}"/>
              </a:ext>
            </a:extLst>
          </p:cNvPr>
          <p:cNvSpPr>
            <a:spLocks noGrp="1"/>
          </p:cNvSpPr>
          <p:nvPr>
            <p:ph type="title"/>
          </p:nvPr>
        </p:nvSpPr>
        <p:spPr>
          <a:xfrm>
            <a:off x="639074" y="731520"/>
            <a:ext cx="4559300" cy="457200"/>
          </a:xfrm>
          <a:prstGeom prst="rect">
            <a:avLst/>
          </a:prstGeom>
        </p:spPr>
        <p:txBody>
          <a:bodyPr lIns="0" tIns="0" rIns="0" bIns="0">
            <a:noAutofit/>
          </a:bodyPr>
          <a:lstStyle>
            <a:lvl1pPr>
              <a:defRPr lang="en-US"/>
            </a:lvl1pPr>
          </a:lstStyle>
          <a:p>
            <a:pPr marL="0" lvl="0" indent="0">
              <a:spcBef>
                <a:spcPts val="0"/>
              </a:spcBef>
              <a:spcAft>
                <a:spcPts val="0"/>
              </a:spcAft>
              <a:buFont typeface="Arial" panose="020B0604020202020204" pitchFamily="34" charset="0"/>
            </a:pPr>
            <a:r>
              <a:rPr lang="en-US"/>
              <a:t>Click to edit Master title style</a:t>
            </a:r>
          </a:p>
        </p:txBody>
      </p:sp>
      <p:sp>
        <p:nvSpPr>
          <p:cNvPr id="3" name="Text Placeholder 10">
            <a:extLst>
              <a:ext uri="{FF2B5EF4-FFF2-40B4-BE49-F238E27FC236}">
                <a16:creationId xmlns:a16="http://schemas.microsoft.com/office/drawing/2014/main" id="{AF691A2C-885A-0EB3-797C-EF58AD425AF3}"/>
              </a:ext>
            </a:extLst>
          </p:cNvPr>
          <p:cNvSpPr>
            <a:spLocks noGrp="1"/>
          </p:cNvSpPr>
          <p:nvPr>
            <p:ph type="body" sz="quarter" idx="15" hasCustomPrompt="1"/>
          </p:nvPr>
        </p:nvSpPr>
        <p:spPr>
          <a:xfrm>
            <a:off x="639074" y="419100"/>
            <a:ext cx="3611880" cy="225706"/>
          </a:xfrm>
          <a:prstGeom prst="rect">
            <a:avLst/>
          </a:prstGeom>
        </p:spPr>
        <p:txBody>
          <a:bodyPr vert="horz" lIns="0" tIns="0" rIns="0" bIns="0" rtlCol="0">
            <a:noAutofit/>
          </a:bodyPr>
          <a:lstStyle>
            <a:lvl1pPr>
              <a:defRPr lang="en-US" sz="1000" b="0" cap="all" spc="300" baseline="0">
                <a:solidFill>
                  <a:schemeClr val="tx1"/>
                </a:solidFill>
                <a:latin typeface="Calibri" panose="020F0502020204030204" pitchFamily="34" charset="0"/>
              </a:defRPr>
            </a:lvl1pPr>
          </a:lstStyle>
          <a:p>
            <a:pPr lvl="0"/>
            <a:r>
              <a:rPr lang="en-US"/>
              <a:t>Click to add section title</a:t>
            </a:r>
          </a:p>
        </p:txBody>
      </p:sp>
      <p:pic>
        <p:nvPicPr>
          <p:cNvPr id="4" name="Graphic 3">
            <a:extLst>
              <a:ext uri="{FF2B5EF4-FFF2-40B4-BE49-F238E27FC236}">
                <a16:creationId xmlns:a16="http://schemas.microsoft.com/office/drawing/2014/main" id="{F58FCF79-C880-E3E7-94CA-A359BADAE63B}"/>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820265" y="6419060"/>
            <a:ext cx="762923" cy="205636"/>
          </a:xfrm>
          <a:prstGeom prst="rect">
            <a:avLst/>
          </a:prstGeom>
        </p:spPr>
      </p:pic>
    </p:spTree>
    <p:extLst>
      <p:ext uri="{BB962C8B-B14F-4D97-AF65-F5344CB8AC3E}">
        <p14:creationId xmlns:p14="http://schemas.microsoft.com/office/powerpoint/2010/main" val="828363382"/>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tle + Text - Light_Right_1/3">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1BDBC29F-68B3-4805-9B0F-6C9F4A34CFEB}"/>
              </a:ext>
            </a:extLst>
          </p:cNvPr>
          <p:cNvSpPr/>
          <p:nvPr userDrawn="1"/>
        </p:nvSpPr>
        <p:spPr>
          <a:xfrm>
            <a:off x="7612733" y="1"/>
            <a:ext cx="4579267" cy="6858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7" name="Text Placeholder 4">
            <a:extLst>
              <a:ext uri="{FF2B5EF4-FFF2-40B4-BE49-F238E27FC236}">
                <a16:creationId xmlns:a16="http://schemas.microsoft.com/office/drawing/2014/main" id="{4038D822-9DF0-51E9-1837-22E379BA5C1C}"/>
              </a:ext>
            </a:extLst>
          </p:cNvPr>
          <p:cNvSpPr>
            <a:spLocks noGrp="1"/>
          </p:cNvSpPr>
          <p:nvPr>
            <p:ph type="body" sz="quarter" idx="12" hasCustomPrompt="1"/>
          </p:nvPr>
        </p:nvSpPr>
        <p:spPr>
          <a:xfrm>
            <a:off x="647700" y="419100"/>
            <a:ext cx="3467100" cy="153888"/>
          </a:xfrm>
          <a:prstGeom prst="rect">
            <a:avLst/>
          </a:prstGeom>
        </p:spPr>
        <p:txBody>
          <a:bodyPr wrap="square">
            <a:spAutoFit/>
          </a:bodyPr>
          <a:lstStyle>
            <a:lvl1pPr>
              <a:lnSpc>
                <a:spcPct val="100000"/>
              </a:lnSpc>
              <a:spcBef>
                <a:spcPts val="0"/>
              </a:spcBef>
              <a:defRPr sz="1000" b="0" i="0" spc="300">
                <a:solidFill>
                  <a:schemeClr val="tx1"/>
                </a:solidFill>
                <a:latin typeface="Calibri" panose="020F0502020204030204" pitchFamily="34" charset="0"/>
                <a:cs typeface="Calibri" panose="020F0502020204030204" pitchFamily="34" charset="0"/>
              </a:defRPr>
            </a:lvl1pPr>
            <a:lvl2pPr>
              <a:buNone/>
              <a:defRPr/>
            </a:lvl2pPr>
          </a:lstStyle>
          <a:p>
            <a:pPr lvl="0"/>
            <a:r>
              <a:rPr lang="en-US">
                <a:effectLst/>
              </a:rPr>
              <a:t>SECTION TITLE</a:t>
            </a:r>
            <a:endParaRPr lang="en-US"/>
          </a:p>
        </p:txBody>
      </p:sp>
      <p:sp>
        <p:nvSpPr>
          <p:cNvPr id="8" name="Text Placeholder 4">
            <a:extLst>
              <a:ext uri="{FF2B5EF4-FFF2-40B4-BE49-F238E27FC236}">
                <a16:creationId xmlns:a16="http://schemas.microsoft.com/office/drawing/2014/main" id="{EC9CE76E-83D8-43FB-7D6D-EF3235198C9E}"/>
              </a:ext>
            </a:extLst>
          </p:cNvPr>
          <p:cNvSpPr>
            <a:spLocks noGrp="1"/>
          </p:cNvSpPr>
          <p:nvPr>
            <p:ph type="body" sz="quarter" idx="25" hasCustomPrompt="1"/>
          </p:nvPr>
        </p:nvSpPr>
        <p:spPr>
          <a:xfrm>
            <a:off x="647700" y="722843"/>
            <a:ext cx="6618073" cy="338554"/>
          </a:xfrm>
          <a:prstGeom prst="rect">
            <a:avLst/>
          </a:prstGeom>
        </p:spPr>
        <p:txBody>
          <a:bodyPr wrap="square">
            <a:spAutoFit/>
          </a:bodyPr>
          <a:lstStyle>
            <a:lvl1pPr>
              <a:lnSpc>
                <a:spcPct val="100000"/>
              </a:lnSpc>
              <a:spcBef>
                <a:spcPts val="0"/>
              </a:spcBef>
              <a:defRPr sz="2200" b="1" i="0" spc="0">
                <a:solidFill>
                  <a:schemeClr val="tx1"/>
                </a:solidFill>
                <a:latin typeface="Calibri" panose="020F0502020204030204" pitchFamily="34" charset="0"/>
                <a:cs typeface="Calibri" panose="020F0502020204030204" pitchFamily="34" charset="0"/>
              </a:defRPr>
            </a:lvl1pPr>
            <a:lvl2pPr>
              <a:buNone/>
              <a:defRPr/>
            </a:lvl2pPr>
          </a:lstStyle>
          <a:p>
            <a:pPr lvl="0"/>
            <a:r>
              <a:rPr lang="en-US">
                <a:effectLst/>
              </a:rPr>
              <a:t>Title Goes Here</a:t>
            </a:r>
            <a:endParaRPr lang="en-US"/>
          </a:p>
        </p:txBody>
      </p:sp>
      <p:pic>
        <p:nvPicPr>
          <p:cNvPr id="2" name="Graphic 1">
            <a:extLst>
              <a:ext uri="{FF2B5EF4-FFF2-40B4-BE49-F238E27FC236}">
                <a16:creationId xmlns:a16="http://schemas.microsoft.com/office/drawing/2014/main" id="{21F72A91-F4CC-41E1-AA07-4BF13CA01659}"/>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820265" y="6419060"/>
            <a:ext cx="762923" cy="205636"/>
          </a:xfrm>
          <a:prstGeom prst="rect">
            <a:avLst/>
          </a:prstGeom>
        </p:spPr>
      </p:pic>
    </p:spTree>
    <p:extLst>
      <p:ext uri="{BB962C8B-B14F-4D97-AF65-F5344CB8AC3E}">
        <p14:creationId xmlns:p14="http://schemas.microsoft.com/office/powerpoint/2010/main" val="2402464158"/>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Case Study-1/2">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263D721A-127A-4DBE-B738-ABA4893319BC}"/>
              </a:ext>
            </a:extLst>
          </p:cNvPr>
          <p:cNvSpPr/>
          <p:nvPr userDrawn="1"/>
        </p:nvSpPr>
        <p:spPr bwMode="auto">
          <a:xfrm flipH="1">
            <a:off x="6095999" y="0"/>
            <a:ext cx="6096000" cy="6858000"/>
          </a:xfrm>
          <a:prstGeom prst="rect">
            <a:avLst/>
          </a:prstGeom>
          <a:solidFill>
            <a:schemeClr val="bg1">
              <a:lumMod val="95000"/>
            </a:schemeClr>
          </a:solidFill>
          <a:ln>
            <a:noFill/>
          </a:ln>
          <a:effectLst/>
        </p:spPr>
        <p:txBody>
          <a:bodyPr wrap="none" rtlCol="0" anchor="ctr"/>
          <a:lstStyle/>
          <a:p>
            <a:pPr algn="ctr"/>
            <a:endParaRPr lang="en-US" sz="2400" err="1">
              <a:solidFill>
                <a:schemeClr val="bg1"/>
              </a:solidFill>
              <a:latin typeface="Calibri Light" panose="020F0302020204030204" pitchFamily="34" charset="0"/>
              <a:ea typeface="Human Sans ExtraLight" charset="0"/>
              <a:cs typeface="Human Sans ExtraLight" charset="0"/>
            </a:endParaRPr>
          </a:p>
        </p:txBody>
      </p:sp>
      <p:sp>
        <p:nvSpPr>
          <p:cNvPr id="3" name="Text Placeholder 10">
            <a:extLst>
              <a:ext uri="{FF2B5EF4-FFF2-40B4-BE49-F238E27FC236}">
                <a16:creationId xmlns:a16="http://schemas.microsoft.com/office/drawing/2014/main" id="{D73BBE54-935A-F733-5BB6-178ECB8D87C3}"/>
              </a:ext>
            </a:extLst>
          </p:cNvPr>
          <p:cNvSpPr>
            <a:spLocks noGrp="1"/>
          </p:cNvSpPr>
          <p:nvPr>
            <p:ph type="body" sz="quarter" idx="10" hasCustomPrompt="1"/>
          </p:nvPr>
        </p:nvSpPr>
        <p:spPr>
          <a:xfrm>
            <a:off x="6582021" y="820579"/>
            <a:ext cx="2213811" cy="246221"/>
          </a:xfrm>
          <a:prstGeom prst="rect">
            <a:avLst/>
          </a:prstGeom>
          <a:noFill/>
        </p:spPr>
        <p:txBody>
          <a:bodyPr vert="horz" wrap="none" lIns="0" tIns="0" rIns="0" bIns="0" rtlCol="0" anchor="ctr">
            <a:spAutoFit/>
          </a:bodyPr>
          <a:lstStyle>
            <a:lvl1pPr>
              <a:defRPr lang="en-US" sz="1600" b="1" cap="none" spc="100" baseline="0" smtClean="0">
                <a:solidFill>
                  <a:schemeClr val="tx1"/>
                </a:solidFill>
                <a:ea typeface="+mj-ea"/>
                <a:cs typeface="+mj-cs"/>
              </a:defRPr>
            </a:lvl1pPr>
            <a:lvl2pPr marL="171450" indent="0">
              <a:buNone/>
              <a:defRPr lang="en-US" sz="1350" smtClean="0"/>
            </a:lvl2pPr>
            <a:lvl3pPr>
              <a:defRPr lang="en-US" sz="1350" smtClean="0"/>
            </a:lvl3pPr>
            <a:lvl4pPr>
              <a:defRPr lang="en-US" sz="1350" smtClean="0"/>
            </a:lvl4pPr>
            <a:lvl5pPr>
              <a:defRPr lang="en-US" sz="1350"/>
            </a:lvl5pPr>
          </a:lstStyle>
          <a:p>
            <a:pPr marL="0" lvl="0">
              <a:lnSpc>
                <a:spcPct val="100000"/>
              </a:lnSpc>
              <a:spcBef>
                <a:spcPct val="0"/>
              </a:spcBef>
              <a:buNone/>
            </a:pPr>
            <a:r>
              <a:rPr lang="en-US"/>
              <a:t>Edit Master Text Styles</a:t>
            </a:r>
          </a:p>
        </p:txBody>
      </p:sp>
      <p:sp>
        <p:nvSpPr>
          <p:cNvPr id="4" name="Text Placeholder 10">
            <a:extLst>
              <a:ext uri="{FF2B5EF4-FFF2-40B4-BE49-F238E27FC236}">
                <a16:creationId xmlns:a16="http://schemas.microsoft.com/office/drawing/2014/main" id="{03F61F34-24B3-F29C-3B0D-FE20C0A4F4F2}"/>
              </a:ext>
            </a:extLst>
          </p:cNvPr>
          <p:cNvSpPr>
            <a:spLocks noGrp="1"/>
          </p:cNvSpPr>
          <p:nvPr>
            <p:ph type="body" sz="quarter" idx="18" hasCustomPrompt="1"/>
          </p:nvPr>
        </p:nvSpPr>
        <p:spPr>
          <a:xfrm>
            <a:off x="6582020" y="3200114"/>
            <a:ext cx="2213811" cy="246221"/>
          </a:xfrm>
          <a:prstGeom prst="rect">
            <a:avLst/>
          </a:prstGeom>
          <a:noFill/>
        </p:spPr>
        <p:txBody>
          <a:bodyPr vert="horz" wrap="none" lIns="0" tIns="0" rIns="0" bIns="0" rtlCol="0" anchor="ctr">
            <a:spAutoFit/>
          </a:bodyPr>
          <a:lstStyle>
            <a:lvl1pPr>
              <a:defRPr lang="en-US" sz="1600" b="1" cap="none" spc="100" baseline="0" smtClean="0">
                <a:solidFill>
                  <a:schemeClr val="tx1"/>
                </a:solidFill>
                <a:ea typeface="+mj-ea"/>
                <a:cs typeface="+mj-cs"/>
              </a:defRPr>
            </a:lvl1pPr>
            <a:lvl2pPr marL="171450" indent="0">
              <a:buNone/>
              <a:defRPr lang="en-US" sz="1350" smtClean="0"/>
            </a:lvl2pPr>
            <a:lvl3pPr>
              <a:defRPr lang="en-US" sz="1350" smtClean="0"/>
            </a:lvl3pPr>
            <a:lvl4pPr>
              <a:defRPr lang="en-US" sz="1350" smtClean="0"/>
            </a:lvl4pPr>
            <a:lvl5pPr>
              <a:defRPr lang="en-US" sz="1350"/>
            </a:lvl5pPr>
          </a:lstStyle>
          <a:p>
            <a:pPr marL="0" lvl="0">
              <a:lnSpc>
                <a:spcPct val="100000"/>
              </a:lnSpc>
              <a:spcBef>
                <a:spcPct val="0"/>
              </a:spcBef>
              <a:buNone/>
            </a:pPr>
            <a:r>
              <a:rPr lang="en-US"/>
              <a:t>Edit Master Text Styles</a:t>
            </a:r>
          </a:p>
        </p:txBody>
      </p:sp>
      <p:sp>
        <p:nvSpPr>
          <p:cNvPr id="5" name="Title 1">
            <a:extLst>
              <a:ext uri="{FF2B5EF4-FFF2-40B4-BE49-F238E27FC236}">
                <a16:creationId xmlns:a16="http://schemas.microsoft.com/office/drawing/2014/main" id="{3BC89279-934C-4E6E-A89D-34B0B28430F6}"/>
              </a:ext>
            </a:extLst>
          </p:cNvPr>
          <p:cNvSpPr>
            <a:spLocks noGrp="1"/>
          </p:cNvSpPr>
          <p:nvPr>
            <p:ph type="title" hasCustomPrompt="1"/>
          </p:nvPr>
        </p:nvSpPr>
        <p:spPr>
          <a:xfrm>
            <a:off x="633632" y="722843"/>
            <a:ext cx="4654331" cy="338554"/>
          </a:xfrm>
          <a:prstGeom prst="rect">
            <a:avLst/>
          </a:prstGeom>
        </p:spPr>
        <p:txBody>
          <a:bodyPr/>
          <a:lstStyle>
            <a:lvl1pPr>
              <a:defRPr lang="en-US" sz="2200" b="1" i="0" kern="1200" spc="0" dirty="0">
                <a:solidFill>
                  <a:schemeClr val="tx1"/>
                </a:solidFill>
                <a:effectLst/>
                <a:latin typeface="+mj-lt"/>
                <a:ea typeface="Calibri" panose="020F0502020204030204" pitchFamily="34" charset="0"/>
                <a:cs typeface="Calibri" panose="020F0502020204030204" pitchFamily="34" charset="0"/>
              </a:defRPr>
            </a:lvl1pPr>
          </a:lstStyle>
          <a:p>
            <a:pPr marL="0" lvl="0" indent="0" algn="l" defTabSz="914400" rtl="0" eaLnBrk="1" latinLnBrk="0" hangingPunct="1">
              <a:lnSpc>
                <a:spcPct val="100000"/>
              </a:lnSpc>
              <a:spcBef>
                <a:spcPts val="0"/>
              </a:spcBef>
              <a:spcAft>
                <a:spcPts val="0"/>
              </a:spcAft>
              <a:buFont typeface="Arial" panose="020B0604020202020204" pitchFamily="34" charset="0"/>
              <a:buNone/>
            </a:pPr>
            <a:r>
              <a:rPr lang="en-US">
                <a:effectLst/>
              </a:rPr>
              <a:t>Title Goes Here</a:t>
            </a:r>
            <a:endParaRPr lang="en-US"/>
          </a:p>
        </p:txBody>
      </p:sp>
      <p:sp>
        <p:nvSpPr>
          <p:cNvPr id="6" name="Text Placeholder 10">
            <a:extLst>
              <a:ext uri="{FF2B5EF4-FFF2-40B4-BE49-F238E27FC236}">
                <a16:creationId xmlns:a16="http://schemas.microsoft.com/office/drawing/2014/main" id="{718E955D-C366-DB4E-03AE-019BC1B7D0F9}"/>
              </a:ext>
            </a:extLst>
          </p:cNvPr>
          <p:cNvSpPr>
            <a:spLocks noGrp="1"/>
          </p:cNvSpPr>
          <p:nvPr>
            <p:ph type="body" sz="quarter" idx="28" hasCustomPrompt="1"/>
          </p:nvPr>
        </p:nvSpPr>
        <p:spPr>
          <a:xfrm>
            <a:off x="633632" y="419100"/>
            <a:ext cx="3611880" cy="225706"/>
          </a:xfrm>
          <a:prstGeom prst="rect">
            <a:avLst/>
          </a:prstGeom>
        </p:spPr>
        <p:txBody>
          <a:bodyPr/>
          <a:lstStyle>
            <a:lvl1pPr>
              <a:spcBef>
                <a:spcPts val="0"/>
              </a:spcBef>
              <a:defRPr lang="en-US" sz="1000" b="0" i="0" kern="1200" cap="all" spc="300" baseline="0" dirty="0">
                <a:solidFill>
                  <a:schemeClr val="tx1"/>
                </a:solidFill>
                <a:latin typeface="Calibri" panose="020F0502020204030204" pitchFamily="34" charset="0"/>
                <a:ea typeface="Calibri" panose="020F0502020204030204" pitchFamily="34" charset="0"/>
                <a:cs typeface="Calibri" panose="020F0502020204030204" pitchFamily="34" charset="0"/>
              </a:defRPr>
            </a:lvl1pPr>
          </a:lstStyle>
          <a:p>
            <a:pPr marL="0" lvl="0" indent="0" algn="l" defTabSz="914400" rtl="0" eaLnBrk="1" latinLnBrk="0" hangingPunct="1">
              <a:lnSpc>
                <a:spcPct val="100000"/>
              </a:lnSpc>
              <a:spcBef>
                <a:spcPts val="600"/>
              </a:spcBef>
              <a:spcAft>
                <a:spcPts val="0"/>
              </a:spcAft>
              <a:buFont typeface="Arial" panose="020B0604020202020204" pitchFamily="34" charset="0"/>
              <a:buNone/>
            </a:pPr>
            <a:r>
              <a:rPr lang="en-US"/>
              <a:t>Click to add section title</a:t>
            </a:r>
          </a:p>
        </p:txBody>
      </p:sp>
      <p:pic>
        <p:nvPicPr>
          <p:cNvPr id="8" name="Graphic 7">
            <a:extLst>
              <a:ext uri="{FF2B5EF4-FFF2-40B4-BE49-F238E27FC236}">
                <a16:creationId xmlns:a16="http://schemas.microsoft.com/office/drawing/2014/main" id="{4D4A43D3-2DE2-6DE0-67BF-EA66C799A708}"/>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820265" y="6419060"/>
            <a:ext cx="762923" cy="205636"/>
          </a:xfrm>
          <a:prstGeom prst="rect">
            <a:avLst/>
          </a:prstGeom>
        </p:spPr>
      </p:pic>
    </p:spTree>
    <p:extLst>
      <p:ext uri="{BB962C8B-B14F-4D97-AF65-F5344CB8AC3E}">
        <p14:creationId xmlns:p14="http://schemas.microsoft.com/office/powerpoint/2010/main" val="3135635216"/>
      </p:ext>
    </p:extLst>
  </p:cSld>
  <p:clrMapOvr>
    <a:masterClrMapping/>
  </p:clrMapOvr>
  <p:extLst>
    <p:ext uri="{DCECCB84-F9BA-43D5-87BE-67443E8EF086}">
      <p15:sldGuideLst xmlns:p15="http://schemas.microsoft.com/office/powerpoint/2012/main"/>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itle + Text - Light">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D3812354-CF5E-BB4A-8675-0AD7D954331E}"/>
              </a:ext>
            </a:extLst>
          </p:cNvPr>
          <p:cNvSpPr/>
          <p:nvPr userDrawn="1"/>
        </p:nvSpPr>
        <p:spPr bwMode="auto">
          <a:xfrm>
            <a:off x="6096000" y="0"/>
            <a:ext cx="6096000" cy="6858000"/>
          </a:xfrm>
          <a:prstGeom prst="rect">
            <a:avLst/>
          </a:prstGeom>
          <a:solidFill>
            <a:schemeClr val="bg1">
              <a:lumMod val="95000"/>
            </a:schemeClr>
          </a:solidFill>
          <a:ln>
            <a:noFill/>
          </a:ln>
          <a:effectLst/>
        </p:spPr>
        <p:txBody>
          <a:bodyPr wrap="none" rtlCol="0" anchor="ctr"/>
          <a:lstStyle/>
          <a:p>
            <a:pPr algn="ctr"/>
            <a:endParaRPr lang="en-GB" sz="2400" err="1">
              <a:solidFill>
                <a:schemeClr val="bg1"/>
              </a:solidFill>
              <a:latin typeface="Calibri Light" panose="020F0302020204030204" pitchFamily="34" charset="0"/>
              <a:ea typeface="Human Sans ExtraLight" charset="0"/>
              <a:cs typeface="Human Sans ExtraLight" charset="0"/>
            </a:endParaRPr>
          </a:p>
        </p:txBody>
      </p:sp>
      <p:sp>
        <p:nvSpPr>
          <p:cNvPr id="3" name="Title 1">
            <a:extLst>
              <a:ext uri="{FF2B5EF4-FFF2-40B4-BE49-F238E27FC236}">
                <a16:creationId xmlns:a16="http://schemas.microsoft.com/office/drawing/2014/main" id="{E59A39E1-B3B2-A535-4860-EACC178F0FFD}"/>
              </a:ext>
            </a:extLst>
          </p:cNvPr>
          <p:cNvSpPr>
            <a:spLocks noGrp="1"/>
          </p:cNvSpPr>
          <p:nvPr>
            <p:ph type="title" hasCustomPrompt="1"/>
          </p:nvPr>
        </p:nvSpPr>
        <p:spPr>
          <a:xfrm>
            <a:off x="633632" y="722843"/>
            <a:ext cx="4654331" cy="338554"/>
          </a:xfrm>
          <a:prstGeom prst="rect">
            <a:avLst/>
          </a:prstGeom>
        </p:spPr>
        <p:txBody>
          <a:bodyPr/>
          <a:lstStyle>
            <a:lvl1pPr>
              <a:defRPr lang="en-US" sz="2200" b="1" i="0" kern="1200" spc="0" dirty="0">
                <a:solidFill>
                  <a:schemeClr val="tx1"/>
                </a:solidFill>
                <a:effectLst/>
                <a:latin typeface="+mj-lt"/>
                <a:ea typeface="Calibri" panose="020F0502020204030204" pitchFamily="34" charset="0"/>
                <a:cs typeface="Calibri" panose="020F0502020204030204" pitchFamily="34" charset="0"/>
              </a:defRPr>
            </a:lvl1pPr>
          </a:lstStyle>
          <a:p>
            <a:pPr marL="0" lvl="0" indent="0" algn="l" defTabSz="914400" rtl="0" eaLnBrk="1" latinLnBrk="0" hangingPunct="1">
              <a:lnSpc>
                <a:spcPct val="100000"/>
              </a:lnSpc>
              <a:spcBef>
                <a:spcPts val="0"/>
              </a:spcBef>
              <a:spcAft>
                <a:spcPts val="0"/>
              </a:spcAft>
              <a:buFont typeface="Arial" panose="020B0604020202020204" pitchFamily="34" charset="0"/>
              <a:buNone/>
            </a:pPr>
            <a:r>
              <a:rPr lang="en-US">
                <a:effectLst/>
              </a:rPr>
              <a:t>Title Goes Here</a:t>
            </a:r>
            <a:endParaRPr lang="en-US"/>
          </a:p>
        </p:txBody>
      </p:sp>
      <p:sp>
        <p:nvSpPr>
          <p:cNvPr id="4" name="Text Placeholder 10">
            <a:extLst>
              <a:ext uri="{FF2B5EF4-FFF2-40B4-BE49-F238E27FC236}">
                <a16:creationId xmlns:a16="http://schemas.microsoft.com/office/drawing/2014/main" id="{8DCFC8D1-9383-9627-F7B5-E8BB33E677B3}"/>
              </a:ext>
            </a:extLst>
          </p:cNvPr>
          <p:cNvSpPr>
            <a:spLocks noGrp="1"/>
          </p:cNvSpPr>
          <p:nvPr>
            <p:ph type="body" sz="quarter" idx="28" hasCustomPrompt="1"/>
          </p:nvPr>
        </p:nvSpPr>
        <p:spPr>
          <a:xfrm>
            <a:off x="633632" y="419100"/>
            <a:ext cx="3611880" cy="225706"/>
          </a:xfrm>
          <a:prstGeom prst="rect">
            <a:avLst/>
          </a:prstGeom>
        </p:spPr>
        <p:txBody>
          <a:bodyPr/>
          <a:lstStyle>
            <a:lvl1pPr>
              <a:spcBef>
                <a:spcPts val="0"/>
              </a:spcBef>
              <a:defRPr lang="en-US" sz="1000" b="0" i="0" kern="1200" cap="all" spc="300" baseline="0" dirty="0">
                <a:solidFill>
                  <a:schemeClr val="tx1"/>
                </a:solidFill>
                <a:latin typeface="Calibri" panose="020F0502020204030204" pitchFamily="34" charset="0"/>
                <a:ea typeface="Calibri" panose="020F0502020204030204" pitchFamily="34" charset="0"/>
                <a:cs typeface="Calibri" panose="020F0502020204030204" pitchFamily="34" charset="0"/>
              </a:defRPr>
            </a:lvl1pPr>
          </a:lstStyle>
          <a:p>
            <a:pPr marL="0" lvl="0" indent="0" algn="l" defTabSz="914400" rtl="0" eaLnBrk="1" latinLnBrk="0" hangingPunct="1">
              <a:lnSpc>
                <a:spcPct val="100000"/>
              </a:lnSpc>
              <a:spcBef>
                <a:spcPts val="600"/>
              </a:spcBef>
              <a:spcAft>
                <a:spcPts val="0"/>
              </a:spcAft>
              <a:buFont typeface="Arial" panose="020B0604020202020204" pitchFamily="34" charset="0"/>
              <a:buNone/>
            </a:pPr>
            <a:r>
              <a:rPr lang="en-US"/>
              <a:t>Click to add section title</a:t>
            </a:r>
          </a:p>
        </p:txBody>
      </p:sp>
      <p:sp>
        <p:nvSpPr>
          <p:cNvPr id="6" name="Picture Placeholder 2">
            <a:extLst>
              <a:ext uri="{FF2B5EF4-FFF2-40B4-BE49-F238E27FC236}">
                <a16:creationId xmlns:a16="http://schemas.microsoft.com/office/drawing/2014/main" id="{C3A29C5F-119C-0B51-F478-E7B4E0857E71}"/>
              </a:ext>
            </a:extLst>
          </p:cNvPr>
          <p:cNvSpPr>
            <a:spLocks noGrp="1"/>
          </p:cNvSpPr>
          <p:nvPr>
            <p:ph type="pic" sz="quarter" idx="24"/>
          </p:nvPr>
        </p:nvSpPr>
        <p:spPr>
          <a:xfrm>
            <a:off x="6096000" y="0"/>
            <a:ext cx="6096000" cy="6858000"/>
          </a:xfrm>
          <a:prstGeom prst="rect">
            <a:avLst/>
          </a:prstGeom>
          <a:solidFill>
            <a:schemeClr val="bg1">
              <a:lumMod val="95000"/>
            </a:schemeClr>
          </a:solidFill>
        </p:spPr>
        <p:txBody>
          <a:bodyPr/>
          <a:lstStyle/>
          <a:p>
            <a:endParaRPr lang="en-US"/>
          </a:p>
        </p:txBody>
      </p:sp>
      <p:pic>
        <p:nvPicPr>
          <p:cNvPr id="5" name="Graphic 4">
            <a:extLst>
              <a:ext uri="{FF2B5EF4-FFF2-40B4-BE49-F238E27FC236}">
                <a16:creationId xmlns:a16="http://schemas.microsoft.com/office/drawing/2014/main" id="{64835DDB-A3F9-444F-EF1E-CA236588E3C5}"/>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820265" y="6419060"/>
            <a:ext cx="762923" cy="205636"/>
          </a:xfrm>
          <a:prstGeom prst="rect">
            <a:avLst/>
          </a:prstGeom>
        </p:spPr>
      </p:pic>
    </p:spTree>
    <p:extLst>
      <p:ext uri="{BB962C8B-B14F-4D97-AF65-F5344CB8AC3E}">
        <p14:creationId xmlns:p14="http://schemas.microsoft.com/office/powerpoint/2010/main" val="2088998961"/>
      </p:ext>
    </p:extLst>
  </p:cSld>
  <p:clrMapOvr>
    <a:masterClrMapping/>
  </p:clrMapOvr>
  <p:extLst>
    <p:ext uri="{DCECCB84-F9BA-43D5-87BE-67443E8EF086}">
      <p15:sldGuideLst xmlns:p15="http://schemas.microsoft.com/office/powerpoint/2012/main"/>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Case_Study_1/2_Picture_LM">
    <p:bg>
      <p:bgPr>
        <a:solidFill>
          <a:schemeClr val="bg1"/>
        </a:solidFill>
        <a:effectLst/>
      </p:bgPr>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79C487BF-0EFB-7D6C-3495-E817AE08A6AD}"/>
              </a:ext>
            </a:extLst>
          </p:cNvPr>
          <p:cNvSpPr>
            <a:spLocks noGrp="1"/>
          </p:cNvSpPr>
          <p:nvPr>
            <p:ph type="pic" sz="quarter" idx="24"/>
          </p:nvPr>
        </p:nvSpPr>
        <p:spPr>
          <a:xfrm>
            <a:off x="6096000" y="0"/>
            <a:ext cx="6096000" cy="6858000"/>
          </a:xfrm>
          <a:prstGeom prst="rect">
            <a:avLst/>
          </a:prstGeom>
          <a:solidFill>
            <a:srgbClr val="F3F3F3"/>
          </a:solidFill>
        </p:spPr>
        <p:txBody>
          <a:bodyPr/>
          <a:lstStyle>
            <a:lvl1pPr>
              <a:defRPr>
                <a:solidFill>
                  <a:schemeClr val="tx1"/>
                </a:solidFill>
              </a:defRPr>
            </a:lvl1pPr>
          </a:lstStyle>
          <a:p>
            <a:endParaRPr lang="en-US"/>
          </a:p>
        </p:txBody>
      </p:sp>
      <p:sp>
        <p:nvSpPr>
          <p:cNvPr id="9" name="Text Placeholder 3">
            <a:extLst>
              <a:ext uri="{FF2B5EF4-FFF2-40B4-BE49-F238E27FC236}">
                <a16:creationId xmlns:a16="http://schemas.microsoft.com/office/drawing/2014/main" id="{B005257D-68DF-590D-840E-01D0686329DC}"/>
              </a:ext>
            </a:extLst>
          </p:cNvPr>
          <p:cNvSpPr>
            <a:spLocks noGrp="1"/>
          </p:cNvSpPr>
          <p:nvPr>
            <p:ph type="body" sz="quarter" idx="26" hasCustomPrompt="1"/>
          </p:nvPr>
        </p:nvSpPr>
        <p:spPr>
          <a:xfrm>
            <a:off x="647700" y="1714501"/>
            <a:ext cx="4648200" cy="480060"/>
          </a:xfrm>
          <a:prstGeom prst="rect">
            <a:avLst/>
          </a:prstGeom>
        </p:spPr>
        <p:txBody>
          <a:bodyPr/>
          <a:lstStyle>
            <a:lvl1pPr>
              <a:defRPr sz="1800" b="1" i="0">
                <a:solidFill>
                  <a:schemeClr val="tx1"/>
                </a:solidFill>
                <a:latin typeface="Calibri" panose="020F0502020204030204" pitchFamily="34" charset="0"/>
                <a:cs typeface="Calibri" panose="020F0502020204030204" pitchFamily="34" charset="0"/>
              </a:defRPr>
            </a:lvl1pPr>
          </a:lstStyle>
          <a:p>
            <a:r>
              <a:rPr lang="en-US"/>
              <a:t>Lorem ipsum </a:t>
            </a:r>
            <a:r>
              <a:rPr lang="en-US" err="1"/>
              <a:t>nibh</a:t>
            </a:r>
            <a:r>
              <a:rPr lang="en-US"/>
              <a:t> </a:t>
            </a:r>
            <a:r>
              <a:rPr lang="en-US" err="1"/>
              <a:t>commodo</a:t>
            </a:r>
            <a:r>
              <a:rPr lang="en-US"/>
              <a:t> </a:t>
            </a:r>
            <a:r>
              <a:rPr lang="en-US" err="1"/>
              <a:t>aenean</a:t>
            </a:r>
            <a:r>
              <a:rPr lang="en-US"/>
              <a:t> </a:t>
            </a:r>
            <a:r>
              <a:rPr lang="en-US" err="1"/>
              <a:t>leo</a:t>
            </a:r>
            <a:r>
              <a:rPr lang="en-US"/>
              <a:t> porta </a:t>
            </a:r>
            <a:r>
              <a:rPr lang="en-US" err="1"/>
              <a:t>duis</a:t>
            </a:r>
            <a:r>
              <a:rPr lang="en-US"/>
              <a:t> magna </a:t>
            </a:r>
            <a:r>
              <a:rPr lang="en-US" err="1"/>
              <a:t>felis</a:t>
            </a:r>
            <a:r>
              <a:rPr lang="en-US"/>
              <a:t> </a:t>
            </a:r>
            <a:r>
              <a:rPr lang="en-US" err="1"/>
              <a:t>bibendum</a:t>
            </a:r>
            <a:r>
              <a:rPr lang="en-US"/>
              <a:t> </a:t>
            </a:r>
            <a:r>
              <a:rPr lang="en-US" err="1"/>
              <a:t>tempor</a:t>
            </a:r>
            <a:r>
              <a:rPr lang="en-US"/>
              <a:t>.</a:t>
            </a:r>
          </a:p>
        </p:txBody>
      </p:sp>
      <p:sp>
        <p:nvSpPr>
          <p:cNvPr id="8" name="Title 1">
            <a:extLst>
              <a:ext uri="{FF2B5EF4-FFF2-40B4-BE49-F238E27FC236}">
                <a16:creationId xmlns:a16="http://schemas.microsoft.com/office/drawing/2014/main" id="{9D97527A-454B-7C78-0789-5D01C538BBEA}"/>
              </a:ext>
            </a:extLst>
          </p:cNvPr>
          <p:cNvSpPr>
            <a:spLocks noGrp="1"/>
          </p:cNvSpPr>
          <p:nvPr>
            <p:ph type="title" hasCustomPrompt="1"/>
          </p:nvPr>
        </p:nvSpPr>
        <p:spPr>
          <a:xfrm>
            <a:off x="633633" y="722843"/>
            <a:ext cx="4662268" cy="338554"/>
          </a:xfrm>
          <a:prstGeom prst="rect">
            <a:avLst/>
          </a:prstGeom>
        </p:spPr>
        <p:txBody>
          <a:bodyPr/>
          <a:lstStyle>
            <a:lvl1pPr>
              <a:defRPr lang="en-US" sz="2200" b="1" i="0" kern="1200" spc="0" dirty="0">
                <a:solidFill>
                  <a:schemeClr val="tx1"/>
                </a:solidFill>
                <a:effectLst/>
                <a:latin typeface="+mj-lt"/>
                <a:ea typeface="Calibri" panose="020F0502020204030204" pitchFamily="34" charset="0"/>
                <a:cs typeface="Calibri" panose="020F0502020204030204" pitchFamily="34" charset="0"/>
              </a:defRPr>
            </a:lvl1pPr>
          </a:lstStyle>
          <a:p>
            <a:pPr marL="0" lvl="0" indent="0" algn="l" defTabSz="914400" rtl="0" eaLnBrk="1" latinLnBrk="0" hangingPunct="1">
              <a:lnSpc>
                <a:spcPct val="100000"/>
              </a:lnSpc>
              <a:spcBef>
                <a:spcPts val="0"/>
              </a:spcBef>
              <a:spcAft>
                <a:spcPts val="0"/>
              </a:spcAft>
              <a:buFont typeface="Arial" panose="020B0604020202020204" pitchFamily="34" charset="0"/>
              <a:buNone/>
            </a:pPr>
            <a:r>
              <a:rPr lang="en-US">
                <a:effectLst/>
              </a:rPr>
              <a:t>Title Goes Here</a:t>
            </a:r>
            <a:endParaRPr lang="en-US"/>
          </a:p>
        </p:txBody>
      </p:sp>
      <p:sp>
        <p:nvSpPr>
          <p:cNvPr id="11" name="Text Placeholder 10">
            <a:extLst>
              <a:ext uri="{FF2B5EF4-FFF2-40B4-BE49-F238E27FC236}">
                <a16:creationId xmlns:a16="http://schemas.microsoft.com/office/drawing/2014/main" id="{E1C4794A-3319-73CA-0D80-8398CC1ADF07}"/>
              </a:ext>
            </a:extLst>
          </p:cNvPr>
          <p:cNvSpPr>
            <a:spLocks noGrp="1"/>
          </p:cNvSpPr>
          <p:nvPr>
            <p:ph type="body" sz="quarter" idx="28" hasCustomPrompt="1"/>
          </p:nvPr>
        </p:nvSpPr>
        <p:spPr>
          <a:xfrm>
            <a:off x="633632" y="419100"/>
            <a:ext cx="3611880" cy="225706"/>
          </a:xfrm>
          <a:prstGeom prst="rect">
            <a:avLst/>
          </a:prstGeom>
        </p:spPr>
        <p:txBody>
          <a:bodyPr/>
          <a:lstStyle>
            <a:lvl1pPr>
              <a:spcBef>
                <a:spcPts val="0"/>
              </a:spcBef>
              <a:defRPr lang="en-US" sz="1000" b="0" i="0" kern="1200" cap="all" spc="300" baseline="0" dirty="0">
                <a:solidFill>
                  <a:schemeClr val="tx1"/>
                </a:solidFill>
                <a:latin typeface="Calibri" panose="020F0502020204030204" pitchFamily="34" charset="0"/>
                <a:ea typeface="Calibri" panose="020F0502020204030204" pitchFamily="34" charset="0"/>
                <a:cs typeface="Calibri" panose="020F0502020204030204" pitchFamily="34" charset="0"/>
              </a:defRPr>
            </a:lvl1pPr>
          </a:lstStyle>
          <a:p>
            <a:pPr marL="0" lvl="0" indent="0" algn="l" defTabSz="914400" rtl="0" eaLnBrk="1" latinLnBrk="0" hangingPunct="1">
              <a:lnSpc>
                <a:spcPct val="100000"/>
              </a:lnSpc>
              <a:spcBef>
                <a:spcPts val="600"/>
              </a:spcBef>
              <a:spcAft>
                <a:spcPts val="0"/>
              </a:spcAft>
              <a:buFont typeface="Arial" panose="020B0604020202020204" pitchFamily="34" charset="0"/>
              <a:buNone/>
            </a:pPr>
            <a:r>
              <a:rPr lang="en-US"/>
              <a:t>Click to add section title</a:t>
            </a:r>
          </a:p>
        </p:txBody>
      </p:sp>
      <p:pic>
        <p:nvPicPr>
          <p:cNvPr id="4" name="Graphic 3">
            <a:extLst>
              <a:ext uri="{FF2B5EF4-FFF2-40B4-BE49-F238E27FC236}">
                <a16:creationId xmlns:a16="http://schemas.microsoft.com/office/drawing/2014/main" id="{1AB97218-3902-63FD-AC91-4D420E723BF4}"/>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820265" y="6419060"/>
            <a:ext cx="762923" cy="205636"/>
          </a:xfrm>
          <a:prstGeom prst="rect">
            <a:avLst/>
          </a:prstGeom>
        </p:spPr>
      </p:pic>
    </p:spTree>
    <p:extLst>
      <p:ext uri="{BB962C8B-B14F-4D97-AF65-F5344CB8AC3E}">
        <p14:creationId xmlns:p14="http://schemas.microsoft.com/office/powerpoint/2010/main" val="1029143023"/>
      </p:ext>
    </p:extLst>
  </p:cSld>
  <p:clrMapOvr>
    <a:masterClrMapping/>
  </p:clrMapOvr>
  <p:extLst>
    <p:ext uri="{DCECCB84-F9BA-43D5-87BE-67443E8EF086}">
      <p15:sldGuideLst xmlns:p15="http://schemas.microsoft.com/office/powerpoint/2012/main"/>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Case Study-Light">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263D721A-127A-4DBE-B738-ABA4893319BC}"/>
              </a:ext>
            </a:extLst>
          </p:cNvPr>
          <p:cNvSpPr/>
          <p:nvPr userDrawn="1"/>
        </p:nvSpPr>
        <p:spPr bwMode="auto">
          <a:xfrm>
            <a:off x="0" y="0"/>
            <a:ext cx="7180263" cy="6858000"/>
          </a:xfrm>
          <a:prstGeom prst="rect">
            <a:avLst/>
          </a:prstGeom>
          <a:solidFill>
            <a:schemeClr val="bg1">
              <a:lumMod val="95000"/>
            </a:schemeClr>
          </a:solidFill>
          <a:ln>
            <a:noFill/>
          </a:ln>
          <a:effectLst/>
        </p:spPr>
        <p:txBody>
          <a:bodyPr wrap="none" rtlCol="0" anchor="ctr"/>
          <a:lstStyle/>
          <a:p>
            <a:pPr algn="ctr"/>
            <a:endParaRPr lang="en-US" sz="2400" err="1">
              <a:solidFill>
                <a:schemeClr val="bg1"/>
              </a:solidFill>
              <a:latin typeface="Calibri Light" panose="020F0302020204030204" pitchFamily="34" charset="0"/>
              <a:ea typeface="Human Sans ExtraLight" charset="0"/>
              <a:cs typeface="Human Sans ExtraLight" charset="0"/>
            </a:endParaRPr>
          </a:p>
        </p:txBody>
      </p:sp>
      <p:sp>
        <p:nvSpPr>
          <p:cNvPr id="3" name="Title 1">
            <a:extLst>
              <a:ext uri="{FF2B5EF4-FFF2-40B4-BE49-F238E27FC236}">
                <a16:creationId xmlns:a16="http://schemas.microsoft.com/office/drawing/2014/main" id="{F4DFDD4E-87F2-E40E-50B8-11909F143DB6}"/>
              </a:ext>
            </a:extLst>
          </p:cNvPr>
          <p:cNvSpPr>
            <a:spLocks noGrp="1"/>
          </p:cNvSpPr>
          <p:nvPr>
            <p:ph type="title" hasCustomPrompt="1"/>
          </p:nvPr>
        </p:nvSpPr>
        <p:spPr>
          <a:xfrm>
            <a:off x="633633" y="722843"/>
            <a:ext cx="6283106" cy="338554"/>
          </a:xfrm>
          <a:prstGeom prst="rect">
            <a:avLst/>
          </a:prstGeom>
        </p:spPr>
        <p:txBody>
          <a:bodyPr/>
          <a:lstStyle>
            <a:lvl1pPr>
              <a:defRPr lang="en-US" sz="2200" b="1" i="0" kern="1200" spc="0" dirty="0">
                <a:solidFill>
                  <a:schemeClr val="tx1"/>
                </a:solidFill>
                <a:effectLst/>
                <a:latin typeface="+mj-lt"/>
                <a:ea typeface="Calibri" panose="020F0502020204030204" pitchFamily="34" charset="0"/>
                <a:cs typeface="Calibri" panose="020F0502020204030204" pitchFamily="34" charset="0"/>
              </a:defRPr>
            </a:lvl1pPr>
          </a:lstStyle>
          <a:p>
            <a:pPr marL="0" lvl="0" indent="0" algn="l" defTabSz="914400" rtl="0" eaLnBrk="1" latinLnBrk="0" hangingPunct="1">
              <a:lnSpc>
                <a:spcPct val="100000"/>
              </a:lnSpc>
              <a:spcBef>
                <a:spcPts val="0"/>
              </a:spcBef>
              <a:spcAft>
                <a:spcPts val="0"/>
              </a:spcAft>
              <a:buFont typeface="Arial" panose="020B0604020202020204" pitchFamily="34" charset="0"/>
              <a:buNone/>
            </a:pPr>
            <a:r>
              <a:rPr lang="en-US">
                <a:effectLst/>
              </a:rPr>
              <a:t>Title Goes Here</a:t>
            </a:r>
            <a:endParaRPr lang="en-US"/>
          </a:p>
        </p:txBody>
      </p:sp>
      <p:sp>
        <p:nvSpPr>
          <p:cNvPr id="4" name="Text Placeholder 10">
            <a:extLst>
              <a:ext uri="{FF2B5EF4-FFF2-40B4-BE49-F238E27FC236}">
                <a16:creationId xmlns:a16="http://schemas.microsoft.com/office/drawing/2014/main" id="{18326D61-CF42-7CEB-26E7-2C80F1884434}"/>
              </a:ext>
            </a:extLst>
          </p:cNvPr>
          <p:cNvSpPr>
            <a:spLocks noGrp="1"/>
          </p:cNvSpPr>
          <p:nvPr>
            <p:ph type="body" sz="quarter" idx="28" hasCustomPrompt="1"/>
          </p:nvPr>
        </p:nvSpPr>
        <p:spPr>
          <a:xfrm>
            <a:off x="633632" y="419100"/>
            <a:ext cx="3611880" cy="225706"/>
          </a:xfrm>
          <a:prstGeom prst="rect">
            <a:avLst/>
          </a:prstGeom>
        </p:spPr>
        <p:txBody>
          <a:bodyPr/>
          <a:lstStyle>
            <a:lvl1pPr>
              <a:spcBef>
                <a:spcPts val="0"/>
              </a:spcBef>
              <a:defRPr lang="en-US" sz="1000" b="0" i="0" kern="1200" cap="all" spc="300" baseline="0" dirty="0">
                <a:solidFill>
                  <a:schemeClr val="tx1"/>
                </a:solidFill>
                <a:latin typeface="Calibri" panose="020F0502020204030204" pitchFamily="34" charset="0"/>
                <a:ea typeface="Calibri" panose="020F0502020204030204" pitchFamily="34" charset="0"/>
                <a:cs typeface="Calibri" panose="020F0502020204030204" pitchFamily="34" charset="0"/>
              </a:defRPr>
            </a:lvl1pPr>
          </a:lstStyle>
          <a:p>
            <a:pPr marL="0" lvl="0" indent="0" algn="l" defTabSz="914400" rtl="0" eaLnBrk="1" latinLnBrk="0" hangingPunct="1">
              <a:lnSpc>
                <a:spcPct val="100000"/>
              </a:lnSpc>
              <a:spcBef>
                <a:spcPts val="600"/>
              </a:spcBef>
              <a:spcAft>
                <a:spcPts val="0"/>
              </a:spcAft>
              <a:buFont typeface="Arial" panose="020B0604020202020204" pitchFamily="34" charset="0"/>
              <a:buNone/>
            </a:pPr>
            <a:r>
              <a:rPr lang="en-US"/>
              <a:t>Click to add section title</a:t>
            </a:r>
          </a:p>
        </p:txBody>
      </p:sp>
      <p:grpSp>
        <p:nvGrpSpPr>
          <p:cNvPr id="5" name="Group 4">
            <a:extLst>
              <a:ext uri="{FF2B5EF4-FFF2-40B4-BE49-F238E27FC236}">
                <a16:creationId xmlns:a16="http://schemas.microsoft.com/office/drawing/2014/main" id="{E158BC85-03AD-FBF5-61A4-8D95A0E11E8B}"/>
              </a:ext>
            </a:extLst>
          </p:cNvPr>
          <p:cNvGrpSpPr/>
          <p:nvPr userDrawn="1"/>
        </p:nvGrpSpPr>
        <p:grpSpPr>
          <a:xfrm>
            <a:off x="611054" y="6471298"/>
            <a:ext cx="372834" cy="131175"/>
            <a:chOff x="14288" y="2035175"/>
            <a:chExt cx="10039350" cy="3532188"/>
          </a:xfrm>
          <a:solidFill>
            <a:schemeClr val="tx1"/>
          </a:solidFill>
        </p:grpSpPr>
        <p:sp>
          <p:nvSpPr>
            <p:cNvPr id="6" name="Freeform 1">
              <a:extLst>
                <a:ext uri="{FF2B5EF4-FFF2-40B4-BE49-F238E27FC236}">
                  <a16:creationId xmlns:a16="http://schemas.microsoft.com/office/drawing/2014/main" id="{287E5025-B60B-0B55-C076-FB97BFE9F6E9}"/>
                </a:ext>
              </a:extLst>
            </p:cNvPr>
            <p:cNvSpPr>
              <a:spLocks noChangeArrowheads="1"/>
            </p:cNvSpPr>
            <p:nvPr/>
          </p:nvSpPr>
          <p:spPr bwMode="auto">
            <a:xfrm>
              <a:off x="1519238" y="2035175"/>
              <a:ext cx="1336675" cy="2836863"/>
            </a:xfrm>
            <a:custGeom>
              <a:avLst/>
              <a:gdLst>
                <a:gd name="T0" fmla="*/ 390493 w 3714"/>
                <a:gd name="T1" fmla="*/ 1200682 h 7882"/>
                <a:gd name="T2" fmla="*/ 945462 w 3714"/>
                <a:gd name="T3" fmla="*/ 1200682 h 7882"/>
                <a:gd name="T4" fmla="*/ 945462 w 3714"/>
                <a:gd name="T5" fmla="*/ 611498 h 7882"/>
                <a:gd name="T6" fmla="*/ 698929 w 3714"/>
                <a:gd name="T7" fmla="*/ 364596 h 7882"/>
                <a:gd name="T8" fmla="*/ 637386 w 3714"/>
                <a:gd name="T9" fmla="*/ 364596 h 7882"/>
                <a:gd name="T10" fmla="*/ 390493 w 3714"/>
                <a:gd name="T11" fmla="*/ 611498 h 7882"/>
                <a:gd name="T12" fmla="*/ 390493 w 3714"/>
                <a:gd name="T13" fmla="*/ 1200682 h 7882"/>
                <a:gd name="T14" fmla="*/ 389414 w 3714"/>
                <a:gd name="T15" fmla="*/ 1576795 h 7882"/>
                <a:gd name="T16" fmla="*/ 390493 w 3714"/>
                <a:gd name="T17" fmla="*/ 2224645 h 7882"/>
                <a:gd name="T18" fmla="*/ 637386 w 3714"/>
                <a:gd name="T19" fmla="*/ 2471548 h 7882"/>
                <a:gd name="T20" fmla="*/ 709366 w 3714"/>
                <a:gd name="T21" fmla="*/ 2471548 h 7882"/>
                <a:gd name="T22" fmla="*/ 955899 w 3714"/>
                <a:gd name="T23" fmla="*/ 2224645 h 7882"/>
                <a:gd name="T24" fmla="*/ 955899 w 3714"/>
                <a:gd name="T25" fmla="*/ 1906119 h 7882"/>
                <a:gd name="T26" fmla="*/ 1336315 w 3714"/>
                <a:gd name="T27" fmla="*/ 1906119 h 7882"/>
                <a:gd name="T28" fmla="*/ 1336315 w 3714"/>
                <a:gd name="T29" fmla="*/ 2209528 h 7882"/>
                <a:gd name="T30" fmla="*/ 709366 w 3714"/>
                <a:gd name="T31" fmla="*/ 2836503 h 7882"/>
                <a:gd name="T32" fmla="*/ 626949 w 3714"/>
                <a:gd name="T33" fmla="*/ 2836503 h 7882"/>
                <a:gd name="T34" fmla="*/ 0 w 3714"/>
                <a:gd name="T35" fmla="*/ 2258117 h 7882"/>
                <a:gd name="T36" fmla="*/ 0 w 3714"/>
                <a:gd name="T37" fmla="*/ 675564 h 7882"/>
                <a:gd name="T38" fmla="*/ 626949 w 3714"/>
                <a:gd name="T39" fmla="*/ 0 h 7882"/>
                <a:gd name="T40" fmla="*/ 709366 w 3714"/>
                <a:gd name="T41" fmla="*/ 0 h 7882"/>
                <a:gd name="T42" fmla="*/ 1336315 w 3714"/>
                <a:gd name="T43" fmla="*/ 626975 h 7882"/>
                <a:gd name="T44" fmla="*/ 1334875 w 3714"/>
                <a:gd name="T45" fmla="*/ 1576795 h 7882"/>
                <a:gd name="T46" fmla="*/ 389414 w 3714"/>
                <a:gd name="T47" fmla="*/ 1576795 h 7882"/>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3714" h="7882">
                  <a:moveTo>
                    <a:pt x="1085" y="3336"/>
                  </a:moveTo>
                  <a:lnTo>
                    <a:pt x="2627" y="3336"/>
                  </a:lnTo>
                  <a:lnTo>
                    <a:pt x="2627" y="1699"/>
                  </a:lnTo>
                  <a:cubicBezTo>
                    <a:pt x="2627" y="1242"/>
                    <a:pt x="2399" y="1013"/>
                    <a:pt x="1942" y="1013"/>
                  </a:cubicBezTo>
                  <a:lnTo>
                    <a:pt x="1771" y="1013"/>
                  </a:lnTo>
                  <a:cubicBezTo>
                    <a:pt x="1314" y="1013"/>
                    <a:pt x="1085" y="1242"/>
                    <a:pt x="1085" y="1699"/>
                  </a:cubicBezTo>
                  <a:lnTo>
                    <a:pt x="1085" y="3336"/>
                  </a:lnTo>
                  <a:close/>
                  <a:moveTo>
                    <a:pt x="1082" y="4381"/>
                  </a:moveTo>
                  <a:lnTo>
                    <a:pt x="1085" y="6181"/>
                  </a:lnTo>
                  <a:cubicBezTo>
                    <a:pt x="1085" y="6638"/>
                    <a:pt x="1314" y="6867"/>
                    <a:pt x="1771" y="6867"/>
                  </a:cubicBezTo>
                  <a:lnTo>
                    <a:pt x="1971" y="6867"/>
                  </a:lnTo>
                  <a:cubicBezTo>
                    <a:pt x="2428" y="6867"/>
                    <a:pt x="2656" y="6638"/>
                    <a:pt x="2656" y="6181"/>
                  </a:cubicBezTo>
                  <a:lnTo>
                    <a:pt x="2656" y="5296"/>
                  </a:lnTo>
                  <a:lnTo>
                    <a:pt x="3713" y="5296"/>
                  </a:lnTo>
                  <a:lnTo>
                    <a:pt x="3713" y="6139"/>
                  </a:lnTo>
                  <a:cubicBezTo>
                    <a:pt x="3713" y="7295"/>
                    <a:pt x="3127" y="7881"/>
                    <a:pt x="1971" y="7881"/>
                  </a:cubicBezTo>
                  <a:lnTo>
                    <a:pt x="1742" y="7881"/>
                  </a:lnTo>
                  <a:cubicBezTo>
                    <a:pt x="585" y="7881"/>
                    <a:pt x="0" y="7295"/>
                    <a:pt x="0" y="6274"/>
                  </a:cubicBezTo>
                  <a:lnTo>
                    <a:pt x="0" y="1877"/>
                  </a:lnTo>
                  <a:cubicBezTo>
                    <a:pt x="0" y="585"/>
                    <a:pt x="585" y="0"/>
                    <a:pt x="1742" y="0"/>
                  </a:cubicBezTo>
                  <a:lnTo>
                    <a:pt x="1971" y="0"/>
                  </a:lnTo>
                  <a:cubicBezTo>
                    <a:pt x="3127" y="0"/>
                    <a:pt x="3713" y="585"/>
                    <a:pt x="3713" y="1742"/>
                  </a:cubicBezTo>
                  <a:lnTo>
                    <a:pt x="3709" y="4381"/>
                  </a:lnTo>
                  <a:lnTo>
                    <a:pt x="1082" y="4381"/>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endParaRPr lang="en-US"/>
            </a:p>
          </p:txBody>
        </p:sp>
        <p:sp>
          <p:nvSpPr>
            <p:cNvPr id="7" name="Freeform 2">
              <a:extLst>
                <a:ext uri="{FF2B5EF4-FFF2-40B4-BE49-F238E27FC236}">
                  <a16:creationId xmlns:a16="http://schemas.microsoft.com/office/drawing/2014/main" id="{5B84D68B-C2C8-1BBE-615A-4F40A5EBEBD5}"/>
                </a:ext>
              </a:extLst>
            </p:cNvPr>
            <p:cNvSpPr>
              <a:spLocks noChangeArrowheads="1"/>
            </p:cNvSpPr>
            <p:nvPr/>
          </p:nvSpPr>
          <p:spPr bwMode="auto">
            <a:xfrm>
              <a:off x="3109913" y="2035175"/>
              <a:ext cx="1368425" cy="3532188"/>
            </a:xfrm>
            <a:custGeom>
              <a:avLst/>
              <a:gdLst>
                <a:gd name="T0" fmla="*/ 390721 w 3800"/>
                <a:gd name="T1" fmla="*/ 2322993 h 9812"/>
                <a:gd name="T2" fmla="*/ 750833 w 3800"/>
                <a:gd name="T3" fmla="*/ 2466628 h 9812"/>
                <a:gd name="T4" fmla="*/ 976983 w 3800"/>
                <a:gd name="T5" fmla="*/ 2240556 h 9812"/>
                <a:gd name="T6" fmla="*/ 976983 w 3800"/>
                <a:gd name="T7" fmla="*/ 596138 h 9812"/>
                <a:gd name="T8" fmla="*/ 750833 w 3800"/>
                <a:gd name="T9" fmla="*/ 370066 h 9812"/>
                <a:gd name="T10" fmla="*/ 390721 w 3800"/>
                <a:gd name="T11" fmla="*/ 514061 h 9812"/>
                <a:gd name="T12" fmla="*/ 390721 w 3800"/>
                <a:gd name="T13" fmla="*/ 2322993 h 9812"/>
                <a:gd name="T14" fmla="*/ 0 w 3800"/>
                <a:gd name="T15" fmla="*/ 30599 h 9812"/>
                <a:gd name="T16" fmla="*/ 390721 w 3800"/>
                <a:gd name="T17" fmla="*/ 30599 h 9812"/>
                <a:gd name="T18" fmla="*/ 390721 w 3800"/>
                <a:gd name="T19" fmla="*/ 210592 h 9812"/>
                <a:gd name="T20" fmla="*/ 868950 w 3800"/>
                <a:gd name="T21" fmla="*/ 0 h 9812"/>
                <a:gd name="T22" fmla="*/ 1368065 w 3800"/>
                <a:gd name="T23" fmla="*/ 549699 h 9812"/>
                <a:gd name="T24" fmla="*/ 1368065 w 3800"/>
                <a:gd name="T25" fmla="*/ 2286995 h 9812"/>
                <a:gd name="T26" fmla="*/ 868950 w 3800"/>
                <a:gd name="T27" fmla="*/ 2837054 h 9812"/>
                <a:gd name="T28" fmla="*/ 390721 w 3800"/>
                <a:gd name="T29" fmla="*/ 2636541 h 9812"/>
                <a:gd name="T30" fmla="*/ 390721 w 3800"/>
                <a:gd name="T31" fmla="*/ 3531828 h 9812"/>
                <a:gd name="T32" fmla="*/ 0 w 3800"/>
                <a:gd name="T33" fmla="*/ 3531828 h 9812"/>
                <a:gd name="T34" fmla="*/ 0 w 3800"/>
                <a:gd name="T35" fmla="*/ 30599 h 9812"/>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3800" h="9812">
                  <a:moveTo>
                    <a:pt x="1085" y="6453"/>
                  </a:moveTo>
                  <a:cubicBezTo>
                    <a:pt x="1385" y="6710"/>
                    <a:pt x="1728" y="6852"/>
                    <a:pt x="2085" y="6852"/>
                  </a:cubicBezTo>
                  <a:cubicBezTo>
                    <a:pt x="2485" y="6852"/>
                    <a:pt x="2713" y="6667"/>
                    <a:pt x="2713" y="6224"/>
                  </a:cubicBezTo>
                  <a:lnTo>
                    <a:pt x="2713" y="1656"/>
                  </a:lnTo>
                  <a:cubicBezTo>
                    <a:pt x="2713" y="1213"/>
                    <a:pt x="2485" y="1028"/>
                    <a:pt x="2085" y="1028"/>
                  </a:cubicBezTo>
                  <a:cubicBezTo>
                    <a:pt x="1728" y="1028"/>
                    <a:pt x="1385" y="1170"/>
                    <a:pt x="1085" y="1428"/>
                  </a:cubicBezTo>
                  <a:lnTo>
                    <a:pt x="1085" y="6453"/>
                  </a:lnTo>
                  <a:close/>
                  <a:moveTo>
                    <a:pt x="0" y="85"/>
                  </a:moveTo>
                  <a:lnTo>
                    <a:pt x="1085" y="85"/>
                  </a:lnTo>
                  <a:lnTo>
                    <a:pt x="1085" y="585"/>
                  </a:lnTo>
                  <a:cubicBezTo>
                    <a:pt x="1342" y="314"/>
                    <a:pt x="1785" y="0"/>
                    <a:pt x="2413" y="0"/>
                  </a:cubicBezTo>
                  <a:cubicBezTo>
                    <a:pt x="3342" y="0"/>
                    <a:pt x="3799" y="614"/>
                    <a:pt x="3799" y="1527"/>
                  </a:cubicBezTo>
                  <a:lnTo>
                    <a:pt x="3799" y="6353"/>
                  </a:lnTo>
                  <a:cubicBezTo>
                    <a:pt x="3799" y="7267"/>
                    <a:pt x="3342" y="7881"/>
                    <a:pt x="2413" y="7881"/>
                  </a:cubicBezTo>
                  <a:cubicBezTo>
                    <a:pt x="1785" y="7881"/>
                    <a:pt x="1342" y="7581"/>
                    <a:pt x="1085" y="7324"/>
                  </a:cubicBezTo>
                  <a:lnTo>
                    <a:pt x="1085" y="9811"/>
                  </a:lnTo>
                  <a:lnTo>
                    <a:pt x="0" y="9811"/>
                  </a:lnTo>
                  <a:lnTo>
                    <a:pt x="0" y="85"/>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endParaRPr lang="en-US"/>
            </a:p>
          </p:txBody>
        </p:sp>
        <p:sp>
          <p:nvSpPr>
            <p:cNvPr id="8" name="Freeform 3">
              <a:extLst>
                <a:ext uri="{FF2B5EF4-FFF2-40B4-BE49-F238E27FC236}">
                  <a16:creationId xmlns:a16="http://schemas.microsoft.com/office/drawing/2014/main" id="{44301975-C7AD-1908-66EC-4DF681ED2849}"/>
                </a:ext>
              </a:extLst>
            </p:cNvPr>
            <p:cNvSpPr>
              <a:spLocks noChangeArrowheads="1"/>
            </p:cNvSpPr>
            <p:nvPr/>
          </p:nvSpPr>
          <p:spPr bwMode="auto">
            <a:xfrm>
              <a:off x="4711700" y="2035175"/>
              <a:ext cx="1328738" cy="2836863"/>
            </a:xfrm>
            <a:custGeom>
              <a:avLst/>
              <a:gdLst>
                <a:gd name="T0" fmla="*/ 937679 w 3690"/>
                <a:gd name="T1" fmla="*/ 2338019 h 7882"/>
                <a:gd name="T2" fmla="*/ 937679 w 3690"/>
                <a:gd name="T3" fmla="*/ 1422750 h 7882"/>
                <a:gd name="T4" fmla="*/ 582988 w 3690"/>
                <a:gd name="T5" fmla="*/ 1556999 h 7882"/>
                <a:gd name="T6" fmla="*/ 392500 w 3690"/>
                <a:gd name="T7" fmla="*/ 1844573 h 7882"/>
                <a:gd name="T8" fmla="*/ 392500 w 3690"/>
                <a:gd name="T9" fmla="*/ 2266035 h 7882"/>
                <a:gd name="T10" fmla="*/ 582988 w 3690"/>
                <a:gd name="T11" fmla="*/ 2466149 h 7882"/>
                <a:gd name="T12" fmla="*/ 937679 w 3690"/>
                <a:gd name="T13" fmla="*/ 2338019 h 7882"/>
                <a:gd name="T14" fmla="*/ 2161 w 3690"/>
                <a:gd name="T15" fmla="*/ 1839174 h 7882"/>
                <a:gd name="T16" fmla="*/ 413025 w 3690"/>
                <a:gd name="T17" fmla="*/ 1253950 h 7882"/>
                <a:gd name="T18" fmla="*/ 937679 w 3690"/>
                <a:gd name="T19" fmla="*/ 1073991 h 7882"/>
                <a:gd name="T20" fmla="*/ 937679 w 3690"/>
                <a:gd name="T21" fmla="*/ 611498 h 7882"/>
                <a:gd name="T22" fmla="*/ 690656 w 3690"/>
                <a:gd name="T23" fmla="*/ 359557 h 7882"/>
                <a:gd name="T24" fmla="*/ 627280 w 3690"/>
                <a:gd name="T25" fmla="*/ 359557 h 7882"/>
                <a:gd name="T26" fmla="*/ 380257 w 3690"/>
                <a:gd name="T27" fmla="*/ 611498 h 7882"/>
                <a:gd name="T28" fmla="*/ 380257 w 3690"/>
                <a:gd name="T29" fmla="*/ 1004527 h 7882"/>
                <a:gd name="T30" fmla="*/ 0 w 3690"/>
                <a:gd name="T31" fmla="*/ 1004527 h 7882"/>
                <a:gd name="T32" fmla="*/ 0 w 3690"/>
                <a:gd name="T33" fmla="*/ 626975 h 7882"/>
                <a:gd name="T34" fmla="*/ 627280 w 3690"/>
                <a:gd name="T35" fmla="*/ 0 h 7882"/>
                <a:gd name="T36" fmla="*/ 701098 w 3690"/>
                <a:gd name="T37" fmla="*/ 0 h 7882"/>
                <a:gd name="T38" fmla="*/ 1328378 w 3690"/>
                <a:gd name="T39" fmla="*/ 626975 h 7882"/>
                <a:gd name="T40" fmla="*/ 1328378 w 3690"/>
                <a:gd name="T41" fmla="*/ 2805550 h 7882"/>
                <a:gd name="T42" fmla="*/ 937679 w 3690"/>
                <a:gd name="T43" fmla="*/ 2805550 h 7882"/>
                <a:gd name="T44" fmla="*/ 937679 w 3690"/>
                <a:gd name="T45" fmla="*/ 2630631 h 7882"/>
                <a:gd name="T46" fmla="*/ 459477 w 3690"/>
                <a:gd name="T47" fmla="*/ 2836503 h 7882"/>
                <a:gd name="T48" fmla="*/ 2161 w 3690"/>
                <a:gd name="T49" fmla="*/ 2348096 h 7882"/>
                <a:gd name="T50" fmla="*/ 2161 w 3690"/>
                <a:gd name="T51" fmla="*/ 1839174 h 7882"/>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3690" h="7882">
                  <a:moveTo>
                    <a:pt x="2604" y="6496"/>
                  </a:moveTo>
                  <a:lnTo>
                    <a:pt x="2604" y="3953"/>
                  </a:lnTo>
                  <a:lnTo>
                    <a:pt x="1619" y="4326"/>
                  </a:lnTo>
                  <a:cubicBezTo>
                    <a:pt x="1219" y="4483"/>
                    <a:pt x="1090" y="4683"/>
                    <a:pt x="1090" y="5125"/>
                  </a:cubicBezTo>
                  <a:lnTo>
                    <a:pt x="1090" y="6296"/>
                  </a:lnTo>
                  <a:cubicBezTo>
                    <a:pt x="1090" y="6667"/>
                    <a:pt x="1276" y="6852"/>
                    <a:pt x="1619" y="6852"/>
                  </a:cubicBezTo>
                  <a:cubicBezTo>
                    <a:pt x="1947" y="6852"/>
                    <a:pt x="2247" y="6738"/>
                    <a:pt x="2604" y="6496"/>
                  </a:cubicBezTo>
                  <a:close/>
                  <a:moveTo>
                    <a:pt x="6" y="5110"/>
                  </a:moveTo>
                  <a:cubicBezTo>
                    <a:pt x="6" y="4155"/>
                    <a:pt x="320" y="3769"/>
                    <a:pt x="1147" y="3484"/>
                  </a:cubicBezTo>
                  <a:lnTo>
                    <a:pt x="2604" y="2984"/>
                  </a:lnTo>
                  <a:lnTo>
                    <a:pt x="2604" y="1699"/>
                  </a:lnTo>
                  <a:cubicBezTo>
                    <a:pt x="2604" y="1242"/>
                    <a:pt x="2375" y="999"/>
                    <a:pt x="1918" y="999"/>
                  </a:cubicBezTo>
                  <a:lnTo>
                    <a:pt x="1742" y="999"/>
                  </a:lnTo>
                  <a:cubicBezTo>
                    <a:pt x="1285" y="999"/>
                    <a:pt x="1056" y="1242"/>
                    <a:pt x="1056" y="1699"/>
                  </a:cubicBezTo>
                  <a:lnTo>
                    <a:pt x="1056" y="2791"/>
                  </a:lnTo>
                  <a:lnTo>
                    <a:pt x="0" y="2791"/>
                  </a:lnTo>
                  <a:lnTo>
                    <a:pt x="0" y="1742"/>
                  </a:lnTo>
                  <a:cubicBezTo>
                    <a:pt x="0" y="585"/>
                    <a:pt x="586" y="0"/>
                    <a:pt x="1742" y="0"/>
                  </a:cubicBezTo>
                  <a:lnTo>
                    <a:pt x="1947" y="0"/>
                  </a:lnTo>
                  <a:cubicBezTo>
                    <a:pt x="3104" y="0"/>
                    <a:pt x="3689" y="585"/>
                    <a:pt x="3689" y="1742"/>
                  </a:cubicBezTo>
                  <a:lnTo>
                    <a:pt x="3689" y="7795"/>
                  </a:lnTo>
                  <a:lnTo>
                    <a:pt x="2604" y="7795"/>
                  </a:lnTo>
                  <a:lnTo>
                    <a:pt x="2604" y="7309"/>
                  </a:lnTo>
                  <a:cubicBezTo>
                    <a:pt x="2304" y="7595"/>
                    <a:pt x="1904" y="7881"/>
                    <a:pt x="1276" y="7881"/>
                  </a:cubicBezTo>
                  <a:cubicBezTo>
                    <a:pt x="406" y="7881"/>
                    <a:pt x="6" y="7381"/>
                    <a:pt x="6" y="6524"/>
                  </a:cubicBezTo>
                  <a:lnTo>
                    <a:pt x="6" y="5110"/>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endParaRPr lang="en-US"/>
            </a:p>
          </p:txBody>
        </p:sp>
        <p:sp>
          <p:nvSpPr>
            <p:cNvPr id="9" name="Freeform 4">
              <a:extLst>
                <a:ext uri="{FF2B5EF4-FFF2-40B4-BE49-F238E27FC236}">
                  <a16:creationId xmlns:a16="http://schemas.microsoft.com/office/drawing/2014/main" id="{C5BFC6A7-8D8D-C9E0-F761-400806CE99DD}"/>
                </a:ext>
              </a:extLst>
            </p:cNvPr>
            <p:cNvSpPr>
              <a:spLocks noChangeArrowheads="1"/>
            </p:cNvSpPr>
            <p:nvPr/>
          </p:nvSpPr>
          <p:spPr bwMode="auto">
            <a:xfrm>
              <a:off x="6292850" y="2035175"/>
              <a:ext cx="2262188" cy="2806700"/>
            </a:xfrm>
            <a:custGeom>
              <a:avLst/>
              <a:gdLst>
                <a:gd name="T0" fmla="*/ 1326358 w 6285"/>
                <a:gd name="T1" fmla="*/ 2806340 h 7796"/>
                <a:gd name="T2" fmla="*/ 935470 w 6285"/>
                <a:gd name="T3" fmla="*/ 2806340 h 7796"/>
                <a:gd name="T4" fmla="*/ 935470 w 6285"/>
                <a:gd name="T5" fmla="*/ 570628 h 7796"/>
                <a:gd name="T6" fmla="*/ 750463 w 6285"/>
                <a:gd name="T7" fmla="*/ 370098 h 7796"/>
                <a:gd name="T8" fmla="*/ 390889 w 6285"/>
                <a:gd name="T9" fmla="*/ 508705 h 7796"/>
                <a:gd name="T10" fmla="*/ 390889 w 6285"/>
                <a:gd name="T11" fmla="*/ 2806340 h 7796"/>
                <a:gd name="T12" fmla="*/ 0 w 6285"/>
                <a:gd name="T13" fmla="*/ 2806340 h 7796"/>
                <a:gd name="T14" fmla="*/ 0 w 6285"/>
                <a:gd name="T15" fmla="*/ 30602 h 7796"/>
                <a:gd name="T16" fmla="*/ 390889 w 6285"/>
                <a:gd name="T17" fmla="*/ 30602 h 7796"/>
                <a:gd name="T18" fmla="*/ 390889 w 6285"/>
                <a:gd name="T19" fmla="*/ 210611 h 7796"/>
                <a:gd name="T20" fmla="*/ 868882 w 6285"/>
                <a:gd name="T21" fmla="*/ 0 h 7796"/>
                <a:gd name="T22" fmla="*/ 1274888 w 6285"/>
                <a:gd name="T23" fmla="*/ 226091 h 7796"/>
                <a:gd name="T24" fmla="*/ 1804351 w 6285"/>
                <a:gd name="T25" fmla="*/ 0 h 7796"/>
                <a:gd name="T26" fmla="*/ 2261828 w 6285"/>
                <a:gd name="T27" fmla="*/ 488184 h 7796"/>
                <a:gd name="T28" fmla="*/ 2261828 w 6285"/>
                <a:gd name="T29" fmla="*/ 2806340 h 7796"/>
                <a:gd name="T30" fmla="*/ 1870939 w 6285"/>
                <a:gd name="T31" fmla="*/ 2806340 h 7796"/>
                <a:gd name="T32" fmla="*/ 1870939 w 6285"/>
                <a:gd name="T33" fmla="*/ 570628 h 7796"/>
                <a:gd name="T34" fmla="*/ 1685933 w 6285"/>
                <a:gd name="T35" fmla="*/ 370098 h 7796"/>
                <a:gd name="T36" fmla="*/ 1326358 w 6285"/>
                <a:gd name="T37" fmla="*/ 508705 h 7796"/>
                <a:gd name="T38" fmla="*/ 1326358 w 6285"/>
                <a:gd name="T39" fmla="*/ 2806340 h 779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6285" h="7796">
                  <a:moveTo>
                    <a:pt x="3685" y="7795"/>
                  </a:moveTo>
                  <a:lnTo>
                    <a:pt x="2599" y="7795"/>
                  </a:lnTo>
                  <a:lnTo>
                    <a:pt x="2599" y="1585"/>
                  </a:lnTo>
                  <a:cubicBezTo>
                    <a:pt x="2599" y="1199"/>
                    <a:pt x="2414" y="1028"/>
                    <a:pt x="2085" y="1028"/>
                  </a:cubicBezTo>
                  <a:cubicBezTo>
                    <a:pt x="1785" y="1028"/>
                    <a:pt x="1471" y="1142"/>
                    <a:pt x="1086" y="1413"/>
                  </a:cubicBezTo>
                  <a:lnTo>
                    <a:pt x="1086" y="7795"/>
                  </a:lnTo>
                  <a:lnTo>
                    <a:pt x="0" y="7795"/>
                  </a:lnTo>
                  <a:lnTo>
                    <a:pt x="0" y="85"/>
                  </a:lnTo>
                  <a:lnTo>
                    <a:pt x="1086" y="85"/>
                  </a:lnTo>
                  <a:lnTo>
                    <a:pt x="1086" y="585"/>
                  </a:lnTo>
                  <a:cubicBezTo>
                    <a:pt x="1400" y="285"/>
                    <a:pt x="1814" y="0"/>
                    <a:pt x="2414" y="0"/>
                  </a:cubicBezTo>
                  <a:cubicBezTo>
                    <a:pt x="2971" y="0"/>
                    <a:pt x="3342" y="228"/>
                    <a:pt x="3542" y="628"/>
                  </a:cubicBezTo>
                  <a:cubicBezTo>
                    <a:pt x="3928" y="299"/>
                    <a:pt x="4385" y="0"/>
                    <a:pt x="5013" y="0"/>
                  </a:cubicBezTo>
                  <a:cubicBezTo>
                    <a:pt x="5855" y="0"/>
                    <a:pt x="6284" y="514"/>
                    <a:pt x="6284" y="1356"/>
                  </a:cubicBezTo>
                  <a:lnTo>
                    <a:pt x="6284" y="7795"/>
                  </a:lnTo>
                  <a:lnTo>
                    <a:pt x="5198" y="7795"/>
                  </a:lnTo>
                  <a:lnTo>
                    <a:pt x="5198" y="1585"/>
                  </a:lnTo>
                  <a:cubicBezTo>
                    <a:pt x="5198" y="1199"/>
                    <a:pt x="5013" y="1028"/>
                    <a:pt x="4684" y="1028"/>
                  </a:cubicBezTo>
                  <a:cubicBezTo>
                    <a:pt x="4385" y="1028"/>
                    <a:pt x="4070" y="1142"/>
                    <a:pt x="3685" y="1413"/>
                  </a:cubicBezTo>
                  <a:lnTo>
                    <a:pt x="3685" y="7795"/>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endParaRPr lang="en-US"/>
            </a:p>
          </p:txBody>
        </p:sp>
        <p:sp>
          <p:nvSpPr>
            <p:cNvPr id="12" name="Freeform 5">
              <a:extLst>
                <a:ext uri="{FF2B5EF4-FFF2-40B4-BE49-F238E27FC236}">
                  <a16:creationId xmlns:a16="http://schemas.microsoft.com/office/drawing/2014/main" id="{9E53637C-4B04-4CF6-E949-71AFE61C584B}"/>
                </a:ext>
              </a:extLst>
            </p:cNvPr>
            <p:cNvSpPr>
              <a:spLocks noChangeArrowheads="1"/>
            </p:cNvSpPr>
            <p:nvPr/>
          </p:nvSpPr>
          <p:spPr bwMode="auto">
            <a:xfrm>
              <a:off x="14288" y="2322513"/>
              <a:ext cx="1004887" cy="2274887"/>
            </a:xfrm>
            <a:custGeom>
              <a:avLst/>
              <a:gdLst>
                <a:gd name="T0" fmla="*/ 1004527 w 2790"/>
                <a:gd name="T1" fmla="*/ 0 h 6317"/>
                <a:gd name="T2" fmla="*/ 1004527 w 2790"/>
                <a:gd name="T3" fmla="*/ 510652 h 6317"/>
                <a:gd name="T4" fmla="*/ 346488 w 2790"/>
                <a:gd name="T5" fmla="*/ 1137624 h 6317"/>
                <a:gd name="T6" fmla="*/ 1004527 w 2790"/>
                <a:gd name="T7" fmla="*/ 1752711 h 6317"/>
                <a:gd name="T8" fmla="*/ 1004527 w 2790"/>
                <a:gd name="T9" fmla="*/ 2274527 h 6317"/>
                <a:gd name="T10" fmla="*/ 0 w 2790"/>
                <a:gd name="T11" fmla="*/ 1331009 h 6317"/>
                <a:gd name="T12" fmla="*/ 0 w 2790"/>
                <a:gd name="T13" fmla="*/ 955042 h 6317"/>
                <a:gd name="T14" fmla="*/ 1004527 w 2790"/>
                <a:gd name="T15" fmla="*/ 0 h 6317"/>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2790" h="6317">
                  <a:moveTo>
                    <a:pt x="2789" y="0"/>
                  </a:moveTo>
                  <a:lnTo>
                    <a:pt x="2789" y="1418"/>
                  </a:lnTo>
                  <a:lnTo>
                    <a:pt x="962" y="3159"/>
                  </a:lnTo>
                  <a:lnTo>
                    <a:pt x="2789" y="4867"/>
                  </a:lnTo>
                  <a:lnTo>
                    <a:pt x="2789" y="6316"/>
                  </a:lnTo>
                  <a:lnTo>
                    <a:pt x="0" y="3696"/>
                  </a:lnTo>
                  <a:lnTo>
                    <a:pt x="0" y="2652"/>
                  </a:lnTo>
                  <a:lnTo>
                    <a:pt x="2789"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endParaRPr lang="en-US"/>
            </a:p>
          </p:txBody>
        </p:sp>
        <p:sp>
          <p:nvSpPr>
            <p:cNvPr id="13" name="Freeform 6">
              <a:extLst>
                <a:ext uri="{FF2B5EF4-FFF2-40B4-BE49-F238E27FC236}">
                  <a16:creationId xmlns:a16="http://schemas.microsoft.com/office/drawing/2014/main" id="{41E95276-E05A-544E-AFD7-6DC0B93034AA}"/>
                </a:ext>
              </a:extLst>
            </p:cNvPr>
            <p:cNvSpPr>
              <a:spLocks noChangeArrowheads="1"/>
            </p:cNvSpPr>
            <p:nvPr/>
          </p:nvSpPr>
          <p:spPr bwMode="auto">
            <a:xfrm>
              <a:off x="9050338" y="2322513"/>
              <a:ext cx="1003300" cy="2274887"/>
            </a:xfrm>
            <a:custGeom>
              <a:avLst/>
              <a:gdLst>
                <a:gd name="T0" fmla="*/ 1002940 w 2789"/>
                <a:gd name="T1" fmla="*/ 955042 h 6317"/>
                <a:gd name="T2" fmla="*/ 1002940 w 2789"/>
                <a:gd name="T3" fmla="*/ 1331009 h 6317"/>
                <a:gd name="T4" fmla="*/ 0 w 2789"/>
                <a:gd name="T5" fmla="*/ 2274527 h 6317"/>
                <a:gd name="T6" fmla="*/ 0 w 2789"/>
                <a:gd name="T7" fmla="*/ 1752711 h 6317"/>
                <a:gd name="T8" fmla="*/ 656876 w 2789"/>
                <a:gd name="T9" fmla="*/ 1137624 h 6317"/>
                <a:gd name="T10" fmla="*/ 0 w 2789"/>
                <a:gd name="T11" fmla="*/ 510652 h 6317"/>
                <a:gd name="T12" fmla="*/ 0 w 2789"/>
                <a:gd name="T13" fmla="*/ 0 h 6317"/>
                <a:gd name="T14" fmla="*/ 1002940 w 2789"/>
                <a:gd name="T15" fmla="*/ 955042 h 6317"/>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2789" h="6317">
                  <a:moveTo>
                    <a:pt x="2788" y="2652"/>
                  </a:moveTo>
                  <a:lnTo>
                    <a:pt x="2788" y="3696"/>
                  </a:lnTo>
                  <a:lnTo>
                    <a:pt x="0" y="6316"/>
                  </a:lnTo>
                  <a:lnTo>
                    <a:pt x="0" y="4867"/>
                  </a:lnTo>
                  <a:lnTo>
                    <a:pt x="1826" y="3159"/>
                  </a:lnTo>
                  <a:lnTo>
                    <a:pt x="0" y="1418"/>
                  </a:lnTo>
                  <a:lnTo>
                    <a:pt x="0" y="0"/>
                  </a:lnTo>
                  <a:lnTo>
                    <a:pt x="2788" y="2652"/>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endParaRPr lang="en-US"/>
            </a:p>
          </p:txBody>
        </p:sp>
      </p:grpSp>
      <p:sp>
        <p:nvSpPr>
          <p:cNvPr id="15" name="Footer Placeholder 14">
            <a:extLst>
              <a:ext uri="{FF2B5EF4-FFF2-40B4-BE49-F238E27FC236}">
                <a16:creationId xmlns:a16="http://schemas.microsoft.com/office/drawing/2014/main" id="{001841EC-11E6-98DC-FAFD-A97CA838574B}"/>
              </a:ext>
            </a:extLst>
          </p:cNvPr>
          <p:cNvSpPr txBox="1">
            <a:spLocks/>
          </p:cNvSpPr>
          <p:nvPr userDrawn="1"/>
        </p:nvSpPr>
        <p:spPr>
          <a:xfrm>
            <a:off x="1205299" y="6410231"/>
            <a:ext cx="2157779" cy="228599"/>
          </a:xfrm>
          <a:prstGeom prst="rect">
            <a:avLst/>
          </a:prstGeom>
        </p:spPr>
        <p:txBody>
          <a:bodyPr vert="horz" lIns="0" tIns="0" rIns="0" bIns="0" rtlCol="0" anchor="ctr"/>
          <a:lstStyle>
            <a:defPPr>
              <a:defRPr lang="en-US"/>
            </a:defPPr>
            <a:lvl1pPr marL="0" algn="r" defTabSz="914400" rtl="0" eaLnBrk="1" latinLnBrk="0" hangingPunct="1">
              <a:defRPr sz="600" b="0" i="0" kern="1200">
                <a:solidFill>
                  <a:schemeClr val="tx1"/>
                </a:solidFill>
                <a:latin typeface="+mn-lt"/>
                <a:ea typeface="Calibri" panose="020F0502020204030204" pitchFamily="34" charset="0"/>
                <a:cs typeface="Calibri" panose="020F050202020403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b="0" i="0">
                <a:solidFill>
                  <a:schemeClr val="tx1"/>
                </a:solidFill>
                <a:latin typeface="+mn-lt"/>
              </a:rPr>
              <a:t>EPAM Proprietary &amp; Confidential</a:t>
            </a:r>
            <a:r>
              <a:rPr lang="ru-RU" b="0" i="0">
                <a:solidFill>
                  <a:schemeClr val="tx1"/>
                </a:solidFill>
                <a:latin typeface="+mn-lt"/>
              </a:rPr>
              <a:t> </a:t>
            </a:r>
            <a:endParaRPr lang="en-US" b="0" i="0">
              <a:solidFill>
                <a:schemeClr val="tx1"/>
              </a:solidFill>
              <a:latin typeface="+mn-lt"/>
            </a:endParaRPr>
          </a:p>
        </p:txBody>
      </p:sp>
    </p:spTree>
    <p:extLst>
      <p:ext uri="{BB962C8B-B14F-4D97-AF65-F5344CB8AC3E}">
        <p14:creationId xmlns:p14="http://schemas.microsoft.com/office/powerpoint/2010/main" val="1472169390"/>
      </p:ext>
    </p:extLst>
  </p:cSld>
  <p:clrMapOvr>
    <a:masterClrMapping/>
  </p:clrMapOvr>
  <p:extLst>
    <p:ext uri="{DCECCB84-F9BA-43D5-87BE-67443E8EF086}">
      <p15:sldGuideLst xmlns:p15="http://schemas.microsoft.com/office/powerpoint/2012/main"/>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Small description + Big Image - Ligh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C4EAFE5-8CC8-D074-5D3A-EECB2EC761B7}"/>
              </a:ext>
            </a:extLst>
          </p:cNvPr>
          <p:cNvSpPr/>
          <p:nvPr userDrawn="1"/>
        </p:nvSpPr>
        <p:spPr bwMode="auto">
          <a:xfrm>
            <a:off x="0" y="0"/>
            <a:ext cx="3429000" cy="6858000"/>
          </a:xfrm>
          <a:prstGeom prst="rect">
            <a:avLst/>
          </a:prstGeom>
          <a:solidFill>
            <a:schemeClr val="bg1">
              <a:lumMod val="95000"/>
            </a:schemeClr>
          </a:solidFill>
          <a:ln>
            <a:noFill/>
          </a:ln>
          <a:effectLst/>
        </p:spPr>
        <p:txBody>
          <a:bodyPr wrap="none" rtlCol="0" anchor="ctr"/>
          <a:lstStyle/>
          <a:p>
            <a:pPr algn="ctr"/>
            <a:endParaRPr lang="en-US" sz="2400" err="1">
              <a:solidFill>
                <a:schemeClr val="bg1"/>
              </a:solidFill>
              <a:latin typeface="Calibri Light" panose="020F0302020204030204" pitchFamily="34" charset="0"/>
              <a:ea typeface="Human Sans ExtraLight" charset="0"/>
              <a:cs typeface="Human Sans ExtraLight" charset="0"/>
            </a:endParaRPr>
          </a:p>
        </p:txBody>
      </p:sp>
      <p:sp>
        <p:nvSpPr>
          <p:cNvPr id="14" name="Picture Placeholder 13">
            <a:extLst>
              <a:ext uri="{FF2B5EF4-FFF2-40B4-BE49-F238E27FC236}">
                <a16:creationId xmlns:a16="http://schemas.microsoft.com/office/drawing/2014/main" id="{8C51537F-E5E5-C646-8EA7-62625B5F033C}"/>
              </a:ext>
            </a:extLst>
          </p:cNvPr>
          <p:cNvSpPr>
            <a:spLocks noGrp="1"/>
          </p:cNvSpPr>
          <p:nvPr>
            <p:ph type="pic" sz="quarter" idx="10"/>
          </p:nvPr>
        </p:nvSpPr>
        <p:spPr>
          <a:xfrm>
            <a:off x="3402760" y="0"/>
            <a:ext cx="8789239" cy="6858000"/>
          </a:xfrm>
          <a:prstGeom prst="rect">
            <a:avLst/>
          </a:prstGeom>
        </p:spPr>
        <p:txBody>
          <a:bodyPr/>
          <a:lstStyle>
            <a:lvl1pPr>
              <a:defRPr b="0" i="0"/>
            </a:lvl1pPr>
          </a:lstStyle>
          <a:p>
            <a:r>
              <a:rPr lang="en-GB"/>
              <a:t>Click icon to add picture</a:t>
            </a:r>
            <a:endParaRPr lang="en-US"/>
          </a:p>
        </p:txBody>
      </p:sp>
      <p:sp>
        <p:nvSpPr>
          <p:cNvPr id="5" name="Title 1">
            <a:extLst>
              <a:ext uri="{FF2B5EF4-FFF2-40B4-BE49-F238E27FC236}">
                <a16:creationId xmlns:a16="http://schemas.microsoft.com/office/drawing/2014/main" id="{CB4A4608-F306-6423-E802-34652E92D92E}"/>
              </a:ext>
            </a:extLst>
          </p:cNvPr>
          <p:cNvSpPr>
            <a:spLocks noGrp="1"/>
          </p:cNvSpPr>
          <p:nvPr>
            <p:ph type="title" hasCustomPrompt="1"/>
          </p:nvPr>
        </p:nvSpPr>
        <p:spPr>
          <a:xfrm>
            <a:off x="639074" y="731520"/>
            <a:ext cx="2542276" cy="457200"/>
          </a:xfrm>
          <a:prstGeom prst="rect">
            <a:avLst/>
          </a:prstGeom>
        </p:spPr>
        <p:txBody>
          <a:bodyPr lIns="0" tIns="0" rIns="0" bIns="0">
            <a:noAutofit/>
          </a:bodyPr>
          <a:lstStyle>
            <a:lvl1pPr>
              <a:defRPr lang="en-US"/>
            </a:lvl1pPr>
          </a:lstStyle>
          <a:p>
            <a:pPr marL="0" lvl="0" indent="0">
              <a:spcBef>
                <a:spcPts val="0"/>
              </a:spcBef>
              <a:spcAft>
                <a:spcPts val="0"/>
              </a:spcAft>
              <a:buFont typeface="Arial" panose="020B0604020202020204" pitchFamily="34" charset="0"/>
            </a:pPr>
            <a:r>
              <a:rPr lang="en-US"/>
              <a:t>Title Goes Here</a:t>
            </a:r>
          </a:p>
        </p:txBody>
      </p:sp>
      <p:sp>
        <p:nvSpPr>
          <p:cNvPr id="6" name="Text Placeholder 10">
            <a:extLst>
              <a:ext uri="{FF2B5EF4-FFF2-40B4-BE49-F238E27FC236}">
                <a16:creationId xmlns:a16="http://schemas.microsoft.com/office/drawing/2014/main" id="{E3D6BF20-36CE-0BE2-E03A-5743E1E57B2B}"/>
              </a:ext>
            </a:extLst>
          </p:cNvPr>
          <p:cNvSpPr>
            <a:spLocks noGrp="1"/>
          </p:cNvSpPr>
          <p:nvPr>
            <p:ph type="body" sz="quarter" idx="15" hasCustomPrompt="1"/>
          </p:nvPr>
        </p:nvSpPr>
        <p:spPr>
          <a:xfrm>
            <a:off x="639074" y="419100"/>
            <a:ext cx="2542276" cy="223451"/>
          </a:xfrm>
          <a:prstGeom prst="rect">
            <a:avLst/>
          </a:prstGeom>
        </p:spPr>
        <p:txBody>
          <a:bodyPr vert="horz" lIns="0" tIns="0" rIns="0" bIns="0" rtlCol="0">
            <a:noAutofit/>
          </a:bodyPr>
          <a:lstStyle>
            <a:lvl1pPr>
              <a:defRPr lang="en-US" sz="1000" b="0" cap="all" spc="300" baseline="0">
                <a:solidFill>
                  <a:schemeClr val="tx1"/>
                </a:solidFill>
                <a:latin typeface="Calibri" panose="020F0502020204030204" pitchFamily="34" charset="0"/>
              </a:defRPr>
            </a:lvl1pPr>
          </a:lstStyle>
          <a:p>
            <a:pPr lvl="0"/>
            <a:r>
              <a:rPr lang="en-US"/>
              <a:t>Click to add section title</a:t>
            </a:r>
          </a:p>
        </p:txBody>
      </p:sp>
      <p:grpSp>
        <p:nvGrpSpPr>
          <p:cNvPr id="29" name="Group 28">
            <a:extLst>
              <a:ext uri="{FF2B5EF4-FFF2-40B4-BE49-F238E27FC236}">
                <a16:creationId xmlns:a16="http://schemas.microsoft.com/office/drawing/2014/main" id="{C1CFF085-A085-519A-E060-436AFE357D77}"/>
              </a:ext>
            </a:extLst>
          </p:cNvPr>
          <p:cNvGrpSpPr/>
          <p:nvPr userDrawn="1"/>
        </p:nvGrpSpPr>
        <p:grpSpPr>
          <a:xfrm>
            <a:off x="611054" y="6471298"/>
            <a:ext cx="372834" cy="131175"/>
            <a:chOff x="14288" y="2035175"/>
            <a:chExt cx="10039350" cy="3532188"/>
          </a:xfrm>
          <a:solidFill>
            <a:schemeClr val="tx1"/>
          </a:solidFill>
        </p:grpSpPr>
        <p:sp>
          <p:nvSpPr>
            <p:cNvPr id="30" name="Freeform 1">
              <a:extLst>
                <a:ext uri="{FF2B5EF4-FFF2-40B4-BE49-F238E27FC236}">
                  <a16:creationId xmlns:a16="http://schemas.microsoft.com/office/drawing/2014/main" id="{762FE1E5-C65B-72D7-02C4-398590595EC0}"/>
                </a:ext>
              </a:extLst>
            </p:cNvPr>
            <p:cNvSpPr>
              <a:spLocks noChangeArrowheads="1"/>
            </p:cNvSpPr>
            <p:nvPr/>
          </p:nvSpPr>
          <p:spPr bwMode="auto">
            <a:xfrm>
              <a:off x="1519238" y="2035175"/>
              <a:ext cx="1336675" cy="2836863"/>
            </a:xfrm>
            <a:custGeom>
              <a:avLst/>
              <a:gdLst>
                <a:gd name="T0" fmla="*/ 390493 w 3714"/>
                <a:gd name="T1" fmla="*/ 1200682 h 7882"/>
                <a:gd name="T2" fmla="*/ 945462 w 3714"/>
                <a:gd name="T3" fmla="*/ 1200682 h 7882"/>
                <a:gd name="T4" fmla="*/ 945462 w 3714"/>
                <a:gd name="T5" fmla="*/ 611498 h 7882"/>
                <a:gd name="T6" fmla="*/ 698929 w 3714"/>
                <a:gd name="T7" fmla="*/ 364596 h 7882"/>
                <a:gd name="T8" fmla="*/ 637386 w 3714"/>
                <a:gd name="T9" fmla="*/ 364596 h 7882"/>
                <a:gd name="T10" fmla="*/ 390493 w 3714"/>
                <a:gd name="T11" fmla="*/ 611498 h 7882"/>
                <a:gd name="T12" fmla="*/ 390493 w 3714"/>
                <a:gd name="T13" fmla="*/ 1200682 h 7882"/>
                <a:gd name="T14" fmla="*/ 389414 w 3714"/>
                <a:gd name="T15" fmla="*/ 1576795 h 7882"/>
                <a:gd name="T16" fmla="*/ 390493 w 3714"/>
                <a:gd name="T17" fmla="*/ 2224645 h 7882"/>
                <a:gd name="T18" fmla="*/ 637386 w 3714"/>
                <a:gd name="T19" fmla="*/ 2471548 h 7882"/>
                <a:gd name="T20" fmla="*/ 709366 w 3714"/>
                <a:gd name="T21" fmla="*/ 2471548 h 7882"/>
                <a:gd name="T22" fmla="*/ 955899 w 3714"/>
                <a:gd name="T23" fmla="*/ 2224645 h 7882"/>
                <a:gd name="T24" fmla="*/ 955899 w 3714"/>
                <a:gd name="T25" fmla="*/ 1906119 h 7882"/>
                <a:gd name="T26" fmla="*/ 1336315 w 3714"/>
                <a:gd name="T27" fmla="*/ 1906119 h 7882"/>
                <a:gd name="T28" fmla="*/ 1336315 w 3714"/>
                <a:gd name="T29" fmla="*/ 2209528 h 7882"/>
                <a:gd name="T30" fmla="*/ 709366 w 3714"/>
                <a:gd name="T31" fmla="*/ 2836503 h 7882"/>
                <a:gd name="T32" fmla="*/ 626949 w 3714"/>
                <a:gd name="T33" fmla="*/ 2836503 h 7882"/>
                <a:gd name="T34" fmla="*/ 0 w 3714"/>
                <a:gd name="T35" fmla="*/ 2258117 h 7882"/>
                <a:gd name="T36" fmla="*/ 0 w 3714"/>
                <a:gd name="T37" fmla="*/ 675564 h 7882"/>
                <a:gd name="T38" fmla="*/ 626949 w 3714"/>
                <a:gd name="T39" fmla="*/ 0 h 7882"/>
                <a:gd name="T40" fmla="*/ 709366 w 3714"/>
                <a:gd name="T41" fmla="*/ 0 h 7882"/>
                <a:gd name="T42" fmla="*/ 1336315 w 3714"/>
                <a:gd name="T43" fmla="*/ 626975 h 7882"/>
                <a:gd name="T44" fmla="*/ 1334875 w 3714"/>
                <a:gd name="T45" fmla="*/ 1576795 h 7882"/>
                <a:gd name="T46" fmla="*/ 389414 w 3714"/>
                <a:gd name="T47" fmla="*/ 1576795 h 7882"/>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3714" h="7882">
                  <a:moveTo>
                    <a:pt x="1085" y="3336"/>
                  </a:moveTo>
                  <a:lnTo>
                    <a:pt x="2627" y="3336"/>
                  </a:lnTo>
                  <a:lnTo>
                    <a:pt x="2627" y="1699"/>
                  </a:lnTo>
                  <a:cubicBezTo>
                    <a:pt x="2627" y="1242"/>
                    <a:pt x="2399" y="1013"/>
                    <a:pt x="1942" y="1013"/>
                  </a:cubicBezTo>
                  <a:lnTo>
                    <a:pt x="1771" y="1013"/>
                  </a:lnTo>
                  <a:cubicBezTo>
                    <a:pt x="1314" y="1013"/>
                    <a:pt x="1085" y="1242"/>
                    <a:pt x="1085" y="1699"/>
                  </a:cubicBezTo>
                  <a:lnTo>
                    <a:pt x="1085" y="3336"/>
                  </a:lnTo>
                  <a:close/>
                  <a:moveTo>
                    <a:pt x="1082" y="4381"/>
                  </a:moveTo>
                  <a:lnTo>
                    <a:pt x="1085" y="6181"/>
                  </a:lnTo>
                  <a:cubicBezTo>
                    <a:pt x="1085" y="6638"/>
                    <a:pt x="1314" y="6867"/>
                    <a:pt x="1771" y="6867"/>
                  </a:cubicBezTo>
                  <a:lnTo>
                    <a:pt x="1971" y="6867"/>
                  </a:lnTo>
                  <a:cubicBezTo>
                    <a:pt x="2428" y="6867"/>
                    <a:pt x="2656" y="6638"/>
                    <a:pt x="2656" y="6181"/>
                  </a:cubicBezTo>
                  <a:lnTo>
                    <a:pt x="2656" y="5296"/>
                  </a:lnTo>
                  <a:lnTo>
                    <a:pt x="3713" y="5296"/>
                  </a:lnTo>
                  <a:lnTo>
                    <a:pt x="3713" y="6139"/>
                  </a:lnTo>
                  <a:cubicBezTo>
                    <a:pt x="3713" y="7295"/>
                    <a:pt x="3127" y="7881"/>
                    <a:pt x="1971" y="7881"/>
                  </a:cubicBezTo>
                  <a:lnTo>
                    <a:pt x="1742" y="7881"/>
                  </a:lnTo>
                  <a:cubicBezTo>
                    <a:pt x="585" y="7881"/>
                    <a:pt x="0" y="7295"/>
                    <a:pt x="0" y="6274"/>
                  </a:cubicBezTo>
                  <a:lnTo>
                    <a:pt x="0" y="1877"/>
                  </a:lnTo>
                  <a:cubicBezTo>
                    <a:pt x="0" y="585"/>
                    <a:pt x="585" y="0"/>
                    <a:pt x="1742" y="0"/>
                  </a:cubicBezTo>
                  <a:lnTo>
                    <a:pt x="1971" y="0"/>
                  </a:lnTo>
                  <a:cubicBezTo>
                    <a:pt x="3127" y="0"/>
                    <a:pt x="3713" y="585"/>
                    <a:pt x="3713" y="1742"/>
                  </a:cubicBezTo>
                  <a:lnTo>
                    <a:pt x="3709" y="4381"/>
                  </a:lnTo>
                  <a:lnTo>
                    <a:pt x="1082" y="4381"/>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endParaRPr lang="en-US"/>
            </a:p>
          </p:txBody>
        </p:sp>
        <p:sp>
          <p:nvSpPr>
            <p:cNvPr id="31" name="Freeform 2">
              <a:extLst>
                <a:ext uri="{FF2B5EF4-FFF2-40B4-BE49-F238E27FC236}">
                  <a16:creationId xmlns:a16="http://schemas.microsoft.com/office/drawing/2014/main" id="{1E9A529A-0398-6072-A0DF-ABB9BEFB8A35}"/>
                </a:ext>
              </a:extLst>
            </p:cNvPr>
            <p:cNvSpPr>
              <a:spLocks noChangeArrowheads="1"/>
            </p:cNvSpPr>
            <p:nvPr/>
          </p:nvSpPr>
          <p:spPr bwMode="auto">
            <a:xfrm>
              <a:off x="3109913" y="2035175"/>
              <a:ext cx="1368425" cy="3532188"/>
            </a:xfrm>
            <a:custGeom>
              <a:avLst/>
              <a:gdLst>
                <a:gd name="T0" fmla="*/ 390721 w 3800"/>
                <a:gd name="T1" fmla="*/ 2322993 h 9812"/>
                <a:gd name="T2" fmla="*/ 750833 w 3800"/>
                <a:gd name="T3" fmla="*/ 2466628 h 9812"/>
                <a:gd name="T4" fmla="*/ 976983 w 3800"/>
                <a:gd name="T5" fmla="*/ 2240556 h 9812"/>
                <a:gd name="T6" fmla="*/ 976983 w 3800"/>
                <a:gd name="T7" fmla="*/ 596138 h 9812"/>
                <a:gd name="T8" fmla="*/ 750833 w 3800"/>
                <a:gd name="T9" fmla="*/ 370066 h 9812"/>
                <a:gd name="T10" fmla="*/ 390721 w 3800"/>
                <a:gd name="T11" fmla="*/ 514061 h 9812"/>
                <a:gd name="T12" fmla="*/ 390721 w 3800"/>
                <a:gd name="T13" fmla="*/ 2322993 h 9812"/>
                <a:gd name="T14" fmla="*/ 0 w 3800"/>
                <a:gd name="T15" fmla="*/ 30599 h 9812"/>
                <a:gd name="T16" fmla="*/ 390721 w 3800"/>
                <a:gd name="T17" fmla="*/ 30599 h 9812"/>
                <a:gd name="T18" fmla="*/ 390721 w 3800"/>
                <a:gd name="T19" fmla="*/ 210592 h 9812"/>
                <a:gd name="T20" fmla="*/ 868950 w 3800"/>
                <a:gd name="T21" fmla="*/ 0 h 9812"/>
                <a:gd name="T22" fmla="*/ 1368065 w 3800"/>
                <a:gd name="T23" fmla="*/ 549699 h 9812"/>
                <a:gd name="T24" fmla="*/ 1368065 w 3800"/>
                <a:gd name="T25" fmla="*/ 2286995 h 9812"/>
                <a:gd name="T26" fmla="*/ 868950 w 3800"/>
                <a:gd name="T27" fmla="*/ 2837054 h 9812"/>
                <a:gd name="T28" fmla="*/ 390721 w 3800"/>
                <a:gd name="T29" fmla="*/ 2636541 h 9812"/>
                <a:gd name="T30" fmla="*/ 390721 w 3800"/>
                <a:gd name="T31" fmla="*/ 3531828 h 9812"/>
                <a:gd name="T32" fmla="*/ 0 w 3800"/>
                <a:gd name="T33" fmla="*/ 3531828 h 9812"/>
                <a:gd name="T34" fmla="*/ 0 w 3800"/>
                <a:gd name="T35" fmla="*/ 30599 h 9812"/>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3800" h="9812">
                  <a:moveTo>
                    <a:pt x="1085" y="6453"/>
                  </a:moveTo>
                  <a:cubicBezTo>
                    <a:pt x="1385" y="6710"/>
                    <a:pt x="1728" y="6852"/>
                    <a:pt x="2085" y="6852"/>
                  </a:cubicBezTo>
                  <a:cubicBezTo>
                    <a:pt x="2485" y="6852"/>
                    <a:pt x="2713" y="6667"/>
                    <a:pt x="2713" y="6224"/>
                  </a:cubicBezTo>
                  <a:lnTo>
                    <a:pt x="2713" y="1656"/>
                  </a:lnTo>
                  <a:cubicBezTo>
                    <a:pt x="2713" y="1213"/>
                    <a:pt x="2485" y="1028"/>
                    <a:pt x="2085" y="1028"/>
                  </a:cubicBezTo>
                  <a:cubicBezTo>
                    <a:pt x="1728" y="1028"/>
                    <a:pt x="1385" y="1170"/>
                    <a:pt x="1085" y="1428"/>
                  </a:cubicBezTo>
                  <a:lnTo>
                    <a:pt x="1085" y="6453"/>
                  </a:lnTo>
                  <a:close/>
                  <a:moveTo>
                    <a:pt x="0" y="85"/>
                  </a:moveTo>
                  <a:lnTo>
                    <a:pt x="1085" y="85"/>
                  </a:lnTo>
                  <a:lnTo>
                    <a:pt x="1085" y="585"/>
                  </a:lnTo>
                  <a:cubicBezTo>
                    <a:pt x="1342" y="314"/>
                    <a:pt x="1785" y="0"/>
                    <a:pt x="2413" y="0"/>
                  </a:cubicBezTo>
                  <a:cubicBezTo>
                    <a:pt x="3342" y="0"/>
                    <a:pt x="3799" y="614"/>
                    <a:pt x="3799" y="1527"/>
                  </a:cubicBezTo>
                  <a:lnTo>
                    <a:pt x="3799" y="6353"/>
                  </a:lnTo>
                  <a:cubicBezTo>
                    <a:pt x="3799" y="7267"/>
                    <a:pt x="3342" y="7881"/>
                    <a:pt x="2413" y="7881"/>
                  </a:cubicBezTo>
                  <a:cubicBezTo>
                    <a:pt x="1785" y="7881"/>
                    <a:pt x="1342" y="7581"/>
                    <a:pt x="1085" y="7324"/>
                  </a:cubicBezTo>
                  <a:lnTo>
                    <a:pt x="1085" y="9811"/>
                  </a:lnTo>
                  <a:lnTo>
                    <a:pt x="0" y="9811"/>
                  </a:lnTo>
                  <a:lnTo>
                    <a:pt x="0" y="85"/>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endParaRPr lang="en-US"/>
            </a:p>
          </p:txBody>
        </p:sp>
        <p:sp>
          <p:nvSpPr>
            <p:cNvPr id="32" name="Freeform 3">
              <a:extLst>
                <a:ext uri="{FF2B5EF4-FFF2-40B4-BE49-F238E27FC236}">
                  <a16:creationId xmlns:a16="http://schemas.microsoft.com/office/drawing/2014/main" id="{DD419CE1-39CE-E9A2-29A2-07100F63D4D4}"/>
                </a:ext>
              </a:extLst>
            </p:cNvPr>
            <p:cNvSpPr>
              <a:spLocks noChangeArrowheads="1"/>
            </p:cNvSpPr>
            <p:nvPr/>
          </p:nvSpPr>
          <p:spPr bwMode="auto">
            <a:xfrm>
              <a:off x="4711700" y="2035175"/>
              <a:ext cx="1328738" cy="2836863"/>
            </a:xfrm>
            <a:custGeom>
              <a:avLst/>
              <a:gdLst>
                <a:gd name="T0" fmla="*/ 937679 w 3690"/>
                <a:gd name="T1" fmla="*/ 2338019 h 7882"/>
                <a:gd name="T2" fmla="*/ 937679 w 3690"/>
                <a:gd name="T3" fmla="*/ 1422750 h 7882"/>
                <a:gd name="T4" fmla="*/ 582988 w 3690"/>
                <a:gd name="T5" fmla="*/ 1556999 h 7882"/>
                <a:gd name="T6" fmla="*/ 392500 w 3690"/>
                <a:gd name="T7" fmla="*/ 1844573 h 7882"/>
                <a:gd name="T8" fmla="*/ 392500 w 3690"/>
                <a:gd name="T9" fmla="*/ 2266035 h 7882"/>
                <a:gd name="T10" fmla="*/ 582988 w 3690"/>
                <a:gd name="T11" fmla="*/ 2466149 h 7882"/>
                <a:gd name="T12" fmla="*/ 937679 w 3690"/>
                <a:gd name="T13" fmla="*/ 2338019 h 7882"/>
                <a:gd name="T14" fmla="*/ 2161 w 3690"/>
                <a:gd name="T15" fmla="*/ 1839174 h 7882"/>
                <a:gd name="T16" fmla="*/ 413025 w 3690"/>
                <a:gd name="T17" fmla="*/ 1253950 h 7882"/>
                <a:gd name="T18" fmla="*/ 937679 w 3690"/>
                <a:gd name="T19" fmla="*/ 1073991 h 7882"/>
                <a:gd name="T20" fmla="*/ 937679 w 3690"/>
                <a:gd name="T21" fmla="*/ 611498 h 7882"/>
                <a:gd name="T22" fmla="*/ 690656 w 3690"/>
                <a:gd name="T23" fmla="*/ 359557 h 7882"/>
                <a:gd name="T24" fmla="*/ 627280 w 3690"/>
                <a:gd name="T25" fmla="*/ 359557 h 7882"/>
                <a:gd name="T26" fmla="*/ 380257 w 3690"/>
                <a:gd name="T27" fmla="*/ 611498 h 7882"/>
                <a:gd name="T28" fmla="*/ 380257 w 3690"/>
                <a:gd name="T29" fmla="*/ 1004527 h 7882"/>
                <a:gd name="T30" fmla="*/ 0 w 3690"/>
                <a:gd name="T31" fmla="*/ 1004527 h 7882"/>
                <a:gd name="T32" fmla="*/ 0 w 3690"/>
                <a:gd name="T33" fmla="*/ 626975 h 7882"/>
                <a:gd name="T34" fmla="*/ 627280 w 3690"/>
                <a:gd name="T35" fmla="*/ 0 h 7882"/>
                <a:gd name="T36" fmla="*/ 701098 w 3690"/>
                <a:gd name="T37" fmla="*/ 0 h 7882"/>
                <a:gd name="T38" fmla="*/ 1328378 w 3690"/>
                <a:gd name="T39" fmla="*/ 626975 h 7882"/>
                <a:gd name="T40" fmla="*/ 1328378 w 3690"/>
                <a:gd name="T41" fmla="*/ 2805550 h 7882"/>
                <a:gd name="T42" fmla="*/ 937679 w 3690"/>
                <a:gd name="T43" fmla="*/ 2805550 h 7882"/>
                <a:gd name="T44" fmla="*/ 937679 w 3690"/>
                <a:gd name="T45" fmla="*/ 2630631 h 7882"/>
                <a:gd name="T46" fmla="*/ 459477 w 3690"/>
                <a:gd name="T47" fmla="*/ 2836503 h 7882"/>
                <a:gd name="T48" fmla="*/ 2161 w 3690"/>
                <a:gd name="T49" fmla="*/ 2348096 h 7882"/>
                <a:gd name="T50" fmla="*/ 2161 w 3690"/>
                <a:gd name="T51" fmla="*/ 1839174 h 7882"/>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3690" h="7882">
                  <a:moveTo>
                    <a:pt x="2604" y="6496"/>
                  </a:moveTo>
                  <a:lnTo>
                    <a:pt x="2604" y="3953"/>
                  </a:lnTo>
                  <a:lnTo>
                    <a:pt x="1619" y="4326"/>
                  </a:lnTo>
                  <a:cubicBezTo>
                    <a:pt x="1219" y="4483"/>
                    <a:pt x="1090" y="4683"/>
                    <a:pt x="1090" y="5125"/>
                  </a:cubicBezTo>
                  <a:lnTo>
                    <a:pt x="1090" y="6296"/>
                  </a:lnTo>
                  <a:cubicBezTo>
                    <a:pt x="1090" y="6667"/>
                    <a:pt x="1276" y="6852"/>
                    <a:pt x="1619" y="6852"/>
                  </a:cubicBezTo>
                  <a:cubicBezTo>
                    <a:pt x="1947" y="6852"/>
                    <a:pt x="2247" y="6738"/>
                    <a:pt x="2604" y="6496"/>
                  </a:cubicBezTo>
                  <a:close/>
                  <a:moveTo>
                    <a:pt x="6" y="5110"/>
                  </a:moveTo>
                  <a:cubicBezTo>
                    <a:pt x="6" y="4155"/>
                    <a:pt x="320" y="3769"/>
                    <a:pt x="1147" y="3484"/>
                  </a:cubicBezTo>
                  <a:lnTo>
                    <a:pt x="2604" y="2984"/>
                  </a:lnTo>
                  <a:lnTo>
                    <a:pt x="2604" y="1699"/>
                  </a:lnTo>
                  <a:cubicBezTo>
                    <a:pt x="2604" y="1242"/>
                    <a:pt x="2375" y="999"/>
                    <a:pt x="1918" y="999"/>
                  </a:cubicBezTo>
                  <a:lnTo>
                    <a:pt x="1742" y="999"/>
                  </a:lnTo>
                  <a:cubicBezTo>
                    <a:pt x="1285" y="999"/>
                    <a:pt x="1056" y="1242"/>
                    <a:pt x="1056" y="1699"/>
                  </a:cubicBezTo>
                  <a:lnTo>
                    <a:pt x="1056" y="2791"/>
                  </a:lnTo>
                  <a:lnTo>
                    <a:pt x="0" y="2791"/>
                  </a:lnTo>
                  <a:lnTo>
                    <a:pt x="0" y="1742"/>
                  </a:lnTo>
                  <a:cubicBezTo>
                    <a:pt x="0" y="585"/>
                    <a:pt x="586" y="0"/>
                    <a:pt x="1742" y="0"/>
                  </a:cubicBezTo>
                  <a:lnTo>
                    <a:pt x="1947" y="0"/>
                  </a:lnTo>
                  <a:cubicBezTo>
                    <a:pt x="3104" y="0"/>
                    <a:pt x="3689" y="585"/>
                    <a:pt x="3689" y="1742"/>
                  </a:cubicBezTo>
                  <a:lnTo>
                    <a:pt x="3689" y="7795"/>
                  </a:lnTo>
                  <a:lnTo>
                    <a:pt x="2604" y="7795"/>
                  </a:lnTo>
                  <a:lnTo>
                    <a:pt x="2604" y="7309"/>
                  </a:lnTo>
                  <a:cubicBezTo>
                    <a:pt x="2304" y="7595"/>
                    <a:pt x="1904" y="7881"/>
                    <a:pt x="1276" y="7881"/>
                  </a:cubicBezTo>
                  <a:cubicBezTo>
                    <a:pt x="406" y="7881"/>
                    <a:pt x="6" y="7381"/>
                    <a:pt x="6" y="6524"/>
                  </a:cubicBezTo>
                  <a:lnTo>
                    <a:pt x="6" y="5110"/>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endParaRPr lang="en-US"/>
            </a:p>
          </p:txBody>
        </p:sp>
        <p:sp>
          <p:nvSpPr>
            <p:cNvPr id="33" name="Freeform 4">
              <a:extLst>
                <a:ext uri="{FF2B5EF4-FFF2-40B4-BE49-F238E27FC236}">
                  <a16:creationId xmlns:a16="http://schemas.microsoft.com/office/drawing/2014/main" id="{550AEB33-DA18-AD6B-12B2-6B779D949286}"/>
                </a:ext>
              </a:extLst>
            </p:cNvPr>
            <p:cNvSpPr>
              <a:spLocks noChangeArrowheads="1"/>
            </p:cNvSpPr>
            <p:nvPr/>
          </p:nvSpPr>
          <p:spPr bwMode="auto">
            <a:xfrm>
              <a:off x="6292850" y="2035175"/>
              <a:ext cx="2262188" cy="2806700"/>
            </a:xfrm>
            <a:custGeom>
              <a:avLst/>
              <a:gdLst>
                <a:gd name="T0" fmla="*/ 1326358 w 6285"/>
                <a:gd name="T1" fmla="*/ 2806340 h 7796"/>
                <a:gd name="T2" fmla="*/ 935470 w 6285"/>
                <a:gd name="T3" fmla="*/ 2806340 h 7796"/>
                <a:gd name="T4" fmla="*/ 935470 w 6285"/>
                <a:gd name="T5" fmla="*/ 570628 h 7796"/>
                <a:gd name="T6" fmla="*/ 750463 w 6285"/>
                <a:gd name="T7" fmla="*/ 370098 h 7796"/>
                <a:gd name="T8" fmla="*/ 390889 w 6285"/>
                <a:gd name="T9" fmla="*/ 508705 h 7796"/>
                <a:gd name="T10" fmla="*/ 390889 w 6285"/>
                <a:gd name="T11" fmla="*/ 2806340 h 7796"/>
                <a:gd name="T12" fmla="*/ 0 w 6285"/>
                <a:gd name="T13" fmla="*/ 2806340 h 7796"/>
                <a:gd name="T14" fmla="*/ 0 w 6285"/>
                <a:gd name="T15" fmla="*/ 30602 h 7796"/>
                <a:gd name="T16" fmla="*/ 390889 w 6285"/>
                <a:gd name="T17" fmla="*/ 30602 h 7796"/>
                <a:gd name="T18" fmla="*/ 390889 w 6285"/>
                <a:gd name="T19" fmla="*/ 210611 h 7796"/>
                <a:gd name="T20" fmla="*/ 868882 w 6285"/>
                <a:gd name="T21" fmla="*/ 0 h 7796"/>
                <a:gd name="T22" fmla="*/ 1274888 w 6285"/>
                <a:gd name="T23" fmla="*/ 226091 h 7796"/>
                <a:gd name="T24" fmla="*/ 1804351 w 6285"/>
                <a:gd name="T25" fmla="*/ 0 h 7796"/>
                <a:gd name="T26" fmla="*/ 2261828 w 6285"/>
                <a:gd name="T27" fmla="*/ 488184 h 7796"/>
                <a:gd name="T28" fmla="*/ 2261828 w 6285"/>
                <a:gd name="T29" fmla="*/ 2806340 h 7796"/>
                <a:gd name="T30" fmla="*/ 1870939 w 6285"/>
                <a:gd name="T31" fmla="*/ 2806340 h 7796"/>
                <a:gd name="T32" fmla="*/ 1870939 w 6285"/>
                <a:gd name="T33" fmla="*/ 570628 h 7796"/>
                <a:gd name="T34" fmla="*/ 1685933 w 6285"/>
                <a:gd name="T35" fmla="*/ 370098 h 7796"/>
                <a:gd name="T36" fmla="*/ 1326358 w 6285"/>
                <a:gd name="T37" fmla="*/ 508705 h 7796"/>
                <a:gd name="T38" fmla="*/ 1326358 w 6285"/>
                <a:gd name="T39" fmla="*/ 2806340 h 779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6285" h="7796">
                  <a:moveTo>
                    <a:pt x="3685" y="7795"/>
                  </a:moveTo>
                  <a:lnTo>
                    <a:pt x="2599" y="7795"/>
                  </a:lnTo>
                  <a:lnTo>
                    <a:pt x="2599" y="1585"/>
                  </a:lnTo>
                  <a:cubicBezTo>
                    <a:pt x="2599" y="1199"/>
                    <a:pt x="2414" y="1028"/>
                    <a:pt x="2085" y="1028"/>
                  </a:cubicBezTo>
                  <a:cubicBezTo>
                    <a:pt x="1785" y="1028"/>
                    <a:pt x="1471" y="1142"/>
                    <a:pt x="1086" y="1413"/>
                  </a:cubicBezTo>
                  <a:lnTo>
                    <a:pt x="1086" y="7795"/>
                  </a:lnTo>
                  <a:lnTo>
                    <a:pt x="0" y="7795"/>
                  </a:lnTo>
                  <a:lnTo>
                    <a:pt x="0" y="85"/>
                  </a:lnTo>
                  <a:lnTo>
                    <a:pt x="1086" y="85"/>
                  </a:lnTo>
                  <a:lnTo>
                    <a:pt x="1086" y="585"/>
                  </a:lnTo>
                  <a:cubicBezTo>
                    <a:pt x="1400" y="285"/>
                    <a:pt x="1814" y="0"/>
                    <a:pt x="2414" y="0"/>
                  </a:cubicBezTo>
                  <a:cubicBezTo>
                    <a:pt x="2971" y="0"/>
                    <a:pt x="3342" y="228"/>
                    <a:pt x="3542" y="628"/>
                  </a:cubicBezTo>
                  <a:cubicBezTo>
                    <a:pt x="3928" y="299"/>
                    <a:pt x="4385" y="0"/>
                    <a:pt x="5013" y="0"/>
                  </a:cubicBezTo>
                  <a:cubicBezTo>
                    <a:pt x="5855" y="0"/>
                    <a:pt x="6284" y="514"/>
                    <a:pt x="6284" y="1356"/>
                  </a:cubicBezTo>
                  <a:lnTo>
                    <a:pt x="6284" y="7795"/>
                  </a:lnTo>
                  <a:lnTo>
                    <a:pt x="5198" y="7795"/>
                  </a:lnTo>
                  <a:lnTo>
                    <a:pt x="5198" y="1585"/>
                  </a:lnTo>
                  <a:cubicBezTo>
                    <a:pt x="5198" y="1199"/>
                    <a:pt x="5013" y="1028"/>
                    <a:pt x="4684" y="1028"/>
                  </a:cubicBezTo>
                  <a:cubicBezTo>
                    <a:pt x="4385" y="1028"/>
                    <a:pt x="4070" y="1142"/>
                    <a:pt x="3685" y="1413"/>
                  </a:cubicBezTo>
                  <a:lnTo>
                    <a:pt x="3685" y="7795"/>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endParaRPr lang="en-US"/>
            </a:p>
          </p:txBody>
        </p:sp>
        <p:sp>
          <p:nvSpPr>
            <p:cNvPr id="34" name="Freeform 5">
              <a:extLst>
                <a:ext uri="{FF2B5EF4-FFF2-40B4-BE49-F238E27FC236}">
                  <a16:creationId xmlns:a16="http://schemas.microsoft.com/office/drawing/2014/main" id="{97D60CEB-5259-BB91-6EE4-0CA64E5D51B0}"/>
                </a:ext>
              </a:extLst>
            </p:cNvPr>
            <p:cNvSpPr>
              <a:spLocks noChangeArrowheads="1"/>
            </p:cNvSpPr>
            <p:nvPr/>
          </p:nvSpPr>
          <p:spPr bwMode="auto">
            <a:xfrm>
              <a:off x="14288" y="2322513"/>
              <a:ext cx="1004887" cy="2274887"/>
            </a:xfrm>
            <a:custGeom>
              <a:avLst/>
              <a:gdLst>
                <a:gd name="T0" fmla="*/ 1004527 w 2790"/>
                <a:gd name="T1" fmla="*/ 0 h 6317"/>
                <a:gd name="T2" fmla="*/ 1004527 w 2790"/>
                <a:gd name="T3" fmla="*/ 510652 h 6317"/>
                <a:gd name="T4" fmla="*/ 346488 w 2790"/>
                <a:gd name="T5" fmla="*/ 1137624 h 6317"/>
                <a:gd name="T6" fmla="*/ 1004527 w 2790"/>
                <a:gd name="T7" fmla="*/ 1752711 h 6317"/>
                <a:gd name="T8" fmla="*/ 1004527 w 2790"/>
                <a:gd name="T9" fmla="*/ 2274527 h 6317"/>
                <a:gd name="T10" fmla="*/ 0 w 2790"/>
                <a:gd name="T11" fmla="*/ 1331009 h 6317"/>
                <a:gd name="T12" fmla="*/ 0 w 2790"/>
                <a:gd name="T13" fmla="*/ 955042 h 6317"/>
                <a:gd name="T14" fmla="*/ 1004527 w 2790"/>
                <a:gd name="T15" fmla="*/ 0 h 6317"/>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2790" h="6317">
                  <a:moveTo>
                    <a:pt x="2789" y="0"/>
                  </a:moveTo>
                  <a:lnTo>
                    <a:pt x="2789" y="1418"/>
                  </a:lnTo>
                  <a:lnTo>
                    <a:pt x="962" y="3159"/>
                  </a:lnTo>
                  <a:lnTo>
                    <a:pt x="2789" y="4867"/>
                  </a:lnTo>
                  <a:lnTo>
                    <a:pt x="2789" y="6316"/>
                  </a:lnTo>
                  <a:lnTo>
                    <a:pt x="0" y="3696"/>
                  </a:lnTo>
                  <a:lnTo>
                    <a:pt x="0" y="2652"/>
                  </a:lnTo>
                  <a:lnTo>
                    <a:pt x="2789"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endParaRPr lang="en-US"/>
            </a:p>
          </p:txBody>
        </p:sp>
        <p:sp>
          <p:nvSpPr>
            <p:cNvPr id="35" name="Freeform 6">
              <a:extLst>
                <a:ext uri="{FF2B5EF4-FFF2-40B4-BE49-F238E27FC236}">
                  <a16:creationId xmlns:a16="http://schemas.microsoft.com/office/drawing/2014/main" id="{A96E93F8-42B3-DC21-6D7D-C50B09D3C397}"/>
                </a:ext>
              </a:extLst>
            </p:cNvPr>
            <p:cNvSpPr>
              <a:spLocks noChangeArrowheads="1"/>
            </p:cNvSpPr>
            <p:nvPr/>
          </p:nvSpPr>
          <p:spPr bwMode="auto">
            <a:xfrm>
              <a:off x="9050338" y="2322513"/>
              <a:ext cx="1003300" cy="2274887"/>
            </a:xfrm>
            <a:custGeom>
              <a:avLst/>
              <a:gdLst>
                <a:gd name="T0" fmla="*/ 1002940 w 2789"/>
                <a:gd name="T1" fmla="*/ 955042 h 6317"/>
                <a:gd name="T2" fmla="*/ 1002940 w 2789"/>
                <a:gd name="T3" fmla="*/ 1331009 h 6317"/>
                <a:gd name="T4" fmla="*/ 0 w 2789"/>
                <a:gd name="T5" fmla="*/ 2274527 h 6317"/>
                <a:gd name="T6" fmla="*/ 0 w 2789"/>
                <a:gd name="T7" fmla="*/ 1752711 h 6317"/>
                <a:gd name="T8" fmla="*/ 656876 w 2789"/>
                <a:gd name="T9" fmla="*/ 1137624 h 6317"/>
                <a:gd name="T10" fmla="*/ 0 w 2789"/>
                <a:gd name="T11" fmla="*/ 510652 h 6317"/>
                <a:gd name="T12" fmla="*/ 0 w 2789"/>
                <a:gd name="T13" fmla="*/ 0 h 6317"/>
                <a:gd name="T14" fmla="*/ 1002940 w 2789"/>
                <a:gd name="T15" fmla="*/ 955042 h 6317"/>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2789" h="6317">
                  <a:moveTo>
                    <a:pt x="2788" y="2652"/>
                  </a:moveTo>
                  <a:lnTo>
                    <a:pt x="2788" y="3696"/>
                  </a:lnTo>
                  <a:lnTo>
                    <a:pt x="0" y="6316"/>
                  </a:lnTo>
                  <a:lnTo>
                    <a:pt x="0" y="4867"/>
                  </a:lnTo>
                  <a:lnTo>
                    <a:pt x="1826" y="3159"/>
                  </a:lnTo>
                  <a:lnTo>
                    <a:pt x="0" y="1418"/>
                  </a:lnTo>
                  <a:lnTo>
                    <a:pt x="0" y="0"/>
                  </a:lnTo>
                  <a:lnTo>
                    <a:pt x="2788" y="2652"/>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endParaRPr lang="en-US"/>
            </a:p>
          </p:txBody>
        </p:sp>
      </p:grpSp>
      <p:sp>
        <p:nvSpPr>
          <p:cNvPr id="36" name="Footer Placeholder 14">
            <a:extLst>
              <a:ext uri="{FF2B5EF4-FFF2-40B4-BE49-F238E27FC236}">
                <a16:creationId xmlns:a16="http://schemas.microsoft.com/office/drawing/2014/main" id="{B361FE3E-4D99-73F7-6E4B-ED07AFC40EBA}"/>
              </a:ext>
            </a:extLst>
          </p:cNvPr>
          <p:cNvSpPr txBox="1">
            <a:spLocks/>
          </p:cNvSpPr>
          <p:nvPr userDrawn="1"/>
        </p:nvSpPr>
        <p:spPr>
          <a:xfrm>
            <a:off x="1205299" y="6410231"/>
            <a:ext cx="2157779" cy="228599"/>
          </a:xfrm>
          <a:prstGeom prst="rect">
            <a:avLst/>
          </a:prstGeom>
        </p:spPr>
        <p:txBody>
          <a:bodyPr vert="horz" lIns="0" tIns="0" rIns="0" bIns="0" rtlCol="0" anchor="ctr"/>
          <a:lstStyle>
            <a:defPPr>
              <a:defRPr lang="en-US"/>
            </a:defPPr>
            <a:lvl1pPr marL="0" algn="r" defTabSz="914400" rtl="0" eaLnBrk="1" latinLnBrk="0" hangingPunct="1">
              <a:defRPr sz="600" b="0" i="0" kern="1200">
                <a:solidFill>
                  <a:schemeClr val="tx1"/>
                </a:solidFill>
                <a:latin typeface="+mn-lt"/>
                <a:ea typeface="Calibri" panose="020F0502020204030204" pitchFamily="34" charset="0"/>
                <a:cs typeface="Calibri" panose="020F050202020403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b="0" i="0">
                <a:solidFill>
                  <a:schemeClr val="tx1"/>
                </a:solidFill>
                <a:latin typeface="+mn-lt"/>
              </a:rPr>
              <a:t>EPAM Proprietary &amp; Confidential</a:t>
            </a:r>
            <a:r>
              <a:rPr lang="ru-RU" b="0" i="0">
                <a:solidFill>
                  <a:schemeClr val="tx1"/>
                </a:solidFill>
                <a:latin typeface="+mn-lt"/>
              </a:rPr>
              <a:t> </a:t>
            </a:r>
            <a:endParaRPr lang="en-US" b="0" i="0">
              <a:solidFill>
                <a:schemeClr val="tx1"/>
              </a:solidFill>
              <a:latin typeface="+mn-lt"/>
            </a:endParaRPr>
          </a:p>
        </p:txBody>
      </p:sp>
    </p:spTree>
    <p:extLst>
      <p:ext uri="{BB962C8B-B14F-4D97-AF65-F5344CB8AC3E}">
        <p14:creationId xmlns:p14="http://schemas.microsoft.com/office/powerpoint/2010/main" val="393011260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2CC2842-970F-4D83-A7C9-C111F3E9E8F4}"/>
              </a:ext>
            </a:extLst>
          </p:cNvPr>
          <p:cNvSpPr>
            <a:spLocks noGrp="1"/>
          </p:cNvSpPr>
          <p:nvPr>
            <p:ph type="title" hasCustomPrompt="1"/>
          </p:nvPr>
        </p:nvSpPr>
        <p:spPr>
          <a:xfrm>
            <a:off x="639074" y="1350512"/>
            <a:ext cx="3594735" cy="923330"/>
          </a:xfrm>
          <a:prstGeom prst="rect">
            <a:avLst/>
          </a:prstGeom>
        </p:spPr>
        <p:txBody>
          <a:bodyPr wrap="square">
            <a:spAutoFit/>
          </a:bodyPr>
          <a:lstStyle>
            <a:lvl1pPr>
              <a:defRPr sz="6000" b="0" i="0">
                <a:solidFill>
                  <a:schemeClr val="accent6"/>
                </a:solidFill>
                <a:latin typeface="Calibri" panose="020F0502020204030204" pitchFamily="34" charset="0"/>
                <a:cs typeface="Calibri" panose="020F0502020204030204" pitchFamily="34" charset="0"/>
              </a:defRPr>
            </a:lvl1pPr>
          </a:lstStyle>
          <a:p>
            <a:r>
              <a:rPr lang="en-US"/>
              <a:t>Contents</a:t>
            </a:r>
          </a:p>
        </p:txBody>
      </p:sp>
      <p:sp>
        <p:nvSpPr>
          <p:cNvPr id="5" name="Text Placeholder 4">
            <a:extLst>
              <a:ext uri="{FF2B5EF4-FFF2-40B4-BE49-F238E27FC236}">
                <a16:creationId xmlns:a16="http://schemas.microsoft.com/office/drawing/2014/main" id="{0B94A4A7-1D42-43C4-8DAE-D39D6017417F}"/>
              </a:ext>
            </a:extLst>
          </p:cNvPr>
          <p:cNvSpPr>
            <a:spLocks noGrp="1"/>
          </p:cNvSpPr>
          <p:nvPr>
            <p:ph type="body" sz="quarter" idx="10" hasCustomPrompt="1"/>
          </p:nvPr>
        </p:nvSpPr>
        <p:spPr>
          <a:xfrm>
            <a:off x="4566051" y="1542286"/>
            <a:ext cx="498928" cy="321627"/>
          </a:xfrm>
          <a:prstGeom prst="rect">
            <a:avLst/>
          </a:prstGeom>
        </p:spPr>
        <p:txBody>
          <a:bodyPr wrap="square" anchor="t" anchorCtr="0">
            <a:spAutoFit/>
          </a:bodyPr>
          <a:lstStyle>
            <a:lvl1pPr algn="r">
              <a:defRPr sz="2000" b="1">
                <a:solidFill>
                  <a:schemeClr val="accent6"/>
                </a:solidFill>
              </a:defRPr>
            </a:lvl1pPr>
          </a:lstStyle>
          <a:p>
            <a:pPr lvl="0"/>
            <a:r>
              <a:rPr lang="en-US"/>
              <a:t>01</a:t>
            </a:r>
          </a:p>
        </p:txBody>
      </p:sp>
      <p:sp>
        <p:nvSpPr>
          <p:cNvPr id="9" name="Text Placeholder 4">
            <a:extLst>
              <a:ext uri="{FF2B5EF4-FFF2-40B4-BE49-F238E27FC236}">
                <a16:creationId xmlns:a16="http://schemas.microsoft.com/office/drawing/2014/main" id="{914B7CA8-C6E3-4D9A-BDD1-5A660A9FF442}"/>
              </a:ext>
            </a:extLst>
          </p:cNvPr>
          <p:cNvSpPr>
            <a:spLocks noGrp="1"/>
          </p:cNvSpPr>
          <p:nvPr>
            <p:ph type="body" sz="quarter" idx="11" hasCustomPrompt="1"/>
          </p:nvPr>
        </p:nvSpPr>
        <p:spPr>
          <a:xfrm>
            <a:off x="4566051" y="2235353"/>
            <a:ext cx="498928" cy="321627"/>
          </a:xfrm>
          <a:prstGeom prst="rect">
            <a:avLst/>
          </a:prstGeom>
        </p:spPr>
        <p:txBody>
          <a:bodyPr wrap="square" anchor="t" anchorCtr="0">
            <a:spAutoFit/>
          </a:bodyPr>
          <a:lstStyle>
            <a:lvl1pPr algn="r">
              <a:defRPr sz="2000" b="1">
                <a:solidFill>
                  <a:schemeClr val="accent6"/>
                </a:solidFill>
              </a:defRPr>
            </a:lvl1pPr>
          </a:lstStyle>
          <a:p>
            <a:pPr lvl="0"/>
            <a:r>
              <a:rPr lang="en-US"/>
              <a:t>02</a:t>
            </a:r>
          </a:p>
        </p:txBody>
      </p:sp>
      <p:sp>
        <p:nvSpPr>
          <p:cNvPr id="13" name="Text Placeholder 4">
            <a:extLst>
              <a:ext uri="{FF2B5EF4-FFF2-40B4-BE49-F238E27FC236}">
                <a16:creationId xmlns:a16="http://schemas.microsoft.com/office/drawing/2014/main" id="{29CF7C84-314E-4FB2-901C-E4AD0E759351}"/>
              </a:ext>
            </a:extLst>
          </p:cNvPr>
          <p:cNvSpPr>
            <a:spLocks noGrp="1"/>
          </p:cNvSpPr>
          <p:nvPr>
            <p:ph type="body" sz="quarter" idx="12" hasCustomPrompt="1"/>
          </p:nvPr>
        </p:nvSpPr>
        <p:spPr>
          <a:xfrm>
            <a:off x="4566051" y="2918259"/>
            <a:ext cx="498928" cy="321627"/>
          </a:xfrm>
          <a:prstGeom prst="rect">
            <a:avLst/>
          </a:prstGeom>
        </p:spPr>
        <p:txBody>
          <a:bodyPr wrap="square" anchor="t" anchorCtr="0">
            <a:spAutoFit/>
          </a:bodyPr>
          <a:lstStyle>
            <a:lvl1pPr algn="r">
              <a:defRPr sz="2000" b="1">
                <a:solidFill>
                  <a:schemeClr val="accent6"/>
                </a:solidFill>
              </a:defRPr>
            </a:lvl1pPr>
          </a:lstStyle>
          <a:p>
            <a:pPr lvl="0"/>
            <a:r>
              <a:rPr lang="en-US"/>
              <a:t>03</a:t>
            </a:r>
          </a:p>
        </p:txBody>
      </p:sp>
      <p:sp>
        <p:nvSpPr>
          <p:cNvPr id="14" name="Text Placeholder 4">
            <a:extLst>
              <a:ext uri="{FF2B5EF4-FFF2-40B4-BE49-F238E27FC236}">
                <a16:creationId xmlns:a16="http://schemas.microsoft.com/office/drawing/2014/main" id="{F4E24727-48EE-48AA-9B6F-F26524FCED2B}"/>
              </a:ext>
            </a:extLst>
          </p:cNvPr>
          <p:cNvSpPr>
            <a:spLocks noGrp="1"/>
          </p:cNvSpPr>
          <p:nvPr>
            <p:ph type="body" sz="quarter" idx="13" hasCustomPrompt="1"/>
          </p:nvPr>
        </p:nvSpPr>
        <p:spPr>
          <a:xfrm>
            <a:off x="4566051" y="3611326"/>
            <a:ext cx="498928" cy="321627"/>
          </a:xfrm>
          <a:prstGeom prst="rect">
            <a:avLst/>
          </a:prstGeom>
        </p:spPr>
        <p:txBody>
          <a:bodyPr wrap="square" anchor="t" anchorCtr="0">
            <a:spAutoFit/>
          </a:bodyPr>
          <a:lstStyle>
            <a:lvl1pPr algn="r">
              <a:defRPr sz="2000" b="1">
                <a:solidFill>
                  <a:schemeClr val="accent6"/>
                </a:solidFill>
              </a:defRPr>
            </a:lvl1pPr>
          </a:lstStyle>
          <a:p>
            <a:pPr lvl="0"/>
            <a:r>
              <a:rPr lang="en-US"/>
              <a:t>04</a:t>
            </a:r>
          </a:p>
        </p:txBody>
      </p:sp>
      <p:sp>
        <p:nvSpPr>
          <p:cNvPr id="15" name="Text Placeholder 4">
            <a:extLst>
              <a:ext uri="{FF2B5EF4-FFF2-40B4-BE49-F238E27FC236}">
                <a16:creationId xmlns:a16="http://schemas.microsoft.com/office/drawing/2014/main" id="{18BC4A81-2FF3-4AC4-8F40-4F95105F594C}"/>
              </a:ext>
            </a:extLst>
          </p:cNvPr>
          <p:cNvSpPr>
            <a:spLocks noGrp="1"/>
          </p:cNvSpPr>
          <p:nvPr>
            <p:ph type="body" sz="quarter" idx="14" hasCustomPrompt="1"/>
          </p:nvPr>
        </p:nvSpPr>
        <p:spPr>
          <a:xfrm>
            <a:off x="4566051" y="4294232"/>
            <a:ext cx="498928" cy="321627"/>
          </a:xfrm>
          <a:prstGeom prst="rect">
            <a:avLst/>
          </a:prstGeom>
        </p:spPr>
        <p:txBody>
          <a:bodyPr wrap="square" anchor="t" anchorCtr="0">
            <a:spAutoFit/>
          </a:bodyPr>
          <a:lstStyle>
            <a:lvl1pPr algn="r">
              <a:defRPr sz="2000" b="1">
                <a:solidFill>
                  <a:schemeClr val="accent6"/>
                </a:solidFill>
              </a:defRPr>
            </a:lvl1pPr>
          </a:lstStyle>
          <a:p>
            <a:pPr lvl="0"/>
            <a:r>
              <a:rPr lang="en-US"/>
              <a:t>05</a:t>
            </a:r>
          </a:p>
        </p:txBody>
      </p:sp>
      <p:sp>
        <p:nvSpPr>
          <p:cNvPr id="16" name="Text Placeholder 4">
            <a:extLst>
              <a:ext uri="{FF2B5EF4-FFF2-40B4-BE49-F238E27FC236}">
                <a16:creationId xmlns:a16="http://schemas.microsoft.com/office/drawing/2014/main" id="{A53DF3A1-A093-468B-B30D-D2DB4C1595BF}"/>
              </a:ext>
            </a:extLst>
          </p:cNvPr>
          <p:cNvSpPr>
            <a:spLocks noGrp="1"/>
          </p:cNvSpPr>
          <p:nvPr>
            <p:ph type="body" sz="quarter" idx="15" hasCustomPrompt="1"/>
          </p:nvPr>
        </p:nvSpPr>
        <p:spPr>
          <a:xfrm>
            <a:off x="4566051" y="4977139"/>
            <a:ext cx="498928" cy="321627"/>
          </a:xfrm>
          <a:prstGeom prst="rect">
            <a:avLst/>
          </a:prstGeom>
        </p:spPr>
        <p:txBody>
          <a:bodyPr wrap="square" anchor="t" anchorCtr="0">
            <a:spAutoFit/>
          </a:bodyPr>
          <a:lstStyle>
            <a:lvl1pPr algn="r">
              <a:defRPr sz="2000" b="1">
                <a:solidFill>
                  <a:schemeClr val="accent6"/>
                </a:solidFill>
              </a:defRPr>
            </a:lvl1pPr>
          </a:lstStyle>
          <a:p>
            <a:pPr lvl="0"/>
            <a:r>
              <a:rPr lang="en-US"/>
              <a:t>06</a:t>
            </a:r>
          </a:p>
        </p:txBody>
      </p:sp>
      <p:sp>
        <p:nvSpPr>
          <p:cNvPr id="17" name="Text Placeholder 4">
            <a:extLst>
              <a:ext uri="{FF2B5EF4-FFF2-40B4-BE49-F238E27FC236}">
                <a16:creationId xmlns:a16="http://schemas.microsoft.com/office/drawing/2014/main" id="{73338DC0-8609-4542-8807-E7838F7CE5D6}"/>
              </a:ext>
            </a:extLst>
          </p:cNvPr>
          <p:cNvSpPr>
            <a:spLocks noGrp="1"/>
          </p:cNvSpPr>
          <p:nvPr>
            <p:ph type="body" sz="quarter" idx="16" hasCustomPrompt="1"/>
          </p:nvPr>
        </p:nvSpPr>
        <p:spPr>
          <a:xfrm>
            <a:off x="5298342" y="1542286"/>
            <a:ext cx="6245958" cy="307777"/>
          </a:xfrm>
          <a:prstGeom prst="rect">
            <a:avLst/>
          </a:prstGeom>
        </p:spPr>
        <p:txBody>
          <a:bodyPr wrap="square" anchor="t" anchorCtr="0">
            <a:spAutoFit/>
          </a:bodyPr>
          <a:lstStyle>
            <a:lvl1pPr>
              <a:defRPr sz="2000" b="0" i="0">
                <a:latin typeface="Calibri Light" panose="020F0302020204030204" pitchFamily="34" charset="0"/>
                <a:cs typeface="Calibri Light" panose="020F0302020204030204" pitchFamily="34" charset="0"/>
              </a:defRPr>
            </a:lvl1pPr>
          </a:lstStyle>
          <a:p>
            <a:pPr lvl="0"/>
            <a:r>
              <a:rPr lang="en-US"/>
              <a:t>Section header here</a:t>
            </a:r>
          </a:p>
        </p:txBody>
      </p:sp>
      <p:sp>
        <p:nvSpPr>
          <p:cNvPr id="18" name="Text Placeholder 4">
            <a:extLst>
              <a:ext uri="{FF2B5EF4-FFF2-40B4-BE49-F238E27FC236}">
                <a16:creationId xmlns:a16="http://schemas.microsoft.com/office/drawing/2014/main" id="{43948224-37C6-4D02-AFD9-C1D88C1C073C}"/>
              </a:ext>
            </a:extLst>
          </p:cNvPr>
          <p:cNvSpPr>
            <a:spLocks noGrp="1"/>
          </p:cNvSpPr>
          <p:nvPr>
            <p:ph type="body" sz="quarter" idx="17" hasCustomPrompt="1"/>
          </p:nvPr>
        </p:nvSpPr>
        <p:spPr>
          <a:xfrm>
            <a:off x="5298342" y="2235353"/>
            <a:ext cx="6245958" cy="307777"/>
          </a:xfrm>
          <a:prstGeom prst="rect">
            <a:avLst/>
          </a:prstGeom>
        </p:spPr>
        <p:txBody>
          <a:bodyPr wrap="square" anchor="t" anchorCtr="0">
            <a:spAutoFit/>
          </a:bodyPr>
          <a:lstStyle>
            <a:lvl1pPr>
              <a:defRPr sz="2000" b="0" i="0">
                <a:latin typeface="Calibri Light" panose="020F0302020204030204" pitchFamily="34" charset="0"/>
                <a:cs typeface="Calibri Light" panose="020F0302020204030204" pitchFamily="34" charset="0"/>
              </a:defRPr>
            </a:lvl1pPr>
          </a:lstStyle>
          <a:p>
            <a:pPr lvl="0"/>
            <a:r>
              <a:rPr lang="en-US"/>
              <a:t>Section header here</a:t>
            </a:r>
          </a:p>
        </p:txBody>
      </p:sp>
      <p:sp>
        <p:nvSpPr>
          <p:cNvPr id="19" name="Text Placeholder 4">
            <a:extLst>
              <a:ext uri="{FF2B5EF4-FFF2-40B4-BE49-F238E27FC236}">
                <a16:creationId xmlns:a16="http://schemas.microsoft.com/office/drawing/2014/main" id="{4BDE3CEE-0230-44C2-A389-A8747AA6BB8C}"/>
              </a:ext>
            </a:extLst>
          </p:cNvPr>
          <p:cNvSpPr>
            <a:spLocks noGrp="1"/>
          </p:cNvSpPr>
          <p:nvPr>
            <p:ph type="body" sz="quarter" idx="18" hasCustomPrompt="1"/>
          </p:nvPr>
        </p:nvSpPr>
        <p:spPr>
          <a:xfrm>
            <a:off x="5298342" y="2918259"/>
            <a:ext cx="6245958" cy="307777"/>
          </a:xfrm>
          <a:prstGeom prst="rect">
            <a:avLst/>
          </a:prstGeom>
        </p:spPr>
        <p:txBody>
          <a:bodyPr wrap="square" anchor="t" anchorCtr="0">
            <a:spAutoFit/>
          </a:bodyPr>
          <a:lstStyle>
            <a:lvl1pPr>
              <a:defRPr sz="2000" b="0" i="0">
                <a:latin typeface="Calibri Light" panose="020F0302020204030204" pitchFamily="34" charset="0"/>
                <a:cs typeface="Calibri Light" panose="020F0302020204030204" pitchFamily="34" charset="0"/>
              </a:defRPr>
            </a:lvl1pPr>
          </a:lstStyle>
          <a:p>
            <a:pPr lvl="0"/>
            <a:r>
              <a:rPr lang="en-US"/>
              <a:t>Section header here</a:t>
            </a:r>
          </a:p>
        </p:txBody>
      </p:sp>
      <p:sp>
        <p:nvSpPr>
          <p:cNvPr id="20" name="Text Placeholder 4">
            <a:extLst>
              <a:ext uri="{FF2B5EF4-FFF2-40B4-BE49-F238E27FC236}">
                <a16:creationId xmlns:a16="http://schemas.microsoft.com/office/drawing/2014/main" id="{76BF9761-22A6-4919-B7B5-2A027DDC6D44}"/>
              </a:ext>
            </a:extLst>
          </p:cNvPr>
          <p:cNvSpPr>
            <a:spLocks noGrp="1"/>
          </p:cNvSpPr>
          <p:nvPr>
            <p:ph type="body" sz="quarter" idx="19" hasCustomPrompt="1"/>
          </p:nvPr>
        </p:nvSpPr>
        <p:spPr>
          <a:xfrm>
            <a:off x="5298342" y="3611326"/>
            <a:ext cx="6245958" cy="307777"/>
          </a:xfrm>
          <a:prstGeom prst="rect">
            <a:avLst/>
          </a:prstGeom>
        </p:spPr>
        <p:txBody>
          <a:bodyPr wrap="square" anchor="t" anchorCtr="0">
            <a:spAutoFit/>
          </a:bodyPr>
          <a:lstStyle>
            <a:lvl1pPr>
              <a:defRPr sz="2000" b="0" i="0">
                <a:latin typeface="Calibri Light" panose="020F0302020204030204" pitchFamily="34" charset="0"/>
                <a:cs typeface="Calibri Light" panose="020F0302020204030204" pitchFamily="34" charset="0"/>
              </a:defRPr>
            </a:lvl1pPr>
          </a:lstStyle>
          <a:p>
            <a:pPr lvl="0"/>
            <a:r>
              <a:rPr lang="en-US"/>
              <a:t>Section header here</a:t>
            </a:r>
          </a:p>
        </p:txBody>
      </p:sp>
      <p:sp>
        <p:nvSpPr>
          <p:cNvPr id="21" name="Text Placeholder 4">
            <a:extLst>
              <a:ext uri="{FF2B5EF4-FFF2-40B4-BE49-F238E27FC236}">
                <a16:creationId xmlns:a16="http://schemas.microsoft.com/office/drawing/2014/main" id="{1BA13C9B-9D26-4B3E-8215-17F0475C2000}"/>
              </a:ext>
            </a:extLst>
          </p:cNvPr>
          <p:cNvSpPr>
            <a:spLocks noGrp="1"/>
          </p:cNvSpPr>
          <p:nvPr>
            <p:ph type="body" sz="quarter" idx="20" hasCustomPrompt="1"/>
          </p:nvPr>
        </p:nvSpPr>
        <p:spPr>
          <a:xfrm>
            <a:off x="5298342" y="4294232"/>
            <a:ext cx="6245958" cy="307777"/>
          </a:xfrm>
          <a:prstGeom prst="rect">
            <a:avLst/>
          </a:prstGeom>
        </p:spPr>
        <p:txBody>
          <a:bodyPr wrap="square" anchor="t" anchorCtr="0">
            <a:spAutoFit/>
          </a:bodyPr>
          <a:lstStyle>
            <a:lvl1pPr>
              <a:defRPr sz="2000" b="0" i="0">
                <a:latin typeface="Calibri Light" panose="020F0302020204030204" pitchFamily="34" charset="0"/>
                <a:cs typeface="Calibri Light" panose="020F0302020204030204" pitchFamily="34" charset="0"/>
              </a:defRPr>
            </a:lvl1pPr>
          </a:lstStyle>
          <a:p>
            <a:pPr lvl="0"/>
            <a:r>
              <a:rPr lang="en-US"/>
              <a:t>Section header here</a:t>
            </a:r>
          </a:p>
        </p:txBody>
      </p:sp>
      <p:sp>
        <p:nvSpPr>
          <p:cNvPr id="22" name="Text Placeholder 4">
            <a:extLst>
              <a:ext uri="{FF2B5EF4-FFF2-40B4-BE49-F238E27FC236}">
                <a16:creationId xmlns:a16="http://schemas.microsoft.com/office/drawing/2014/main" id="{64AC5FFC-6616-4F1B-B644-F0560ADC7ED3}"/>
              </a:ext>
            </a:extLst>
          </p:cNvPr>
          <p:cNvSpPr>
            <a:spLocks noGrp="1"/>
          </p:cNvSpPr>
          <p:nvPr>
            <p:ph type="body" sz="quarter" idx="21" hasCustomPrompt="1"/>
          </p:nvPr>
        </p:nvSpPr>
        <p:spPr>
          <a:xfrm>
            <a:off x="5298342" y="4977139"/>
            <a:ext cx="6245958" cy="307777"/>
          </a:xfrm>
          <a:prstGeom prst="rect">
            <a:avLst/>
          </a:prstGeom>
        </p:spPr>
        <p:txBody>
          <a:bodyPr wrap="square" anchor="t" anchorCtr="0">
            <a:spAutoFit/>
          </a:bodyPr>
          <a:lstStyle>
            <a:lvl1pPr>
              <a:defRPr sz="2000" b="0" i="0">
                <a:latin typeface="Calibri Light" panose="020F0302020204030204" pitchFamily="34" charset="0"/>
                <a:cs typeface="Calibri Light" panose="020F0302020204030204" pitchFamily="34" charset="0"/>
              </a:defRPr>
            </a:lvl1pPr>
          </a:lstStyle>
          <a:p>
            <a:pPr lvl="0"/>
            <a:r>
              <a:rPr lang="en-US"/>
              <a:t>Section header here</a:t>
            </a:r>
          </a:p>
        </p:txBody>
      </p:sp>
      <p:cxnSp>
        <p:nvCxnSpPr>
          <p:cNvPr id="6" name="Straight Connector 5">
            <a:extLst>
              <a:ext uri="{FF2B5EF4-FFF2-40B4-BE49-F238E27FC236}">
                <a16:creationId xmlns:a16="http://schemas.microsoft.com/office/drawing/2014/main" id="{68522FB4-D05A-7BBC-4925-8F44384D8BAF}"/>
              </a:ext>
            </a:extLst>
          </p:cNvPr>
          <p:cNvCxnSpPr>
            <a:cxnSpLocks/>
          </p:cNvCxnSpPr>
          <p:nvPr userDrawn="1"/>
        </p:nvCxnSpPr>
        <p:spPr>
          <a:xfrm>
            <a:off x="4828321" y="2043581"/>
            <a:ext cx="6715979"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943E4466-9172-11FF-B631-0772F610EC0A}"/>
              </a:ext>
            </a:extLst>
          </p:cNvPr>
          <p:cNvCxnSpPr>
            <a:cxnSpLocks/>
          </p:cNvCxnSpPr>
          <p:nvPr userDrawn="1"/>
        </p:nvCxnSpPr>
        <p:spPr>
          <a:xfrm>
            <a:off x="4828321" y="2736156"/>
            <a:ext cx="6715979"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239B406A-62F3-7DD2-AFDA-098BD84DC9B8}"/>
              </a:ext>
            </a:extLst>
          </p:cNvPr>
          <p:cNvCxnSpPr>
            <a:cxnSpLocks/>
          </p:cNvCxnSpPr>
          <p:nvPr userDrawn="1"/>
        </p:nvCxnSpPr>
        <p:spPr>
          <a:xfrm>
            <a:off x="4828321" y="3428731"/>
            <a:ext cx="6715979"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49F9CE8E-C61D-47C9-7C92-80C8B9BE9261}"/>
              </a:ext>
            </a:extLst>
          </p:cNvPr>
          <p:cNvCxnSpPr>
            <a:cxnSpLocks/>
          </p:cNvCxnSpPr>
          <p:nvPr userDrawn="1"/>
        </p:nvCxnSpPr>
        <p:spPr>
          <a:xfrm>
            <a:off x="4828321" y="4121306"/>
            <a:ext cx="6715979"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B202BA3F-B120-FB36-1C74-89FF4B905719}"/>
              </a:ext>
            </a:extLst>
          </p:cNvPr>
          <p:cNvCxnSpPr>
            <a:cxnSpLocks/>
          </p:cNvCxnSpPr>
          <p:nvPr userDrawn="1"/>
        </p:nvCxnSpPr>
        <p:spPr>
          <a:xfrm>
            <a:off x="4828321" y="4813881"/>
            <a:ext cx="6715979"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5E237AFC-258A-A0AE-B66B-CB1C869A2032}"/>
              </a:ext>
            </a:extLst>
          </p:cNvPr>
          <p:cNvCxnSpPr>
            <a:cxnSpLocks/>
          </p:cNvCxnSpPr>
          <p:nvPr userDrawn="1"/>
        </p:nvCxnSpPr>
        <p:spPr>
          <a:xfrm>
            <a:off x="4828321" y="5511461"/>
            <a:ext cx="6715979" cy="0"/>
          </a:xfrm>
          <a:prstGeom prst="line">
            <a:avLst/>
          </a:prstGeom>
          <a:ln w="6350">
            <a:solidFill>
              <a:schemeClr val="bg1">
                <a:alpha val="65123"/>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48401268"/>
      </p:ext>
    </p:extLst>
  </p:cSld>
  <p:clrMapOvr>
    <a:masterClrMapping/>
  </p:clrMapOvr>
  <p:extLst>
    <p:ext uri="{DCECCB84-F9BA-43D5-87BE-67443E8EF086}">
      <p15:sldGuideLst xmlns:p15="http://schemas.microsoft.com/office/powerpoint/2012/main"/>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Phase Activities - 2">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id="{57E4BD90-ED57-5E4C-9FED-6E10CC4D07AE}"/>
              </a:ext>
            </a:extLst>
          </p:cNvPr>
          <p:cNvSpPr/>
          <p:nvPr userDrawn="1"/>
        </p:nvSpPr>
        <p:spPr bwMode="auto">
          <a:xfrm>
            <a:off x="0" y="0"/>
            <a:ext cx="4502727" cy="6858000"/>
          </a:xfrm>
          <a:prstGeom prst="rect">
            <a:avLst/>
          </a:prstGeom>
          <a:solidFill>
            <a:schemeClr val="bg1">
              <a:lumMod val="95000"/>
            </a:schemeClr>
          </a:solidFill>
          <a:ln>
            <a:noFill/>
          </a:ln>
          <a:effectLst/>
        </p:spPr>
        <p:txBody>
          <a:bodyPr wrap="none" rtlCol="0" anchor="ctr"/>
          <a:lstStyle/>
          <a:p>
            <a:pPr algn="ctr"/>
            <a:endParaRPr lang="en-GB" sz="2400" err="1">
              <a:solidFill>
                <a:schemeClr val="bg1"/>
              </a:solidFill>
              <a:latin typeface="Calibri Light" panose="020F0302020204030204" pitchFamily="34" charset="0"/>
              <a:ea typeface="Human Sans ExtraLight" charset="0"/>
              <a:cs typeface="Human Sans ExtraLight" charset="0"/>
            </a:endParaRPr>
          </a:p>
        </p:txBody>
      </p:sp>
      <p:sp>
        <p:nvSpPr>
          <p:cNvPr id="10" name="Text Placeholder 9"/>
          <p:cNvSpPr>
            <a:spLocks noGrp="1"/>
          </p:cNvSpPr>
          <p:nvPr>
            <p:ph type="body" sz="quarter" idx="10"/>
          </p:nvPr>
        </p:nvSpPr>
        <p:spPr>
          <a:xfrm>
            <a:off x="621624" y="1140105"/>
            <a:ext cx="3450314" cy="2060293"/>
          </a:xfrm>
          <a:prstGeom prst="rect">
            <a:avLst/>
          </a:prstGeom>
        </p:spPr>
        <p:txBody>
          <a:bodyPr vert="horz" lIns="0" tIns="0" rIns="0" bIns="0" rtlCol="0" anchor="t">
            <a:noAutofit/>
          </a:bodyPr>
          <a:lstStyle>
            <a:lvl1pPr>
              <a:defRPr lang="en-GB" b="0" i="0" smtClean="0">
                <a:latin typeface="Calibri Light" panose="020F0302020204030204" pitchFamily="34" charset="0"/>
                <a:cs typeface="Calibri Light" panose="020F0302020204030204" pitchFamily="34" charset="0"/>
              </a:defRPr>
            </a:lvl1pPr>
          </a:lstStyle>
          <a:p>
            <a:pPr lvl="0">
              <a:tabLst>
                <a:tab pos="457200" algn="l"/>
                <a:tab pos="914400" algn="l"/>
                <a:tab pos="1371600" algn="l"/>
                <a:tab pos="1828800" algn="l"/>
                <a:tab pos="2286000" algn="l"/>
                <a:tab pos="2743200" algn="l"/>
                <a:tab pos="3200400" algn="l"/>
                <a:tab pos="3657600" algn="l"/>
              </a:tabLst>
            </a:pPr>
            <a:r>
              <a:rPr lang="en-GB"/>
              <a:t>Click to edit Master text styles</a:t>
            </a:r>
          </a:p>
        </p:txBody>
      </p:sp>
      <p:sp>
        <p:nvSpPr>
          <p:cNvPr id="11" name="Text Placeholder 9"/>
          <p:cNvSpPr>
            <a:spLocks noGrp="1"/>
          </p:cNvSpPr>
          <p:nvPr>
            <p:ph type="body" sz="quarter" idx="12"/>
          </p:nvPr>
        </p:nvSpPr>
        <p:spPr>
          <a:xfrm>
            <a:off x="4956320" y="1140106"/>
            <a:ext cx="6778480" cy="5032092"/>
          </a:xfrm>
          <a:prstGeom prst="rect">
            <a:avLst/>
          </a:prstGeom>
        </p:spPr>
        <p:txBody>
          <a:bodyPr vert="horz" lIns="0" tIns="0" rIns="0" bIns="0" rtlCol="0" anchor="t">
            <a:noAutofit/>
          </a:bodyPr>
          <a:lstStyle>
            <a:lvl1pPr>
              <a:defRPr lang="en-GB" b="0" i="0" smtClean="0">
                <a:latin typeface="Calibri Light" panose="020F0302020204030204" pitchFamily="34" charset="0"/>
                <a:cs typeface="Calibri Light" panose="020F0302020204030204" pitchFamily="34" charset="0"/>
              </a:defRPr>
            </a:lvl1pPr>
          </a:lstStyle>
          <a:p>
            <a:pPr lvl="0">
              <a:tabLst>
                <a:tab pos="457200" algn="l"/>
                <a:tab pos="914400" algn="l"/>
                <a:tab pos="1371600" algn="l"/>
                <a:tab pos="1828800" algn="l"/>
                <a:tab pos="2286000" algn="l"/>
                <a:tab pos="2743200" algn="l"/>
                <a:tab pos="3200400" algn="l"/>
                <a:tab pos="3657600" algn="l"/>
              </a:tabLst>
            </a:pPr>
            <a:r>
              <a:rPr lang="en-GB"/>
              <a:t>Click to edit Master text styles</a:t>
            </a:r>
          </a:p>
        </p:txBody>
      </p:sp>
      <p:sp>
        <p:nvSpPr>
          <p:cNvPr id="2" name="Title 1">
            <a:extLst>
              <a:ext uri="{FF2B5EF4-FFF2-40B4-BE49-F238E27FC236}">
                <a16:creationId xmlns:a16="http://schemas.microsoft.com/office/drawing/2014/main" id="{714ABE71-D5E1-6A11-80AF-92DDBDB16058}"/>
              </a:ext>
            </a:extLst>
          </p:cNvPr>
          <p:cNvSpPr>
            <a:spLocks noGrp="1"/>
          </p:cNvSpPr>
          <p:nvPr>
            <p:ph type="title" hasCustomPrompt="1"/>
          </p:nvPr>
        </p:nvSpPr>
        <p:spPr>
          <a:xfrm>
            <a:off x="633633" y="722843"/>
            <a:ext cx="2394576" cy="338554"/>
          </a:xfrm>
          <a:prstGeom prst="rect">
            <a:avLst/>
          </a:prstGeom>
        </p:spPr>
        <p:txBody>
          <a:bodyPr/>
          <a:lstStyle>
            <a:lvl1pPr>
              <a:defRPr lang="en-US" sz="2200" b="1" i="0" kern="1200" spc="0" dirty="0">
                <a:solidFill>
                  <a:schemeClr val="tx1"/>
                </a:solidFill>
                <a:effectLst/>
                <a:latin typeface="+mj-lt"/>
                <a:ea typeface="Calibri" panose="020F0502020204030204" pitchFamily="34" charset="0"/>
                <a:cs typeface="Calibri" panose="020F0502020204030204" pitchFamily="34" charset="0"/>
              </a:defRPr>
            </a:lvl1pPr>
          </a:lstStyle>
          <a:p>
            <a:pPr marL="0" lvl="0" indent="0" algn="l" defTabSz="914400" rtl="0" eaLnBrk="1" latinLnBrk="0" hangingPunct="1">
              <a:lnSpc>
                <a:spcPct val="100000"/>
              </a:lnSpc>
              <a:spcBef>
                <a:spcPts val="0"/>
              </a:spcBef>
              <a:spcAft>
                <a:spcPts val="0"/>
              </a:spcAft>
              <a:buFont typeface="Arial" panose="020B0604020202020204" pitchFamily="34" charset="0"/>
              <a:buNone/>
            </a:pPr>
            <a:r>
              <a:rPr lang="en-US">
                <a:effectLst/>
              </a:rPr>
              <a:t>Title Goes Here</a:t>
            </a:r>
            <a:endParaRPr lang="en-US"/>
          </a:p>
        </p:txBody>
      </p:sp>
      <p:sp>
        <p:nvSpPr>
          <p:cNvPr id="3" name="Text Placeholder 10">
            <a:extLst>
              <a:ext uri="{FF2B5EF4-FFF2-40B4-BE49-F238E27FC236}">
                <a16:creationId xmlns:a16="http://schemas.microsoft.com/office/drawing/2014/main" id="{E7C74694-E105-9221-96A4-297A6F4D4BD9}"/>
              </a:ext>
            </a:extLst>
          </p:cNvPr>
          <p:cNvSpPr>
            <a:spLocks noGrp="1"/>
          </p:cNvSpPr>
          <p:nvPr>
            <p:ph type="body" sz="quarter" idx="28" hasCustomPrompt="1"/>
          </p:nvPr>
        </p:nvSpPr>
        <p:spPr>
          <a:xfrm>
            <a:off x="633632" y="419100"/>
            <a:ext cx="2557243" cy="186542"/>
          </a:xfrm>
          <a:prstGeom prst="rect">
            <a:avLst/>
          </a:prstGeom>
        </p:spPr>
        <p:txBody>
          <a:bodyPr/>
          <a:lstStyle>
            <a:lvl1pPr>
              <a:spcBef>
                <a:spcPts val="0"/>
              </a:spcBef>
              <a:defRPr lang="en-US" sz="1000" b="0" i="0" kern="1200" cap="all" spc="300" baseline="0" dirty="0">
                <a:solidFill>
                  <a:schemeClr val="tx1"/>
                </a:solidFill>
                <a:latin typeface="Calibri" panose="020F0502020204030204" pitchFamily="34" charset="0"/>
                <a:ea typeface="Calibri" panose="020F0502020204030204" pitchFamily="34" charset="0"/>
                <a:cs typeface="Calibri" panose="020F0502020204030204" pitchFamily="34" charset="0"/>
              </a:defRPr>
            </a:lvl1pPr>
          </a:lstStyle>
          <a:p>
            <a:pPr marL="0" lvl="0" indent="0" algn="l" defTabSz="914400" rtl="0" eaLnBrk="1" latinLnBrk="0" hangingPunct="1">
              <a:lnSpc>
                <a:spcPct val="100000"/>
              </a:lnSpc>
              <a:spcBef>
                <a:spcPts val="600"/>
              </a:spcBef>
              <a:spcAft>
                <a:spcPts val="0"/>
              </a:spcAft>
              <a:buFont typeface="Arial" panose="020B0604020202020204" pitchFamily="34" charset="0"/>
              <a:buNone/>
            </a:pPr>
            <a:r>
              <a:rPr lang="en-US"/>
              <a:t>Click to add section title</a:t>
            </a:r>
          </a:p>
        </p:txBody>
      </p:sp>
      <p:grpSp>
        <p:nvGrpSpPr>
          <p:cNvPr id="5" name="Group 4">
            <a:extLst>
              <a:ext uri="{FF2B5EF4-FFF2-40B4-BE49-F238E27FC236}">
                <a16:creationId xmlns:a16="http://schemas.microsoft.com/office/drawing/2014/main" id="{FFAB293D-BD22-41DB-4BA3-1B951AD39AD7}"/>
              </a:ext>
            </a:extLst>
          </p:cNvPr>
          <p:cNvGrpSpPr/>
          <p:nvPr userDrawn="1"/>
        </p:nvGrpSpPr>
        <p:grpSpPr>
          <a:xfrm>
            <a:off x="611054" y="6471298"/>
            <a:ext cx="372834" cy="131175"/>
            <a:chOff x="14288" y="2035175"/>
            <a:chExt cx="10039350" cy="3532188"/>
          </a:xfrm>
          <a:solidFill>
            <a:schemeClr val="tx1"/>
          </a:solidFill>
        </p:grpSpPr>
        <p:sp>
          <p:nvSpPr>
            <p:cNvPr id="6" name="Freeform 1">
              <a:extLst>
                <a:ext uri="{FF2B5EF4-FFF2-40B4-BE49-F238E27FC236}">
                  <a16:creationId xmlns:a16="http://schemas.microsoft.com/office/drawing/2014/main" id="{890FD7A3-A8C4-697A-7A99-1385706202EA}"/>
                </a:ext>
              </a:extLst>
            </p:cNvPr>
            <p:cNvSpPr>
              <a:spLocks noChangeArrowheads="1"/>
            </p:cNvSpPr>
            <p:nvPr/>
          </p:nvSpPr>
          <p:spPr bwMode="auto">
            <a:xfrm>
              <a:off x="1519238" y="2035175"/>
              <a:ext cx="1336675" cy="2836863"/>
            </a:xfrm>
            <a:custGeom>
              <a:avLst/>
              <a:gdLst>
                <a:gd name="T0" fmla="*/ 390493 w 3714"/>
                <a:gd name="T1" fmla="*/ 1200682 h 7882"/>
                <a:gd name="T2" fmla="*/ 945462 w 3714"/>
                <a:gd name="T3" fmla="*/ 1200682 h 7882"/>
                <a:gd name="T4" fmla="*/ 945462 w 3714"/>
                <a:gd name="T5" fmla="*/ 611498 h 7882"/>
                <a:gd name="T6" fmla="*/ 698929 w 3714"/>
                <a:gd name="T7" fmla="*/ 364596 h 7882"/>
                <a:gd name="T8" fmla="*/ 637386 w 3714"/>
                <a:gd name="T9" fmla="*/ 364596 h 7882"/>
                <a:gd name="T10" fmla="*/ 390493 w 3714"/>
                <a:gd name="T11" fmla="*/ 611498 h 7882"/>
                <a:gd name="T12" fmla="*/ 390493 w 3714"/>
                <a:gd name="T13" fmla="*/ 1200682 h 7882"/>
                <a:gd name="T14" fmla="*/ 389414 w 3714"/>
                <a:gd name="T15" fmla="*/ 1576795 h 7882"/>
                <a:gd name="T16" fmla="*/ 390493 w 3714"/>
                <a:gd name="T17" fmla="*/ 2224645 h 7882"/>
                <a:gd name="T18" fmla="*/ 637386 w 3714"/>
                <a:gd name="T19" fmla="*/ 2471548 h 7882"/>
                <a:gd name="T20" fmla="*/ 709366 w 3714"/>
                <a:gd name="T21" fmla="*/ 2471548 h 7882"/>
                <a:gd name="T22" fmla="*/ 955899 w 3714"/>
                <a:gd name="T23" fmla="*/ 2224645 h 7882"/>
                <a:gd name="T24" fmla="*/ 955899 w 3714"/>
                <a:gd name="T25" fmla="*/ 1906119 h 7882"/>
                <a:gd name="T26" fmla="*/ 1336315 w 3714"/>
                <a:gd name="T27" fmla="*/ 1906119 h 7882"/>
                <a:gd name="T28" fmla="*/ 1336315 w 3714"/>
                <a:gd name="T29" fmla="*/ 2209528 h 7882"/>
                <a:gd name="T30" fmla="*/ 709366 w 3714"/>
                <a:gd name="T31" fmla="*/ 2836503 h 7882"/>
                <a:gd name="T32" fmla="*/ 626949 w 3714"/>
                <a:gd name="T33" fmla="*/ 2836503 h 7882"/>
                <a:gd name="T34" fmla="*/ 0 w 3714"/>
                <a:gd name="T35" fmla="*/ 2258117 h 7882"/>
                <a:gd name="T36" fmla="*/ 0 w 3714"/>
                <a:gd name="T37" fmla="*/ 675564 h 7882"/>
                <a:gd name="T38" fmla="*/ 626949 w 3714"/>
                <a:gd name="T39" fmla="*/ 0 h 7882"/>
                <a:gd name="T40" fmla="*/ 709366 w 3714"/>
                <a:gd name="T41" fmla="*/ 0 h 7882"/>
                <a:gd name="T42" fmla="*/ 1336315 w 3714"/>
                <a:gd name="T43" fmla="*/ 626975 h 7882"/>
                <a:gd name="T44" fmla="*/ 1334875 w 3714"/>
                <a:gd name="T45" fmla="*/ 1576795 h 7882"/>
                <a:gd name="T46" fmla="*/ 389414 w 3714"/>
                <a:gd name="T47" fmla="*/ 1576795 h 7882"/>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3714" h="7882">
                  <a:moveTo>
                    <a:pt x="1085" y="3336"/>
                  </a:moveTo>
                  <a:lnTo>
                    <a:pt x="2627" y="3336"/>
                  </a:lnTo>
                  <a:lnTo>
                    <a:pt x="2627" y="1699"/>
                  </a:lnTo>
                  <a:cubicBezTo>
                    <a:pt x="2627" y="1242"/>
                    <a:pt x="2399" y="1013"/>
                    <a:pt x="1942" y="1013"/>
                  </a:cubicBezTo>
                  <a:lnTo>
                    <a:pt x="1771" y="1013"/>
                  </a:lnTo>
                  <a:cubicBezTo>
                    <a:pt x="1314" y="1013"/>
                    <a:pt x="1085" y="1242"/>
                    <a:pt x="1085" y="1699"/>
                  </a:cubicBezTo>
                  <a:lnTo>
                    <a:pt x="1085" y="3336"/>
                  </a:lnTo>
                  <a:close/>
                  <a:moveTo>
                    <a:pt x="1082" y="4381"/>
                  </a:moveTo>
                  <a:lnTo>
                    <a:pt x="1085" y="6181"/>
                  </a:lnTo>
                  <a:cubicBezTo>
                    <a:pt x="1085" y="6638"/>
                    <a:pt x="1314" y="6867"/>
                    <a:pt x="1771" y="6867"/>
                  </a:cubicBezTo>
                  <a:lnTo>
                    <a:pt x="1971" y="6867"/>
                  </a:lnTo>
                  <a:cubicBezTo>
                    <a:pt x="2428" y="6867"/>
                    <a:pt x="2656" y="6638"/>
                    <a:pt x="2656" y="6181"/>
                  </a:cubicBezTo>
                  <a:lnTo>
                    <a:pt x="2656" y="5296"/>
                  </a:lnTo>
                  <a:lnTo>
                    <a:pt x="3713" y="5296"/>
                  </a:lnTo>
                  <a:lnTo>
                    <a:pt x="3713" y="6139"/>
                  </a:lnTo>
                  <a:cubicBezTo>
                    <a:pt x="3713" y="7295"/>
                    <a:pt x="3127" y="7881"/>
                    <a:pt x="1971" y="7881"/>
                  </a:cubicBezTo>
                  <a:lnTo>
                    <a:pt x="1742" y="7881"/>
                  </a:lnTo>
                  <a:cubicBezTo>
                    <a:pt x="585" y="7881"/>
                    <a:pt x="0" y="7295"/>
                    <a:pt x="0" y="6274"/>
                  </a:cubicBezTo>
                  <a:lnTo>
                    <a:pt x="0" y="1877"/>
                  </a:lnTo>
                  <a:cubicBezTo>
                    <a:pt x="0" y="585"/>
                    <a:pt x="585" y="0"/>
                    <a:pt x="1742" y="0"/>
                  </a:cubicBezTo>
                  <a:lnTo>
                    <a:pt x="1971" y="0"/>
                  </a:lnTo>
                  <a:cubicBezTo>
                    <a:pt x="3127" y="0"/>
                    <a:pt x="3713" y="585"/>
                    <a:pt x="3713" y="1742"/>
                  </a:cubicBezTo>
                  <a:lnTo>
                    <a:pt x="3709" y="4381"/>
                  </a:lnTo>
                  <a:lnTo>
                    <a:pt x="1082" y="4381"/>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endParaRPr lang="en-US"/>
            </a:p>
          </p:txBody>
        </p:sp>
        <p:sp>
          <p:nvSpPr>
            <p:cNvPr id="7" name="Freeform 2">
              <a:extLst>
                <a:ext uri="{FF2B5EF4-FFF2-40B4-BE49-F238E27FC236}">
                  <a16:creationId xmlns:a16="http://schemas.microsoft.com/office/drawing/2014/main" id="{6291B8D9-54C7-3E95-7C41-C65CE961D4F0}"/>
                </a:ext>
              </a:extLst>
            </p:cNvPr>
            <p:cNvSpPr>
              <a:spLocks noChangeArrowheads="1"/>
            </p:cNvSpPr>
            <p:nvPr/>
          </p:nvSpPr>
          <p:spPr bwMode="auto">
            <a:xfrm>
              <a:off x="3109913" y="2035175"/>
              <a:ext cx="1368425" cy="3532188"/>
            </a:xfrm>
            <a:custGeom>
              <a:avLst/>
              <a:gdLst>
                <a:gd name="T0" fmla="*/ 390721 w 3800"/>
                <a:gd name="T1" fmla="*/ 2322993 h 9812"/>
                <a:gd name="T2" fmla="*/ 750833 w 3800"/>
                <a:gd name="T3" fmla="*/ 2466628 h 9812"/>
                <a:gd name="T4" fmla="*/ 976983 w 3800"/>
                <a:gd name="T5" fmla="*/ 2240556 h 9812"/>
                <a:gd name="T6" fmla="*/ 976983 w 3800"/>
                <a:gd name="T7" fmla="*/ 596138 h 9812"/>
                <a:gd name="T8" fmla="*/ 750833 w 3800"/>
                <a:gd name="T9" fmla="*/ 370066 h 9812"/>
                <a:gd name="T10" fmla="*/ 390721 w 3800"/>
                <a:gd name="T11" fmla="*/ 514061 h 9812"/>
                <a:gd name="T12" fmla="*/ 390721 w 3800"/>
                <a:gd name="T13" fmla="*/ 2322993 h 9812"/>
                <a:gd name="T14" fmla="*/ 0 w 3800"/>
                <a:gd name="T15" fmla="*/ 30599 h 9812"/>
                <a:gd name="T16" fmla="*/ 390721 w 3800"/>
                <a:gd name="T17" fmla="*/ 30599 h 9812"/>
                <a:gd name="T18" fmla="*/ 390721 w 3800"/>
                <a:gd name="T19" fmla="*/ 210592 h 9812"/>
                <a:gd name="T20" fmla="*/ 868950 w 3800"/>
                <a:gd name="T21" fmla="*/ 0 h 9812"/>
                <a:gd name="T22" fmla="*/ 1368065 w 3800"/>
                <a:gd name="T23" fmla="*/ 549699 h 9812"/>
                <a:gd name="T24" fmla="*/ 1368065 w 3800"/>
                <a:gd name="T25" fmla="*/ 2286995 h 9812"/>
                <a:gd name="T26" fmla="*/ 868950 w 3800"/>
                <a:gd name="T27" fmla="*/ 2837054 h 9812"/>
                <a:gd name="T28" fmla="*/ 390721 w 3800"/>
                <a:gd name="T29" fmla="*/ 2636541 h 9812"/>
                <a:gd name="T30" fmla="*/ 390721 w 3800"/>
                <a:gd name="T31" fmla="*/ 3531828 h 9812"/>
                <a:gd name="T32" fmla="*/ 0 w 3800"/>
                <a:gd name="T33" fmla="*/ 3531828 h 9812"/>
                <a:gd name="T34" fmla="*/ 0 w 3800"/>
                <a:gd name="T35" fmla="*/ 30599 h 9812"/>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3800" h="9812">
                  <a:moveTo>
                    <a:pt x="1085" y="6453"/>
                  </a:moveTo>
                  <a:cubicBezTo>
                    <a:pt x="1385" y="6710"/>
                    <a:pt x="1728" y="6852"/>
                    <a:pt x="2085" y="6852"/>
                  </a:cubicBezTo>
                  <a:cubicBezTo>
                    <a:pt x="2485" y="6852"/>
                    <a:pt x="2713" y="6667"/>
                    <a:pt x="2713" y="6224"/>
                  </a:cubicBezTo>
                  <a:lnTo>
                    <a:pt x="2713" y="1656"/>
                  </a:lnTo>
                  <a:cubicBezTo>
                    <a:pt x="2713" y="1213"/>
                    <a:pt x="2485" y="1028"/>
                    <a:pt x="2085" y="1028"/>
                  </a:cubicBezTo>
                  <a:cubicBezTo>
                    <a:pt x="1728" y="1028"/>
                    <a:pt x="1385" y="1170"/>
                    <a:pt x="1085" y="1428"/>
                  </a:cubicBezTo>
                  <a:lnTo>
                    <a:pt x="1085" y="6453"/>
                  </a:lnTo>
                  <a:close/>
                  <a:moveTo>
                    <a:pt x="0" y="85"/>
                  </a:moveTo>
                  <a:lnTo>
                    <a:pt x="1085" y="85"/>
                  </a:lnTo>
                  <a:lnTo>
                    <a:pt x="1085" y="585"/>
                  </a:lnTo>
                  <a:cubicBezTo>
                    <a:pt x="1342" y="314"/>
                    <a:pt x="1785" y="0"/>
                    <a:pt x="2413" y="0"/>
                  </a:cubicBezTo>
                  <a:cubicBezTo>
                    <a:pt x="3342" y="0"/>
                    <a:pt x="3799" y="614"/>
                    <a:pt x="3799" y="1527"/>
                  </a:cubicBezTo>
                  <a:lnTo>
                    <a:pt x="3799" y="6353"/>
                  </a:lnTo>
                  <a:cubicBezTo>
                    <a:pt x="3799" y="7267"/>
                    <a:pt x="3342" y="7881"/>
                    <a:pt x="2413" y="7881"/>
                  </a:cubicBezTo>
                  <a:cubicBezTo>
                    <a:pt x="1785" y="7881"/>
                    <a:pt x="1342" y="7581"/>
                    <a:pt x="1085" y="7324"/>
                  </a:cubicBezTo>
                  <a:lnTo>
                    <a:pt x="1085" y="9811"/>
                  </a:lnTo>
                  <a:lnTo>
                    <a:pt x="0" y="9811"/>
                  </a:lnTo>
                  <a:lnTo>
                    <a:pt x="0" y="85"/>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endParaRPr lang="en-US"/>
            </a:p>
          </p:txBody>
        </p:sp>
        <p:sp>
          <p:nvSpPr>
            <p:cNvPr id="8" name="Freeform 3">
              <a:extLst>
                <a:ext uri="{FF2B5EF4-FFF2-40B4-BE49-F238E27FC236}">
                  <a16:creationId xmlns:a16="http://schemas.microsoft.com/office/drawing/2014/main" id="{95E50227-2305-1F31-2DF6-0D97702147F9}"/>
                </a:ext>
              </a:extLst>
            </p:cNvPr>
            <p:cNvSpPr>
              <a:spLocks noChangeArrowheads="1"/>
            </p:cNvSpPr>
            <p:nvPr/>
          </p:nvSpPr>
          <p:spPr bwMode="auto">
            <a:xfrm>
              <a:off x="4711700" y="2035175"/>
              <a:ext cx="1328738" cy="2836863"/>
            </a:xfrm>
            <a:custGeom>
              <a:avLst/>
              <a:gdLst>
                <a:gd name="T0" fmla="*/ 937679 w 3690"/>
                <a:gd name="T1" fmla="*/ 2338019 h 7882"/>
                <a:gd name="T2" fmla="*/ 937679 w 3690"/>
                <a:gd name="T3" fmla="*/ 1422750 h 7882"/>
                <a:gd name="T4" fmla="*/ 582988 w 3690"/>
                <a:gd name="T5" fmla="*/ 1556999 h 7882"/>
                <a:gd name="T6" fmla="*/ 392500 w 3690"/>
                <a:gd name="T7" fmla="*/ 1844573 h 7882"/>
                <a:gd name="T8" fmla="*/ 392500 w 3690"/>
                <a:gd name="T9" fmla="*/ 2266035 h 7882"/>
                <a:gd name="T10" fmla="*/ 582988 w 3690"/>
                <a:gd name="T11" fmla="*/ 2466149 h 7882"/>
                <a:gd name="T12" fmla="*/ 937679 w 3690"/>
                <a:gd name="T13" fmla="*/ 2338019 h 7882"/>
                <a:gd name="T14" fmla="*/ 2161 w 3690"/>
                <a:gd name="T15" fmla="*/ 1839174 h 7882"/>
                <a:gd name="T16" fmla="*/ 413025 w 3690"/>
                <a:gd name="T17" fmla="*/ 1253950 h 7882"/>
                <a:gd name="T18" fmla="*/ 937679 w 3690"/>
                <a:gd name="T19" fmla="*/ 1073991 h 7882"/>
                <a:gd name="T20" fmla="*/ 937679 w 3690"/>
                <a:gd name="T21" fmla="*/ 611498 h 7882"/>
                <a:gd name="T22" fmla="*/ 690656 w 3690"/>
                <a:gd name="T23" fmla="*/ 359557 h 7882"/>
                <a:gd name="T24" fmla="*/ 627280 w 3690"/>
                <a:gd name="T25" fmla="*/ 359557 h 7882"/>
                <a:gd name="T26" fmla="*/ 380257 w 3690"/>
                <a:gd name="T27" fmla="*/ 611498 h 7882"/>
                <a:gd name="T28" fmla="*/ 380257 w 3690"/>
                <a:gd name="T29" fmla="*/ 1004527 h 7882"/>
                <a:gd name="T30" fmla="*/ 0 w 3690"/>
                <a:gd name="T31" fmla="*/ 1004527 h 7882"/>
                <a:gd name="T32" fmla="*/ 0 w 3690"/>
                <a:gd name="T33" fmla="*/ 626975 h 7882"/>
                <a:gd name="T34" fmla="*/ 627280 w 3690"/>
                <a:gd name="T35" fmla="*/ 0 h 7882"/>
                <a:gd name="T36" fmla="*/ 701098 w 3690"/>
                <a:gd name="T37" fmla="*/ 0 h 7882"/>
                <a:gd name="T38" fmla="*/ 1328378 w 3690"/>
                <a:gd name="T39" fmla="*/ 626975 h 7882"/>
                <a:gd name="T40" fmla="*/ 1328378 w 3690"/>
                <a:gd name="T41" fmla="*/ 2805550 h 7882"/>
                <a:gd name="T42" fmla="*/ 937679 w 3690"/>
                <a:gd name="T43" fmla="*/ 2805550 h 7882"/>
                <a:gd name="T44" fmla="*/ 937679 w 3690"/>
                <a:gd name="T45" fmla="*/ 2630631 h 7882"/>
                <a:gd name="T46" fmla="*/ 459477 w 3690"/>
                <a:gd name="T47" fmla="*/ 2836503 h 7882"/>
                <a:gd name="T48" fmla="*/ 2161 w 3690"/>
                <a:gd name="T49" fmla="*/ 2348096 h 7882"/>
                <a:gd name="T50" fmla="*/ 2161 w 3690"/>
                <a:gd name="T51" fmla="*/ 1839174 h 7882"/>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3690" h="7882">
                  <a:moveTo>
                    <a:pt x="2604" y="6496"/>
                  </a:moveTo>
                  <a:lnTo>
                    <a:pt x="2604" y="3953"/>
                  </a:lnTo>
                  <a:lnTo>
                    <a:pt x="1619" y="4326"/>
                  </a:lnTo>
                  <a:cubicBezTo>
                    <a:pt x="1219" y="4483"/>
                    <a:pt x="1090" y="4683"/>
                    <a:pt x="1090" y="5125"/>
                  </a:cubicBezTo>
                  <a:lnTo>
                    <a:pt x="1090" y="6296"/>
                  </a:lnTo>
                  <a:cubicBezTo>
                    <a:pt x="1090" y="6667"/>
                    <a:pt x="1276" y="6852"/>
                    <a:pt x="1619" y="6852"/>
                  </a:cubicBezTo>
                  <a:cubicBezTo>
                    <a:pt x="1947" y="6852"/>
                    <a:pt x="2247" y="6738"/>
                    <a:pt x="2604" y="6496"/>
                  </a:cubicBezTo>
                  <a:close/>
                  <a:moveTo>
                    <a:pt x="6" y="5110"/>
                  </a:moveTo>
                  <a:cubicBezTo>
                    <a:pt x="6" y="4155"/>
                    <a:pt x="320" y="3769"/>
                    <a:pt x="1147" y="3484"/>
                  </a:cubicBezTo>
                  <a:lnTo>
                    <a:pt x="2604" y="2984"/>
                  </a:lnTo>
                  <a:lnTo>
                    <a:pt x="2604" y="1699"/>
                  </a:lnTo>
                  <a:cubicBezTo>
                    <a:pt x="2604" y="1242"/>
                    <a:pt x="2375" y="999"/>
                    <a:pt x="1918" y="999"/>
                  </a:cubicBezTo>
                  <a:lnTo>
                    <a:pt x="1742" y="999"/>
                  </a:lnTo>
                  <a:cubicBezTo>
                    <a:pt x="1285" y="999"/>
                    <a:pt x="1056" y="1242"/>
                    <a:pt x="1056" y="1699"/>
                  </a:cubicBezTo>
                  <a:lnTo>
                    <a:pt x="1056" y="2791"/>
                  </a:lnTo>
                  <a:lnTo>
                    <a:pt x="0" y="2791"/>
                  </a:lnTo>
                  <a:lnTo>
                    <a:pt x="0" y="1742"/>
                  </a:lnTo>
                  <a:cubicBezTo>
                    <a:pt x="0" y="585"/>
                    <a:pt x="586" y="0"/>
                    <a:pt x="1742" y="0"/>
                  </a:cubicBezTo>
                  <a:lnTo>
                    <a:pt x="1947" y="0"/>
                  </a:lnTo>
                  <a:cubicBezTo>
                    <a:pt x="3104" y="0"/>
                    <a:pt x="3689" y="585"/>
                    <a:pt x="3689" y="1742"/>
                  </a:cubicBezTo>
                  <a:lnTo>
                    <a:pt x="3689" y="7795"/>
                  </a:lnTo>
                  <a:lnTo>
                    <a:pt x="2604" y="7795"/>
                  </a:lnTo>
                  <a:lnTo>
                    <a:pt x="2604" y="7309"/>
                  </a:lnTo>
                  <a:cubicBezTo>
                    <a:pt x="2304" y="7595"/>
                    <a:pt x="1904" y="7881"/>
                    <a:pt x="1276" y="7881"/>
                  </a:cubicBezTo>
                  <a:cubicBezTo>
                    <a:pt x="406" y="7881"/>
                    <a:pt x="6" y="7381"/>
                    <a:pt x="6" y="6524"/>
                  </a:cubicBezTo>
                  <a:lnTo>
                    <a:pt x="6" y="5110"/>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endParaRPr lang="en-US"/>
            </a:p>
          </p:txBody>
        </p:sp>
        <p:sp>
          <p:nvSpPr>
            <p:cNvPr id="9" name="Freeform 4">
              <a:extLst>
                <a:ext uri="{FF2B5EF4-FFF2-40B4-BE49-F238E27FC236}">
                  <a16:creationId xmlns:a16="http://schemas.microsoft.com/office/drawing/2014/main" id="{FF760A68-FDAD-5B4E-CEAC-2343122B0838}"/>
                </a:ext>
              </a:extLst>
            </p:cNvPr>
            <p:cNvSpPr>
              <a:spLocks noChangeArrowheads="1"/>
            </p:cNvSpPr>
            <p:nvPr/>
          </p:nvSpPr>
          <p:spPr bwMode="auto">
            <a:xfrm>
              <a:off x="6292850" y="2035175"/>
              <a:ext cx="2262188" cy="2806700"/>
            </a:xfrm>
            <a:custGeom>
              <a:avLst/>
              <a:gdLst>
                <a:gd name="T0" fmla="*/ 1326358 w 6285"/>
                <a:gd name="T1" fmla="*/ 2806340 h 7796"/>
                <a:gd name="T2" fmla="*/ 935470 w 6285"/>
                <a:gd name="T3" fmla="*/ 2806340 h 7796"/>
                <a:gd name="T4" fmla="*/ 935470 w 6285"/>
                <a:gd name="T5" fmla="*/ 570628 h 7796"/>
                <a:gd name="T6" fmla="*/ 750463 w 6285"/>
                <a:gd name="T7" fmla="*/ 370098 h 7796"/>
                <a:gd name="T8" fmla="*/ 390889 w 6285"/>
                <a:gd name="T9" fmla="*/ 508705 h 7796"/>
                <a:gd name="T10" fmla="*/ 390889 w 6285"/>
                <a:gd name="T11" fmla="*/ 2806340 h 7796"/>
                <a:gd name="T12" fmla="*/ 0 w 6285"/>
                <a:gd name="T13" fmla="*/ 2806340 h 7796"/>
                <a:gd name="T14" fmla="*/ 0 w 6285"/>
                <a:gd name="T15" fmla="*/ 30602 h 7796"/>
                <a:gd name="T16" fmla="*/ 390889 w 6285"/>
                <a:gd name="T17" fmla="*/ 30602 h 7796"/>
                <a:gd name="T18" fmla="*/ 390889 w 6285"/>
                <a:gd name="T19" fmla="*/ 210611 h 7796"/>
                <a:gd name="T20" fmla="*/ 868882 w 6285"/>
                <a:gd name="T21" fmla="*/ 0 h 7796"/>
                <a:gd name="T22" fmla="*/ 1274888 w 6285"/>
                <a:gd name="T23" fmla="*/ 226091 h 7796"/>
                <a:gd name="T24" fmla="*/ 1804351 w 6285"/>
                <a:gd name="T25" fmla="*/ 0 h 7796"/>
                <a:gd name="T26" fmla="*/ 2261828 w 6285"/>
                <a:gd name="T27" fmla="*/ 488184 h 7796"/>
                <a:gd name="T28" fmla="*/ 2261828 w 6285"/>
                <a:gd name="T29" fmla="*/ 2806340 h 7796"/>
                <a:gd name="T30" fmla="*/ 1870939 w 6285"/>
                <a:gd name="T31" fmla="*/ 2806340 h 7796"/>
                <a:gd name="T32" fmla="*/ 1870939 w 6285"/>
                <a:gd name="T33" fmla="*/ 570628 h 7796"/>
                <a:gd name="T34" fmla="*/ 1685933 w 6285"/>
                <a:gd name="T35" fmla="*/ 370098 h 7796"/>
                <a:gd name="T36" fmla="*/ 1326358 w 6285"/>
                <a:gd name="T37" fmla="*/ 508705 h 7796"/>
                <a:gd name="T38" fmla="*/ 1326358 w 6285"/>
                <a:gd name="T39" fmla="*/ 2806340 h 779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6285" h="7796">
                  <a:moveTo>
                    <a:pt x="3685" y="7795"/>
                  </a:moveTo>
                  <a:lnTo>
                    <a:pt x="2599" y="7795"/>
                  </a:lnTo>
                  <a:lnTo>
                    <a:pt x="2599" y="1585"/>
                  </a:lnTo>
                  <a:cubicBezTo>
                    <a:pt x="2599" y="1199"/>
                    <a:pt x="2414" y="1028"/>
                    <a:pt x="2085" y="1028"/>
                  </a:cubicBezTo>
                  <a:cubicBezTo>
                    <a:pt x="1785" y="1028"/>
                    <a:pt x="1471" y="1142"/>
                    <a:pt x="1086" y="1413"/>
                  </a:cubicBezTo>
                  <a:lnTo>
                    <a:pt x="1086" y="7795"/>
                  </a:lnTo>
                  <a:lnTo>
                    <a:pt x="0" y="7795"/>
                  </a:lnTo>
                  <a:lnTo>
                    <a:pt x="0" y="85"/>
                  </a:lnTo>
                  <a:lnTo>
                    <a:pt x="1086" y="85"/>
                  </a:lnTo>
                  <a:lnTo>
                    <a:pt x="1086" y="585"/>
                  </a:lnTo>
                  <a:cubicBezTo>
                    <a:pt x="1400" y="285"/>
                    <a:pt x="1814" y="0"/>
                    <a:pt x="2414" y="0"/>
                  </a:cubicBezTo>
                  <a:cubicBezTo>
                    <a:pt x="2971" y="0"/>
                    <a:pt x="3342" y="228"/>
                    <a:pt x="3542" y="628"/>
                  </a:cubicBezTo>
                  <a:cubicBezTo>
                    <a:pt x="3928" y="299"/>
                    <a:pt x="4385" y="0"/>
                    <a:pt x="5013" y="0"/>
                  </a:cubicBezTo>
                  <a:cubicBezTo>
                    <a:pt x="5855" y="0"/>
                    <a:pt x="6284" y="514"/>
                    <a:pt x="6284" y="1356"/>
                  </a:cubicBezTo>
                  <a:lnTo>
                    <a:pt x="6284" y="7795"/>
                  </a:lnTo>
                  <a:lnTo>
                    <a:pt x="5198" y="7795"/>
                  </a:lnTo>
                  <a:lnTo>
                    <a:pt x="5198" y="1585"/>
                  </a:lnTo>
                  <a:cubicBezTo>
                    <a:pt x="5198" y="1199"/>
                    <a:pt x="5013" y="1028"/>
                    <a:pt x="4684" y="1028"/>
                  </a:cubicBezTo>
                  <a:cubicBezTo>
                    <a:pt x="4385" y="1028"/>
                    <a:pt x="4070" y="1142"/>
                    <a:pt x="3685" y="1413"/>
                  </a:cubicBezTo>
                  <a:lnTo>
                    <a:pt x="3685" y="7795"/>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endParaRPr lang="en-US"/>
            </a:p>
          </p:txBody>
        </p:sp>
        <p:sp>
          <p:nvSpPr>
            <p:cNvPr id="14" name="Freeform 5">
              <a:extLst>
                <a:ext uri="{FF2B5EF4-FFF2-40B4-BE49-F238E27FC236}">
                  <a16:creationId xmlns:a16="http://schemas.microsoft.com/office/drawing/2014/main" id="{E1A02624-CE4E-83B1-86AD-E75850DA6F15}"/>
                </a:ext>
              </a:extLst>
            </p:cNvPr>
            <p:cNvSpPr>
              <a:spLocks noChangeArrowheads="1"/>
            </p:cNvSpPr>
            <p:nvPr/>
          </p:nvSpPr>
          <p:spPr bwMode="auto">
            <a:xfrm>
              <a:off x="14288" y="2322513"/>
              <a:ext cx="1004887" cy="2274887"/>
            </a:xfrm>
            <a:custGeom>
              <a:avLst/>
              <a:gdLst>
                <a:gd name="T0" fmla="*/ 1004527 w 2790"/>
                <a:gd name="T1" fmla="*/ 0 h 6317"/>
                <a:gd name="T2" fmla="*/ 1004527 w 2790"/>
                <a:gd name="T3" fmla="*/ 510652 h 6317"/>
                <a:gd name="T4" fmla="*/ 346488 w 2790"/>
                <a:gd name="T5" fmla="*/ 1137624 h 6317"/>
                <a:gd name="T6" fmla="*/ 1004527 w 2790"/>
                <a:gd name="T7" fmla="*/ 1752711 h 6317"/>
                <a:gd name="T8" fmla="*/ 1004527 w 2790"/>
                <a:gd name="T9" fmla="*/ 2274527 h 6317"/>
                <a:gd name="T10" fmla="*/ 0 w 2790"/>
                <a:gd name="T11" fmla="*/ 1331009 h 6317"/>
                <a:gd name="T12" fmla="*/ 0 w 2790"/>
                <a:gd name="T13" fmla="*/ 955042 h 6317"/>
                <a:gd name="T14" fmla="*/ 1004527 w 2790"/>
                <a:gd name="T15" fmla="*/ 0 h 6317"/>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2790" h="6317">
                  <a:moveTo>
                    <a:pt x="2789" y="0"/>
                  </a:moveTo>
                  <a:lnTo>
                    <a:pt x="2789" y="1418"/>
                  </a:lnTo>
                  <a:lnTo>
                    <a:pt x="962" y="3159"/>
                  </a:lnTo>
                  <a:lnTo>
                    <a:pt x="2789" y="4867"/>
                  </a:lnTo>
                  <a:lnTo>
                    <a:pt x="2789" y="6316"/>
                  </a:lnTo>
                  <a:lnTo>
                    <a:pt x="0" y="3696"/>
                  </a:lnTo>
                  <a:lnTo>
                    <a:pt x="0" y="2652"/>
                  </a:lnTo>
                  <a:lnTo>
                    <a:pt x="2789"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endParaRPr lang="en-US"/>
            </a:p>
          </p:txBody>
        </p:sp>
        <p:sp>
          <p:nvSpPr>
            <p:cNvPr id="24" name="Freeform 6">
              <a:extLst>
                <a:ext uri="{FF2B5EF4-FFF2-40B4-BE49-F238E27FC236}">
                  <a16:creationId xmlns:a16="http://schemas.microsoft.com/office/drawing/2014/main" id="{91B9DBD1-BB3F-E427-57EF-B5234A7B9481}"/>
                </a:ext>
              </a:extLst>
            </p:cNvPr>
            <p:cNvSpPr>
              <a:spLocks noChangeArrowheads="1"/>
            </p:cNvSpPr>
            <p:nvPr/>
          </p:nvSpPr>
          <p:spPr bwMode="auto">
            <a:xfrm>
              <a:off x="9050338" y="2322513"/>
              <a:ext cx="1003300" cy="2274887"/>
            </a:xfrm>
            <a:custGeom>
              <a:avLst/>
              <a:gdLst>
                <a:gd name="T0" fmla="*/ 1002940 w 2789"/>
                <a:gd name="T1" fmla="*/ 955042 h 6317"/>
                <a:gd name="T2" fmla="*/ 1002940 w 2789"/>
                <a:gd name="T3" fmla="*/ 1331009 h 6317"/>
                <a:gd name="T4" fmla="*/ 0 w 2789"/>
                <a:gd name="T5" fmla="*/ 2274527 h 6317"/>
                <a:gd name="T6" fmla="*/ 0 w 2789"/>
                <a:gd name="T7" fmla="*/ 1752711 h 6317"/>
                <a:gd name="T8" fmla="*/ 656876 w 2789"/>
                <a:gd name="T9" fmla="*/ 1137624 h 6317"/>
                <a:gd name="T10" fmla="*/ 0 w 2789"/>
                <a:gd name="T11" fmla="*/ 510652 h 6317"/>
                <a:gd name="T12" fmla="*/ 0 w 2789"/>
                <a:gd name="T13" fmla="*/ 0 h 6317"/>
                <a:gd name="T14" fmla="*/ 1002940 w 2789"/>
                <a:gd name="T15" fmla="*/ 955042 h 6317"/>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2789" h="6317">
                  <a:moveTo>
                    <a:pt x="2788" y="2652"/>
                  </a:moveTo>
                  <a:lnTo>
                    <a:pt x="2788" y="3696"/>
                  </a:lnTo>
                  <a:lnTo>
                    <a:pt x="0" y="6316"/>
                  </a:lnTo>
                  <a:lnTo>
                    <a:pt x="0" y="4867"/>
                  </a:lnTo>
                  <a:lnTo>
                    <a:pt x="1826" y="3159"/>
                  </a:lnTo>
                  <a:lnTo>
                    <a:pt x="0" y="1418"/>
                  </a:lnTo>
                  <a:lnTo>
                    <a:pt x="0" y="0"/>
                  </a:lnTo>
                  <a:lnTo>
                    <a:pt x="2788" y="2652"/>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endParaRPr lang="en-US"/>
            </a:p>
          </p:txBody>
        </p:sp>
      </p:grpSp>
      <p:sp>
        <p:nvSpPr>
          <p:cNvPr id="25" name="Footer Placeholder 14">
            <a:extLst>
              <a:ext uri="{FF2B5EF4-FFF2-40B4-BE49-F238E27FC236}">
                <a16:creationId xmlns:a16="http://schemas.microsoft.com/office/drawing/2014/main" id="{A563124D-28F2-7DE4-64B6-C407DA8BDED1}"/>
              </a:ext>
            </a:extLst>
          </p:cNvPr>
          <p:cNvSpPr txBox="1">
            <a:spLocks/>
          </p:cNvSpPr>
          <p:nvPr userDrawn="1"/>
        </p:nvSpPr>
        <p:spPr>
          <a:xfrm>
            <a:off x="1205299" y="6410231"/>
            <a:ext cx="2157779" cy="228599"/>
          </a:xfrm>
          <a:prstGeom prst="rect">
            <a:avLst/>
          </a:prstGeom>
        </p:spPr>
        <p:txBody>
          <a:bodyPr vert="horz" lIns="0" tIns="0" rIns="0" bIns="0" rtlCol="0" anchor="ctr"/>
          <a:lstStyle>
            <a:defPPr>
              <a:defRPr lang="en-US"/>
            </a:defPPr>
            <a:lvl1pPr marL="0" algn="r" defTabSz="914400" rtl="0" eaLnBrk="1" latinLnBrk="0" hangingPunct="1">
              <a:defRPr sz="600" b="0" i="0" kern="1200">
                <a:solidFill>
                  <a:schemeClr val="tx1"/>
                </a:solidFill>
                <a:latin typeface="+mn-lt"/>
                <a:ea typeface="Calibri" panose="020F0502020204030204" pitchFamily="34" charset="0"/>
                <a:cs typeface="Calibri" panose="020F050202020403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b="0" i="0">
                <a:solidFill>
                  <a:schemeClr val="tx1"/>
                </a:solidFill>
                <a:latin typeface="+mn-lt"/>
              </a:rPr>
              <a:t>EPAM Proprietary &amp; Confidential</a:t>
            </a:r>
            <a:r>
              <a:rPr lang="ru-RU" b="0" i="0">
                <a:solidFill>
                  <a:schemeClr val="tx1"/>
                </a:solidFill>
                <a:latin typeface="+mn-lt"/>
              </a:rPr>
              <a:t> </a:t>
            </a:r>
            <a:endParaRPr lang="en-US" b="0" i="0">
              <a:solidFill>
                <a:schemeClr val="tx1"/>
              </a:solidFill>
              <a:latin typeface="+mn-lt"/>
            </a:endParaRPr>
          </a:p>
        </p:txBody>
      </p:sp>
    </p:spTree>
    <p:extLst>
      <p:ext uri="{BB962C8B-B14F-4D97-AF65-F5344CB8AC3E}">
        <p14:creationId xmlns:p14="http://schemas.microsoft.com/office/powerpoint/2010/main" val="2088920833"/>
      </p:ext>
    </p:extLst>
  </p:cSld>
  <p:clrMapOvr>
    <a:masterClrMapping/>
  </p:clrMapOvr>
  <p:extLst>
    <p:ext uri="{DCECCB84-F9BA-43D5-87BE-67443E8EF086}">
      <p15:sldGuideLst xmlns:p15="http://schemas.microsoft.com/office/powerpoint/2012/main"/>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Case Study-2/3 Pictur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1657C14D-88D4-2E4E-B3D4-C2C8ABFC1A31}"/>
              </a:ext>
            </a:extLst>
          </p:cNvPr>
          <p:cNvSpPr/>
          <p:nvPr userDrawn="1"/>
        </p:nvSpPr>
        <p:spPr bwMode="auto">
          <a:xfrm>
            <a:off x="4352926" y="0"/>
            <a:ext cx="7839074" cy="6858000"/>
          </a:xfrm>
          <a:prstGeom prst="rect">
            <a:avLst/>
          </a:prstGeom>
          <a:solidFill>
            <a:schemeClr val="bg1">
              <a:lumMod val="95000"/>
            </a:schemeClr>
          </a:solidFill>
          <a:ln>
            <a:noFill/>
          </a:ln>
          <a:effectLst/>
        </p:spPr>
        <p:txBody>
          <a:bodyPr wrap="none" rtlCol="0" anchor="ctr"/>
          <a:lstStyle/>
          <a:p>
            <a:pPr algn="ctr"/>
            <a:endParaRPr lang="en-US" sz="2400" err="1">
              <a:solidFill>
                <a:schemeClr val="bg1"/>
              </a:solidFill>
              <a:latin typeface="Calibri Light" panose="020F0302020204030204" pitchFamily="34" charset="0"/>
              <a:ea typeface="Human Sans ExtraLight" charset="0"/>
              <a:cs typeface="Human Sans ExtraLight" charset="0"/>
            </a:endParaRPr>
          </a:p>
        </p:txBody>
      </p:sp>
      <p:sp>
        <p:nvSpPr>
          <p:cNvPr id="14" name="Picture Placeholder 2">
            <a:extLst>
              <a:ext uri="{FF2B5EF4-FFF2-40B4-BE49-F238E27FC236}">
                <a16:creationId xmlns:a16="http://schemas.microsoft.com/office/drawing/2014/main" id="{B0B5FC9B-C94B-DD4C-B568-43367EF1D400}"/>
              </a:ext>
            </a:extLst>
          </p:cNvPr>
          <p:cNvSpPr>
            <a:spLocks noGrp="1"/>
          </p:cNvSpPr>
          <p:nvPr>
            <p:ph type="pic" sz="quarter" idx="16"/>
          </p:nvPr>
        </p:nvSpPr>
        <p:spPr>
          <a:xfrm>
            <a:off x="4352925" y="0"/>
            <a:ext cx="7839075" cy="6858000"/>
          </a:xfrm>
          <a:prstGeom prst="rect">
            <a:avLst/>
          </a:prstGeom>
          <a:solidFill>
            <a:schemeClr val="bg1">
              <a:lumMod val="95000"/>
            </a:schemeClr>
          </a:solidFill>
        </p:spPr>
        <p:txBody>
          <a:bodyPr/>
          <a:lstStyle/>
          <a:p>
            <a:endParaRPr lang="en-US"/>
          </a:p>
        </p:txBody>
      </p:sp>
      <p:sp>
        <p:nvSpPr>
          <p:cNvPr id="6" name="Title 1">
            <a:extLst>
              <a:ext uri="{FF2B5EF4-FFF2-40B4-BE49-F238E27FC236}">
                <a16:creationId xmlns:a16="http://schemas.microsoft.com/office/drawing/2014/main" id="{50445D59-5D09-D8C1-2EC1-A52718159786}"/>
              </a:ext>
            </a:extLst>
          </p:cNvPr>
          <p:cNvSpPr>
            <a:spLocks noGrp="1"/>
          </p:cNvSpPr>
          <p:nvPr>
            <p:ph type="title" hasCustomPrompt="1"/>
          </p:nvPr>
        </p:nvSpPr>
        <p:spPr>
          <a:xfrm>
            <a:off x="639074" y="731520"/>
            <a:ext cx="2542276" cy="457200"/>
          </a:xfrm>
          <a:prstGeom prst="rect">
            <a:avLst/>
          </a:prstGeom>
        </p:spPr>
        <p:txBody>
          <a:bodyPr lIns="0" tIns="0" rIns="0" bIns="0">
            <a:noAutofit/>
          </a:bodyPr>
          <a:lstStyle>
            <a:lvl1pPr>
              <a:defRPr lang="en-US"/>
            </a:lvl1pPr>
          </a:lstStyle>
          <a:p>
            <a:pPr marL="0" lvl="0" indent="0">
              <a:spcBef>
                <a:spcPts val="0"/>
              </a:spcBef>
              <a:spcAft>
                <a:spcPts val="0"/>
              </a:spcAft>
              <a:buFont typeface="Arial" panose="020B0604020202020204" pitchFamily="34" charset="0"/>
            </a:pPr>
            <a:r>
              <a:rPr lang="en-US"/>
              <a:t>Title Goes Here</a:t>
            </a:r>
          </a:p>
        </p:txBody>
      </p:sp>
      <p:sp>
        <p:nvSpPr>
          <p:cNvPr id="7" name="Text Placeholder 10">
            <a:extLst>
              <a:ext uri="{FF2B5EF4-FFF2-40B4-BE49-F238E27FC236}">
                <a16:creationId xmlns:a16="http://schemas.microsoft.com/office/drawing/2014/main" id="{77EF2F3C-6015-6E2B-6FDD-5205793AA2FD}"/>
              </a:ext>
            </a:extLst>
          </p:cNvPr>
          <p:cNvSpPr>
            <a:spLocks noGrp="1"/>
          </p:cNvSpPr>
          <p:nvPr>
            <p:ph type="body" sz="quarter" idx="15" hasCustomPrompt="1"/>
          </p:nvPr>
        </p:nvSpPr>
        <p:spPr>
          <a:xfrm>
            <a:off x="639074" y="419100"/>
            <a:ext cx="2542276" cy="223451"/>
          </a:xfrm>
          <a:prstGeom prst="rect">
            <a:avLst/>
          </a:prstGeom>
        </p:spPr>
        <p:txBody>
          <a:bodyPr vert="horz" lIns="0" tIns="0" rIns="0" bIns="0" rtlCol="0">
            <a:noAutofit/>
          </a:bodyPr>
          <a:lstStyle>
            <a:lvl1pPr>
              <a:defRPr lang="en-US" sz="1000" b="0" cap="all" spc="300" baseline="0">
                <a:solidFill>
                  <a:schemeClr val="tx1"/>
                </a:solidFill>
                <a:latin typeface="Calibri" panose="020F0502020204030204" pitchFamily="34" charset="0"/>
              </a:defRPr>
            </a:lvl1pPr>
          </a:lstStyle>
          <a:p>
            <a:pPr lvl="0"/>
            <a:r>
              <a:rPr lang="en-US"/>
              <a:t>Click to add section title</a:t>
            </a:r>
          </a:p>
        </p:txBody>
      </p:sp>
      <p:pic>
        <p:nvPicPr>
          <p:cNvPr id="3" name="Graphic 2">
            <a:extLst>
              <a:ext uri="{FF2B5EF4-FFF2-40B4-BE49-F238E27FC236}">
                <a16:creationId xmlns:a16="http://schemas.microsoft.com/office/drawing/2014/main" id="{C6597573-C1C5-3281-B2D7-664C4A19F075}"/>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820265" y="6419060"/>
            <a:ext cx="762923" cy="205636"/>
          </a:xfrm>
          <a:prstGeom prst="rect">
            <a:avLst/>
          </a:prstGeom>
        </p:spPr>
      </p:pic>
    </p:spTree>
    <p:extLst>
      <p:ext uri="{BB962C8B-B14F-4D97-AF65-F5344CB8AC3E}">
        <p14:creationId xmlns:p14="http://schemas.microsoft.com/office/powerpoint/2010/main" val="2918979145"/>
      </p:ext>
    </p:extLst>
  </p:cSld>
  <p:clrMapOvr>
    <a:masterClrMapping/>
  </p:clrMapOvr>
  <p:extLst>
    <p:ext uri="{DCECCB84-F9BA-43D5-87BE-67443E8EF086}">
      <p15:sldGuideLst xmlns:p15="http://schemas.microsoft.com/office/powerpoint/2012/main"/>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1_Case Study_Mockup_Left">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012FD094-0794-063E-2B57-722EE39684F1}"/>
              </a:ext>
            </a:extLst>
          </p:cNvPr>
          <p:cNvSpPr/>
          <p:nvPr userDrawn="1"/>
        </p:nvSpPr>
        <p:spPr bwMode="auto">
          <a:xfrm>
            <a:off x="0" y="0"/>
            <a:ext cx="7143750" cy="6858000"/>
          </a:xfrm>
          <a:prstGeom prst="rect">
            <a:avLst/>
          </a:prstGeom>
          <a:solidFill>
            <a:schemeClr val="bg1">
              <a:lumMod val="95000"/>
            </a:schemeClr>
          </a:solidFill>
          <a:ln>
            <a:noFill/>
          </a:ln>
          <a:effectLst/>
        </p:spPr>
        <p:txBody>
          <a:bodyPr wrap="none" rtlCol="0" anchor="ctr"/>
          <a:lstStyle/>
          <a:p>
            <a:pPr algn="ctr"/>
            <a:endParaRPr lang="en-US" sz="2400">
              <a:solidFill>
                <a:schemeClr val="bg1"/>
              </a:solidFill>
              <a:latin typeface="Calibri Light" panose="020F0302020204030204" pitchFamily="34" charset="0"/>
              <a:ea typeface="Human Sans ExtraLight" charset="0"/>
              <a:cs typeface="Human Sans ExtraLight" charset="0"/>
            </a:endParaRPr>
          </a:p>
        </p:txBody>
      </p:sp>
      <p:sp>
        <p:nvSpPr>
          <p:cNvPr id="6" name="Title 1">
            <a:extLst>
              <a:ext uri="{FF2B5EF4-FFF2-40B4-BE49-F238E27FC236}">
                <a16:creationId xmlns:a16="http://schemas.microsoft.com/office/drawing/2014/main" id="{5CB865C5-5C2A-A194-F7E1-984E0B642407}"/>
              </a:ext>
            </a:extLst>
          </p:cNvPr>
          <p:cNvSpPr>
            <a:spLocks noGrp="1"/>
          </p:cNvSpPr>
          <p:nvPr>
            <p:ph type="title" hasCustomPrompt="1"/>
          </p:nvPr>
        </p:nvSpPr>
        <p:spPr>
          <a:xfrm>
            <a:off x="639074" y="731520"/>
            <a:ext cx="2542276" cy="457200"/>
          </a:xfrm>
          <a:prstGeom prst="rect">
            <a:avLst/>
          </a:prstGeom>
        </p:spPr>
        <p:txBody>
          <a:bodyPr lIns="0" tIns="0" rIns="0" bIns="0">
            <a:noAutofit/>
          </a:bodyPr>
          <a:lstStyle>
            <a:lvl1pPr>
              <a:defRPr lang="en-US"/>
            </a:lvl1pPr>
          </a:lstStyle>
          <a:p>
            <a:pPr marL="0" lvl="0" indent="0">
              <a:spcBef>
                <a:spcPts val="0"/>
              </a:spcBef>
              <a:spcAft>
                <a:spcPts val="0"/>
              </a:spcAft>
              <a:buFont typeface="Arial" panose="020B0604020202020204" pitchFamily="34" charset="0"/>
            </a:pPr>
            <a:r>
              <a:rPr lang="en-US"/>
              <a:t>Title Goes Here</a:t>
            </a:r>
          </a:p>
        </p:txBody>
      </p:sp>
      <p:sp>
        <p:nvSpPr>
          <p:cNvPr id="7" name="Text Placeholder 10">
            <a:extLst>
              <a:ext uri="{FF2B5EF4-FFF2-40B4-BE49-F238E27FC236}">
                <a16:creationId xmlns:a16="http://schemas.microsoft.com/office/drawing/2014/main" id="{4D86B38F-89DD-F114-5F16-98FE8F50CA3D}"/>
              </a:ext>
            </a:extLst>
          </p:cNvPr>
          <p:cNvSpPr>
            <a:spLocks noGrp="1"/>
          </p:cNvSpPr>
          <p:nvPr>
            <p:ph type="body" sz="quarter" idx="15" hasCustomPrompt="1"/>
          </p:nvPr>
        </p:nvSpPr>
        <p:spPr>
          <a:xfrm>
            <a:off x="639074" y="419100"/>
            <a:ext cx="2542276" cy="223451"/>
          </a:xfrm>
          <a:prstGeom prst="rect">
            <a:avLst/>
          </a:prstGeom>
        </p:spPr>
        <p:txBody>
          <a:bodyPr vert="horz" lIns="0" tIns="0" rIns="0" bIns="0" rtlCol="0">
            <a:noAutofit/>
          </a:bodyPr>
          <a:lstStyle>
            <a:lvl1pPr>
              <a:defRPr lang="en-US" sz="1000" b="0" cap="all" spc="300" baseline="0">
                <a:solidFill>
                  <a:schemeClr val="tx1"/>
                </a:solidFill>
                <a:latin typeface="Calibri" panose="020F0502020204030204" pitchFamily="34" charset="0"/>
              </a:defRPr>
            </a:lvl1pPr>
          </a:lstStyle>
          <a:p>
            <a:pPr lvl="0"/>
            <a:r>
              <a:rPr lang="en-US"/>
              <a:t>Click to add section title</a:t>
            </a:r>
          </a:p>
        </p:txBody>
      </p:sp>
      <p:grpSp>
        <p:nvGrpSpPr>
          <p:cNvPr id="2" name="Group 1">
            <a:extLst>
              <a:ext uri="{FF2B5EF4-FFF2-40B4-BE49-F238E27FC236}">
                <a16:creationId xmlns:a16="http://schemas.microsoft.com/office/drawing/2014/main" id="{438CD1E8-8643-37BF-A157-B9B3A242CA96}"/>
              </a:ext>
            </a:extLst>
          </p:cNvPr>
          <p:cNvGrpSpPr/>
          <p:nvPr userDrawn="1"/>
        </p:nvGrpSpPr>
        <p:grpSpPr>
          <a:xfrm>
            <a:off x="611054" y="6471298"/>
            <a:ext cx="372834" cy="131175"/>
            <a:chOff x="14288" y="2035175"/>
            <a:chExt cx="10039350" cy="3532188"/>
          </a:xfrm>
          <a:solidFill>
            <a:schemeClr val="tx1"/>
          </a:solidFill>
        </p:grpSpPr>
        <p:sp>
          <p:nvSpPr>
            <p:cNvPr id="3" name="Freeform 1">
              <a:extLst>
                <a:ext uri="{FF2B5EF4-FFF2-40B4-BE49-F238E27FC236}">
                  <a16:creationId xmlns:a16="http://schemas.microsoft.com/office/drawing/2014/main" id="{3A78BCEF-E5DE-2366-0909-2533CF46343F}"/>
                </a:ext>
              </a:extLst>
            </p:cNvPr>
            <p:cNvSpPr>
              <a:spLocks noChangeArrowheads="1"/>
            </p:cNvSpPr>
            <p:nvPr/>
          </p:nvSpPr>
          <p:spPr bwMode="auto">
            <a:xfrm>
              <a:off x="1519238" y="2035175"/>
              <a:ext cx="1336675" cy="2836863"/>
            </a:xfrm>
            <a:custGeom>
              <a:avLst/>
              <a:gdLst>
                <a:gd name="T0" fmla="*/ 390493 w 3714"/>
                <a:gd name="T1" fmla="*/ 1200682 h 7882"/>
                <a:gd name="T2" fmla="*/ 945462 w 3714"/>
                <a:gd name="T3" fmla="*/ 1200682 h 7882"/>
                <a:gd name="T4" fmla="*/ 945462 w 3714"/>
                <a:gd name="T5" fmla="*/ 611498 h 7882"/>
                <a:gd name="T6" fmla="*/ 698929 w 3714"/>
                <a:gd name="T7" fmla="*/ 364596 h 7882"/>
                <a:gd name="T8" fmla="*/ 637386 w 3714"/>
                <a:gd name="T9" fmla="*/ 364596 h 7882"/>
                <a:gd name="T10" fmla="*/ 390493 w 3714"/>
                <a:gd name="T11" fmla="*/ 611498 h 7882"/>
                <a:gd name="T12" fmla="*/ 390493 w 3714"/>
                <a:gd name="T13" fmla="*/ 1200682 h 7882"/>
                <a:gd name="T14" fmla="*/ 389414 w 3714"/>
                <a:gd name="T15" fmla="*/ 1576795 h 7882"/>
                <a:gd name="T16" fmla="*/ 390493 w 3714"/>
                <a:gd name="T17" fmla="*/ 2224645 h 7882"/>
                <a:gd name="T18" fmla="*/ 637386 w 3714"/>
                <a:gd name="T19" fmla="*/ 2471548 h 7882"/>
                <a:gd name="T20" fmla="*/ 709366 w 3714"/>
                <a:gd name="T21" fmla="*/ 2471548 h 7882"/>
                <a:gd name="T22" fmla="*/ 955899 w 3714"/>
                <a:gd name="T23" fmla="*/ 2224645 h 7882"/>
                <a:gd name="T24" fmla="*/ 955899 w 3714"/>
                <a:gd name="T25" fmla="*/ 1906119 h 7882"/>
                <a:gd name="T26" fmla="*/ 1336315 w 3714"/>
                <a:gd name="T27" fmla="*/ 1906119 h 7882"/>
                <a:gd name="T28" fmla="*/ 1336315 w 3714"/>
                <a:gd name="T29" fmla="*/ 2209528 h 7882"/>
                <a:gd name="T30" fmla="*/ 709366 w 3714"/>
                <a:gd name="T31" fmla="*/ 2836503 h 7882"/>
                <a:gd name="T32" fmla="*/ 626949 w 3714"/>
                <a:gd name="T33" fmla="*/ 2836503 h 7882"/>
                <a:gd name="T34" fmla="*/ 0 w 3714"/>
                <a:gd name="T35" fmla="*/ 2258117 h 7882"/>
                <a:gd name="T36" fmla="*/ 0 w 3714"/>
                <a:gd name="T37" fmla="*/ 675564 h 7882"/>
                <a:gd name="T38" fmla="*/ 626949 w 3714"/>
                <a:gd name="T39" fmla="*/ 0 h 7882"/>
                <a:gd name="T40" fmla="*/ 709366 w 3714"/>
                <a:gd name="T41" fmla="*/ 0 h 7882"/>
                <a:gd name="T42" fmla="*/ 1336315 w 3714"/>
                <a:gd name="T43" fmla="*/ 626975 h 7882"/>
                <a:gd name="T44" fmla="*/ 1334875 w 3714"/>
                <a:gd name="T45" fmla="*/ 1576795 h 7882"/>
                <a:gd name="T46" fmla="*/ 389414 w 3714"/>
                <a:gd name="T47" fmla="*/ 1576795 h 7882"/>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3714" h="7882">
                  <a:moveTo>
                    <a:pt x="1085" y="3336"/>
                  </a:moveTo>
                  <a:lnTo>
                    <a:pt x="2627" y="3336"/>
                  </a:lnTo>
                  <a:lnTo>
                    <a:pt x="2627" y="1699"/>
                  </a:lnTo>
                  <a:cubicBezTo>
                    <a:pt x="2627" y="1242"/>
                    <a:pt x="2399" y="1013"/>
                    <a:pt x="1942" y="1013"/>
                  </a:cubicBezTo>
                  <a:lnTo>
                    <a:pt x="1771" y="1013"/>
                  </a:lnTo>
                  <a:cubicBezTo>
                    <a:pt x="1314" y="1013"/>
                    <a:pt x="1085" y="1242"/>
                    <a:pt x="1085" y="1699"/>
                  </a:cubicBezTo>
                  <a:lnTo>
                    <a:pt x="1085" y="3336"/>
                  </a:lnTo>
                  <a:close/>
                  <a:moveTo>
                    <a:pt x="1082" y="4381"/>
                  </a:moveTo>
                  <a:lnTo>
                    <a:pt x="1085" y="6181"/>
                  </a:lnTo>
                  <a:cubicBezTo>
                    <a:pt x="1085" y="6638"/>
                    <a:pt x="1314" y="6867"/>
                    <a:pt x="1771" y="6867"/>
                  </a:cubicBezTo>
                  <a:lnTo>
                    <a:pt x="1971" y="6867"/>
                  </a:lnTo>
                  <a:cubicBezTo>
                    <a:pt x="2428" y="6867"/>
                    <a:pt x="2656" y="6638"/>
                    <a:pt x="2656" y="6181"/>
                  </a:cubicBezTo>
                  <a:lnTo>
                    <a:pt x="2656" y="5296"/>
                  </a:lnTo>
                  <a:lnTo>
                    <a:pt x="3713" y="5296"/>
                  </a:lnTo>
                  <a:lnTo>
                    <a:pt x="3713" y="6139"/>
                  </a:lnTo>
                  <a:cubicBezTo>
                    <a:pt x="3713" y="7295"/>
                    <a:pt x="3127" y="7881"/>
                    <a:pt x="1971" y="7881"/>
                  </a:cubicBezTo>
                  <a:lnTo>
                    <a:pt x="1742" y="7881"/>
                  </a:lnTo>
                  <a:cubicBezTo>
                    <a:pt x="585" y="7881"/>
                    <a:pt x="0" y="7295"/>
                    <a:pt x="0" y="6274"/>
                  </a:cubicBezTo>
                  <a:lnTo>
                    <a:pt x="0" y="1877"/>
                  </a:lnTo>
                  <a:cubicBezTo>
                    <a:pt x="0" y="585"/>
                    <a:pt x="585" y="0"/>
                    <a:pt x="1742" y="0"/>
                  </a:cubicBezTo>
                  <a:lnTo>
                    <a:pt x="1971" y="0"/>
                  </a:lnTo>
                  <a:cubicBezTo>
                    <a:pt x="3127" y="0"/>
                    <a:pt x="3713" y="585"/>
                    <a:pt x="3713" y="1742"/>
                  </a:cubicBezTo>
                  <a:lnTo>
                    <a:pt x="3709" y="4381"/>
                  </a:lnTo>
                  <a:lnTo>
                    <a:pt x="1082" y="4381"/>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endParaRPr lang="en-US"/>
            </a:p>
          </p:txBody>
        </p:sp>
        <p:sp>
          <p:nvSpPr>
            <p:cNvPr id="4" name="Freeform 2">
              <a:extLst>
                <a:ext uri="{FF2B5EF4-FFF2-40B4-BE49-F238E27FC236}">
                  <a16:creationId xmlns:a16="http://schemas.microsoft.com/office/drawing/2014/main" id="{9A1F6FC3-8D59-6E48-98D3-9956AB18EDC0}"/>
                </a:ext>
              </a:extLst>
            </p:cNvPr>
            <p:cNvSpPr>
              <a:spLocks noChangeArrowheads="1"/>
            </p:cNvSpPr>
            <p:nvPr/>
          </p:nvSpPr>
          <p:spPr bwMode="auto">
            <a:xfrm>
              <a:off x="3109913" y="2035175"/>
              <a:ext cx="1368425" cy="3532188"/>
            </a:xfrm>
            <a:custGeom>
              <a:avLst/>
              <a:gdLst>
                <a:gd name="T0" fmla="*/ 390721 w 3800"/>
                <a:gd name="T1" fmla="*/ 2322993 h 9812"/>
                <a:gd name="T2" fmla="*/ 750833 w 3800"/>
                <a:gd name="T3" fmla="*/ 2466628 h 9812"/>
                <a:gd name="T4" fmla="*/ 976983 w 3800"/>
                <a:gd name="T5" fmla="*/ 2240556 h 9812"/>
                <a:gd name="T6" fmla="*/ 976983 w 3800"/>
                <a:gd name="T7" fmla="*/ 596138 h 9812"/>
                <a:gd name="T8" fmla="*/ 750833 w 3800"/>
                <a:gd name="T9" fmla="*/ 370066 h 9812"/>
                <a:gd name="T10" fmla="*/ 390721 w 3800"/>
                <a:gd name="T11" fmla="*/ 514061 h 9812"/>
                <a:gd name="T12" fmla="*/ 390721 w 3800"/>
                <a:gd name="T13" fmla="*/ 2322993 h 9812"/>
                <a:gd name="T14" fmla="*/ 0 w 3800"/>
                <a:gd name="T15" fmla="*/ 30599 h 9812"/>
                <a:gd name="T16" fmla="*/ 390721 w 3800"/>
                <a:gd name="T17" fmla="*/ 30599 h 9812"/>
                <a:gd name="T18" fmla="*/ 390721 w 3800"/>
                <a:gd name="T19" fmla="*/ 210592 h 9812"/>
                <a:gd name="T20" fmla="*/ 868950 w 3800"/>
                <a:gd name="T21" fmla="*/ 0 h 9812"/>
                <a:gd name="T22" fmla="*/ 1368065 w 3800"/>
                <a:gd name="T23" fmla="*/ 549699 h 9812"/>
                <a:gd name="T24" fmla="*/ 1368065 w 3800"/>
                <a:gd name="T25" fmla="*/ 2286995 h 9812"/>
                <a:gd name="T26" fmla="*/ 868950 w 3800"/>
                <a:gd name="T27" fmla="*/ 2837054 h 9812"/>
                <a:gd name="T28" fmla="*/ 390721 w 3800"/>
                <a:gd name="T29" fmla="*/ 2636541 h 9812"/>
                <a:gd name="T30" fmla="*/ 390721 w 3800"/>
                <a:gd name="T31" fmla="*/ 3531828 h 9812"/>
                <a:gd name="T32" fmla="*/ 0 w 3800"/>
                <a:gd name="T33" fmla="*/ 3531828 h 9812"/>
                <a:gd name="T34" fmla="*/ 0 w 3800"/>
                <a:gd name="T35" fmla="*/ 30599 h 9812"/>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3800" h="9812">
                  <a:moveTo>
                    <a:pt x="1085" y="6453"/>
                  </a:moveTo>
                  <a:cubicBezTo>
                    <a:pt x="1385" y="6710"/>
                    <a:pt x="1728" y="6852"/>
                    <a:pt x="2085" y="6852"/>
                  </a:cubicBezTo>
                  <a:cubicBezTo>
                    <a:pt x="2485" y="6852"/>
                    <a:pt x="2713" y="6667"/>
                    <a:pt x="2713" y="6224"/>
                  </a:cubicBezTo>
                  <a:lnTo>
                    <a:pt x="2713" y="1656"/>
                  </a:lnTo>
                  <a:cubicBezTo>
                    <a:pt x="2713" y="1213"/>
                    <a:pt x="2485" y="1028"/>
                    <a:pt x="2085" y="1028"/>
                  </a:cubicBezTo>
                  <a:cubicBezTo>
                    <a:pt x="1728" y="1028"/>
                    <a:pt x="1385" y="1170"/>
                    <a:pt x="1085" y="1428"/>
                  </a:cubicBezTo>
                  <a:lnTo>
                    <a:pt x="1085" y="6453"/>
                  </a:lnTo>
                  <a:close/>
                  <a:moveTo>
                    <a:pt x="0" y="85"/>
                  </a:moveTo>
                  <a:lnTo>
                    <a:pt x="1085" y="85"/>
                  </a:lnTo>
                  <a:lnTo>
                    <a:pt x="1085" y="585"/>
                  </a:lnTo>
                  <a:cubicBezTo>
                    <a:pt x="1342" y="314"/>
                    <a:pt x="1785" y="0"/>
                    <a:pt x="2413" y="0"/>
                  </a:cubicBezTo>
                  <a:cubicBezTo>
                    <a:pt x="3342" y="0"/>
                    <a:pt x="3799" y="614"/>
                    <a:pt x="3799" y="1527"/>
                  </a:cubicBezTo>
                  <a:lnTo>
                    <a:pt x="3799" y="6353"/>
                  </a:lnTo>
                  <a:cubicBezTo>
                    <a:pt x="3799" y="7267"/>
                    <a:pt x="3342" y="7881"/>
                    <a:pt x="2413" y="7881"/>
                  </a:cubicBezTo>
                  <a:cubicBezTo>
                    <a:pt x="1785" y="7881"/>
                    <a:pt x="1342" y="7581"/>
                    <a:pt x="1085" y="7324"/>
                  </a:cubicBezTo>
                  <a:lnTo>
                    <a:pt x="1085" y="9811"/>
                  </a:lnTo>
                  <a:lnTo>
                    <a:pt x="0" y="9811"/>
                  </a:lnTo>
                  <a:lnTo>
                    <a:pt x="0" y="85"/>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endParaRPr lang="en-US"/>
            </a:p>
          </p:txBody>
        </p:sp>
        <p:sp>
          <p:nvSpPr>
            <p:cNvPr id="9" name="Freeform 3">
              <a:extLst>
                <a:ext uri="{FF2B5EF4-FFF2-40B4-BE49-F238E27FC236}">
                  <a16:creationId xmlns:a16="http://schemas.microsoft.com/office/drawing/2014/main" id="{C8E7B689-8988-1BA7-6918-CDFCF00F0219}"/>
                </a:ext>
              </a:extLst>
            </p:cNvPr>
            <p:cNvSpPr>
              <a:spLocks noChangeArrowheads="1"/>
            </p:cNvSpPr>
            <p:nvPr/>
          </p:nvSpPr>
          <p:spPr bwMode="auto">
            <a:xfrm>
              <a:off x="4711700" y="2035175"/>
              <a:ext cx="1328738" cy="2836863"/>
            </a:xfrm>
            <a:custGeom>
              <a:avLst/>
              <a:gdLst>
                <a:gd name="T0" fmla="*/ 937679 w 3690"/>
                <a:gd name="T1" fmla="*/ 2338019 h 7882"/>
                <a:gd name="T2" fmla="*/ 937679 w 3690"/>
                <a:gd name="T3" fmla="*/ 1422750 h 7882"/>
                <a:gd name="T4" fmla="*/ 582988 w 3690"/>
                <a:gd name="T5" fmla="*/ 1556999 h 7882"/>
                <a:gd name="T6" fmla="*/ 392500 w 3690"/>
                <a:gd name="T7" fmla="*/ 1844573 h 7882"/>
                <a:gd name="T8" fmla="*/ 392500 w 3690"/>
                <a:gd name="T9" fmla="*/ 2266035 h 7882"/>
                <a:gd name="T10" fmla="*/ 582988 w 3690"/>
                <a:gd name="T11" fmla="*/ 2466149 h 7882"/>
                <a:gd name="T12" fmla="*/ 937679 w 3690"/>
                <a:gd name="T13" fmla="*/ 2338019 h 7882"/>
                <a:gd name="T14" fmla="*/ 2161 w 3690"/>
                <a:gd name="T15" fmla="*/ 1839174 h 7882"/>
                <a:gd name="T16" fmla="*/ 413025 w 3690"/>
                <a:gd name="T17" fmla="*/ 1253950 h 7882"/>
                <a:gd name="T18" fmla="*/ 937679 w 3690"/>
                <a:gd name="T19" fmla="*/ 1073991 h 7882"/>
                <a:gd name="T20" fmla="*/ 937679 w 3690"/>
                <a:gd name="T21" fmla="*/ 611498 h 7882"/>
                <a:gd name="T22" fmla="*/ 690656 w 3690"/>
                <a:gd name="T23" fmla="*/ 359557 h 7882"/>
                <a:gd name="T24" fmla="*/ 627280 w 3690"/>
                <a:gd name="T25" fmla="*/ 359557 h 7882"/>
                <a:gd name="T26" fmla="*/ 380257 w 3690"/>
                <a:gd name="T27" fmla="*/ 611498 h 7882"/>
                <a:gd name="T28" fmla="*/ 380257 w 3690"/>
                <a:gd name="T29" fmla="*/ 1004527 h 7882"/>
                <a:gd name="T30" fmla="*/ 0 w 3690"/>
                <a:gd name="T31" fmla="*/ 1004527 h 7882"/>
                <a:gd name="T32" fmla="*/ 0 w 3690"/>
                <a:gd name="T33" fmla="*/ 626975 h 7882"/>
                <a:gd name="T34" fmla="*/ 627280 w 3690"/>
                <a:gd name="T35" fmla="*/ 0 h 7882"/>
                <a:gd name="T36" fmla="*/ 701098 w 3690"/>
                <a:gd name="T37" fmla="*/ 0 h 7882"/>
                <a:gd name="T38" fmla="*/ 1328378 w 3690"/>
                <a:gd name="T39" fmla="*/ 626975 h 7882"/>
                <a:gd name="T40" fmla="*/ 1328378 w 3690"/>
                <a:gd name="T41" fmla="*/ 2805550 h 7882"/>
                <a:gd name="T42" fmla="*/ 937679 w 3690"/>
                <a:gd name="T43" fmla="*/ 2805550 h 7882"/>
                <a:gd name="T44" fmla="*/ 937679 w 3690"/>
                <a:gd name="T45" fmla="*/ 2630631 h 7882"/>
                <a:gd name="T46" fmla="*/ 459477 w 3690"/>
                <a:gd name="T47" fmla="*/ 2836503 h 7882"/>
                <a:gd name="T48" fmla="*/ 2161 w 3690"/>
                <a:gd name="T49" fmla="*/ 2348096 h 7882"/>
                <a:gd name="T50" fmla="*/ 2161 w 3690"/>
                <a:gd name="T51" fmla="*/ 1839174 h 7882"/>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3690" h="7882">
                  <a:moveTo>
                    <a:pt x="2604" y="6496"/>
                  </a:moveTo>
                  <a:lnTo>
                    <a:pt x="2604" y="3953"/>
                  </a:lnTo>
                  <a:lnTo>
                    <a:pt x="1619" y="4326"/>
                  </a:lnTo>
                  <a:cubicBezTo>
                    <a:pt x="1219" y="4483"/>
                    <a:pt x="1090" y="4683"/>
                    <a:pt x="1090" y="5125"/>
                  </a:cubicBezTo>
                  <a:lnTo>
                    <a:pt x="1090" y="6296"/>
                  </a:lnTo>
                  <a:cubicBezTo>
                    <a:pt x="1090" y="6667"/>
                    <a:pt x="1276" y="6852"/>
                    <a:pt x="1619" y="6852"/>
                  </a:cubicBezTo>
                  <a:cubicBezTo>
                    <a:pt x="1947" y="6852"/>
                    <a:pt x="2247" y="6738"/>
                    <a:pt x="2604" y="6496"/>
                  </a:cubicBezTo>
                  <a:close/>
                  <a:moveTo>
                    <a:pt x="6" y="5110"/>
                  </a:moveTo>
                  <a:cubicBezTo>
                    <a:pt x="6" y="4155"/>
                    <a:pt x="320" y="3769"/>
                    <a:pt x="1147" y="3484"/>
                  </a:cubicBezTo>
                  <a:lnTo>
                    <a:pt x="2604" y="2984"/>
                  </a:lnTo>
                  <a:lnTo>
                    <a:pt x="2604" y="1699"/>
                  </a:lnTo>
                  <a:cubicBezTo>
                    <a:pt x="2604" y="1242"/>
                    <a:pt x="2375" y="999"/>
                    <a:pt x="1918" y="999"/>
                  </a:cubicBezTo>
                  <a:lnTo>
                    <a:pt x="1742" y="999"/>
                  </a:lnTo>
                  <a:cubicBezTo>
                    <a:pt x="1285" y="999"/>
                    <a:pt x="1056" y="1242"/>
                    <a:pt x="1056" y="1699"/>
                  </a:cubicBezTo>
                  <a:lnTo>
                    <a:pt x="1056" y="2791"/>
                  </a:lnTo>
                  <a:lnTo>
                    <a:pt x="0" y="2791"/>
                  </a:lnTo>
                  <a:lnTo>
                    <a:pt x="0" y="1742"/>
                  </a:lnTo>
                  <a:cubicBezTo>
                    <a:pt x="0" y="585"/>
                    <a:pt x="586" y="0"/>
                    <a:pt x="1742" y="0"/>
                  </a:cubicBezTo>
                  <a:lnTo>
                    <a:pt x="1947" y="0"/>
                  </a:lnTo>
                  <a:cubicBezTo>
                    <a:pt x="3104" y="0"/>
                    <a:pt x="3689" y="585"/>
                    <a:pt x="3689" y="1742"/>
                  </a:cubicBezTo>
                  <a:lnTo>
                    <a:pt x="3689" y="7795"/>
                  </a:lnTo>
                  <a:lnTo>
                    <a:pt x="2604" y="7795"/>
                  </a:lnTo>
                  <a:lnTo>
                    <a:pt x="2604" y="7309"/>
                  </a:lnTo>
                  <a:cubicBezTo>
                    <a:pt x="2304" y="7595"/>
                    <a:pt x="1904" y="7881"/>
                    <a:pt x="1276" y="7881"/>
                  </a:cubicBezTo>
                  <a:cubicBezTo>
                    <a:pt x="406" y="7881"/>
                    <a:pt x="6" y="7381"/>
                    <a:pt x="6" y="6524"/>
                  </a:cubicBezTo>
                  <a:lnTo>
                    <a:pt x="6" y="5110"/>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endParaRPr lang="en-US"/>
            </a:p>
          </p:txBody>
        </p:sp>
        <p:sp>
          <p:nvSpPr>
            <p:cNvPr id="10" name="Freeform 4">
              <a:extLst>
                <a:ext uri="{FF2B5EF4-FFF2-40B4-BE49-F238E27FC236}">
                  <a16:creationId xmlns:a16="http://schemas.microsoft.com/office/drawing/2014/main" id="{87D34BF3-90D1-D684-C4E4-1898ED73622F}"/>
                </a:ext>
              </a:extLst>
            </p:cNvPr>
            <p:cNvSpPr>
              <a:spLocks noChangeArrowheads="1"/>
            </p:cNvSpPr>
            <p:nvPr/>
          </p:nvSpPr>
          <p:spPr bwMode="auto">
            <a:xfrm>
              <a:off x="6292850" y="2035175"/>
              <a:ext cx="2262188" cy="2806700"/>
            </a:xfrm>
            <a:custGeom>
              <a:avLst/>
              <a:gdLst>
                <a:gd name="T0" fmla="*/ 1326358 w 6285"/>
                <a:gd name="T1" fmla="*/ 2806340 h 7796"/>
                <a:gd name="T2" fmla="*/ 935470 w 6285"/>
                <a:gd name="T3" fmla="*/ 2806340 h 7796"/>
                <a:gd name="T4" fmla="*/ 935470 w 6285"/>
                <a:gd name="T5" fmla="*/ 570628 h 7796"/>
                <a:gd name="T6" fmla="*/ 750463 w 6285"/>
                <a:gd name="T7" fmla="*/ 370098 h 7796"/>
                <a:gd name="T8" fmla="*/ 390889 w 6285"/>
                <a:gd name="T9" fmla="*/ 508705 h 7796"/>
                <a:gd name="T10" fmla="*/ 390889 w 6285"/>
                <a:gd name="T11" fmla="*/ 2806340 h 7796"/>
                <a:gd name="T12" fmla="*/ 0 w 6285"/>
                <a:gd name="T13" fmla="*/ 2806340 h 7796"/>
                <a:gd name="T14" fmla="*/ 0 w 6285"/>
                <a:gd name="T15" fmla="*/ 30602 h 7796"/>
                <a:gd name="T16" fmla="*/ 390889 w 6285"/>
                <a:gd name="T17" fmla="*/ 30602 h 7796"/>
                <a:gd name="T18" fmla="*/ 390889 w 6285"/>
                <a:gd name="T19" fmla="*/ 210611 h 7796"/>
                <a:gd name="T20" fmla="*/ 868882 w 6285"/>
                <a:gd name="T21" fmla="*/ 0 h 7796"/>
                <a:gd name="T22" fmla="*/ 1274888 w 6285"/>
                <a:gd name="T23" fmla="*/ 226091 h 7796"/>
                <a:gd name="T24" fmla="*/ 1804351 w 6285"/>
                <a:gd name="T25" fmla="*/ 0 h 7796"/>
                <a:gd name="T26" fmla="*/ 2261828 w 6285"/>
                <a:gd name="T27" fmla="*/ 488184 h 7796"/>
                <a:gd name="T28" fmla="*/ 2261828 w 6285"/>
                <a:gd name="T29" fmla="*/ 2806340 h 7796"/>
                <a:gd name="T30" fmla="*/ 1870939 w 6285"/>
                <a:gd name="T31" fmla="*/ 2806340 h 7796"/>
                <a:gd name="T32" fmla="*/ 1870939 w 6285"/>
                <a:gd name="T33" fmla="*/ 570628 h 7796"/>
                <a:gd name="T34" fmla="*/ 1685933 w 6285"/>
                <a:gd name="T35" fmla="*/ 370098 h 7796"/>
                <a:gd name="T36" fmla="*/ 1326358 w 6285"/>
                <a:gd name="T37" fmla="*/ 508705 h 7796"/>
                <a:gd name="T38" fmla="*/ 1326358 w 6285"/>
                <a:gd name="T39" fmla="*/ 2806340 h 779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6285" h="7796">
                  <a:moveTo>
                    <a:pt x="3685" y="7795"/>
                  </a:moveTo>
                  <a:lnTo>
                    <a:pt x="2599" y="7795"/>
                  </a:lnTo>
                  <a:lnTo>
                    <a:pt x="2599" y="1585"/>
                  </a:lnTo>
                  <a:cubicBezTo>
                    <a:pt x="2599" y="1199"/>
                    <a:pt x="2414" y="1028"/>
                    <a:pt x="2085" y="1028"/>
                  </a:cubicBezTo>
                  <a:cubicBezTo>
                    <a:pt x="1785" y="1028"/>
                    <a:pt x="1471" y="1142"/>
                    <a:pt x="1086" y="1413"/>
                  </a:cubicBezTo>
                  <a:lnTo>
                    <a:pt x="1086" y="7795"/>
                  </a:lnTo>
                  <a:lnTo>
                    <a:pt x="0" y="7795"/>
                  </a:lnTo>
                  <a:lnTo>
                    <a:pt x="0" y="85"/>
                  </a:lnTo>
                  <a:lnTo>
                    <a:pt x="1086" y="85"/>
                  </a:lnTo>
                  <a:lnTo>
                    <a:pt x="1086" y="585"/>
                  </a:lnTo>
                  <a:cubicBezTo>
                    <a:pt x="1400" y="285"/>
                    <a:pt x="1814" y="0"/>
                    <a:pt x="2414" y="0"/>
                  </a:cubicBezTo>
                  <a:cubicBezTo>
                    <a:pt x="2971" y="0"/>
                    <a:pt x="3342" y="228"/>
                    <a:pt x="3542" y="628"/>
                  </a:cubicBezTo>
                  <a:cubicBezTo>
                    <a:pt x="3928" y="299"/>
                    <a:pt x="4385" y="0"/>
                    <a:pt x="5013" y="0"/>
                  </a:cubicBezTo>
                  <a:cubicBezTo>
                    <a:pt x="5855" y="0"/>
                    <a:pt x="6284" y="514"/>
                    <a:pt x="6284" y="1356"/>
                  </a:cubicBezTo>
                  <a:lnTo>
                    <a:pt x="6284" y="7795"/>
                  </a:lnTo>
                  <a:lnTo>
                    <a:pt x="5198" y="7795"/>
                  </a:lnTo>
                  <a:lnTo>
                    <a:pt x="5198" y="1585"/>
                  </a:lnTo>
                  <a:cubicBezTo>
                    <a:pt x="5198" y="1199"/>
                    <a:pt x="5013" y="1028"/>
                    <a:pt x="4684" y="1028"/>
                  </a:cubicBezTo>
                  <a:cubicBezTo>
                    <a:pt x="4385" y="1028"/>
                    <a:pt x="4070" y="1142"/>
                    <a:pt x="3685" y="1413"/>
                  </a:cubicBezTo>
                  <a:lnTo>
                    <a:pt x="3685" y="7795"/>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endParaRPr lang="en-US"/>
            </a:p>
          </p:txBody>
        </p:sp>
        <p:sp>
          <p:nvSpPr>
            <p:cNvPr id="11" name="Freeform 5">
              <a:extLst>
                <a:ext uri="{FF2B5EF4-FFF2-40B4-BE49-F238E27FC236}">
                  <a16:creationId xmlns:a16="http://schemas.microsoft.com/office/drawing/2014/main" id="{65D76B7A-D16B-7737-50A0-A44B46BD9B56}"/>
                </a:ext>
              </a:extLst>
            </p:cNvPr>
            <p:cNvSpPr>
              <a:spLocks noChangeArrowheads="1"/>
            </p:cNvSpPr>
            <p:nvPr/>
          </p:nvSpPr>
          <p:spPr bwMode="auto">
            <a:xfrm>
              <a:off x="14288" y="2322513"/>
              <a:ext cx="1004887" cy="2274887"/>
            </a:xfrm>
            <a:custGeom>
              <a:avLst/>
              <a:gdLst>
                <a:gd name="T0" fmla="*/ 1004527 w 2790"/>
                <a:gd name="T1" fmla="*/ 0 h 6317"/>
                <a:gd name="T2" fmla="*/ 1004527 w 2790"/>
                <a:gd name="T3" fmla="*/ 510652 h 6317"/>
                <a:gd name="T4" fmla="*/ 346488 w 2790"/>
                <a:gd name="T5" fmla="*/ 1137624 h 6317"/>
                <a:gd name="T6" fmla="*/ 1004527 w 2790"/>
                <a:gd name="T7" fmla="*/ 1752711 h 6317"/>
                <a:gd name="T8" fmla="*/ 1004527 w 2790"/>
                <a:gd name="T9" fmla="*/ 2274527 h 6317"/>
                <a:gd name="T10" fmla="*/ 0 w 2790"/>
                <a:gd name="T11" fmla="*/ 1331009 h 6317"/>
                <a:gd name="T12" fmla="*/ 0 w 2790"/>
                <a:gd name="T13" fmla="*/ 955042 h 6317"/>
                <a:gd name="T14" fmla="*/ 1004527 w 2790"/>
                <a:gd name="T15" fmla="*/ 0 h 6317"/>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2790" h="6317">
                  <a:moveTo>
                    <a:pt x="2789" y="0"/>
                  </a:moveTo>
                  <a:lnTo>
                    <a:pt x="2789" y="1418"/>
                  </a:lnTo>
                  <a:lnTo>
                    <a:pt x="962" y="3159"/>
                  </a:lnTo>
                  <a:lnTo>
                    <a:pt x="2789" y="4867"/>
                  </a:lnTo>
                  <a:lnTo>
                    <a:pt x="2789" y="6316"/>
                  </a:lnTo>
                  <a:lnTo>
                    <a:pt x="0" y="3696"/>
                  </a:lnTo>
                  <a:lnTo>
                    <a:pt x="0" y="2652"/>
                  </a:lnTo>
                  <a:lnTo>
                    <a:pt x="2789"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endParaRPr lang="en-US"/>
            </a:p>
          </p:txBody>
        </p:sp>
        <p:sp>
          <p:nvSpPr>
            <p:cNvPr id="12" name="Freeform 6">
              <a:extLst>
                <a:ext uri="{FF2B5EF4-FFF2-40B4-BE49-F238E27FC236}">
                  <a16:creationId xmlns:a16="http://schemas.microsoft.com/office/drawing/2014/main" id="{D1FA05E7-D7F7-8B9C-2EEB-50EDDF1B4CE3}"/>
                </a:ext>
              </a:extLst>
            </p:cNvPr>
            <p:cNvSpPr>
              <a:spLocks noChangeArrowheads="1"/>
            </p:cNvSpPr>
            <p:nvPr/>
          </p:nvSpPr>
          <p:spPr bwMode="auto">
            <a:xfrm>
              <a:off x="9050338" y="2322513"/>
              <a:ext cx="1003300" cy="2274887"/>
            </a:xfrm>
            <a:custGeom>
              <a:avLst/>
              <a:gdLst>
                <a:gd name="T0" fmla="*/ 1002940 w 2789"/>
                <a:gd name="T1" fmla="*/ 955042 h 6317"/>
                <a:gd name="T2" fmla="*/ 1002940 w 2789"/>
                <a:gd name="T3" fmla="*/ 1331009 h 6317"/>
                <a:gd name="T4" fmla="*/ 0 w 2789"/>
                <a:gd name="T5" fmla="*/ 2274527 h 6317"/>
                <a:gd name="T6" fmla="*/ 0 w 2789"/>
                <a:gd name="T7" fmla="*/ 1752711 h 6317"/>
                <a:gd name="T8" fmla="*/ 656876 w 2789"/>
                <a:gd name="T9" fmla="*/ 1137624 h 6317"/>
                <a:gd name="T10" fmla="*/ 0 w 2789"/>
                <a:gd name="T11" fmla="*/ 510652 h 6317"/>
                <a:gd name="T12" fmla="*/ 0 w 2789"/>
                <a:gd name="T13" fmla="*/ 0 h 6317"/>
                <a:gd name="T14" fmla="*/ 1002940 w 2789"/>
                <a:gd name="T15" fmla="*/ 955042 h 6317"/>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2789" h="6317">
                  <a:moveTo>
                    <a:pt x="2788" y="2652"/>
                  </a:moveTo>
                  <a:lnTo>
                    <a:pt x="2788" y="3696"/>
                  </a:lnTo>
                  <a:lnTo>
                    <a:pt x="0" y="6316"/>
                  </a:lnTo>
                  <a:lnTo>
                    <a:pt x="0" y="4867"/>
                  </a:lnTo>
                  <a:lnTo>
                    <a:pt x="1826" y="3159"/>
                  </a:lnTo>
                  <a:lnTo>
                    <a:pt x="0" y="1418"/>
                  </a:lnTo>
                  <a:lnTo>
                    <a:pt x="0" y="0"/>
                  </a:lnTo>
                  <a:lnTo>
                    <a:pt x="2788" y="2652"/>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endParaRPr lang="en-US"/>
            </a:p>
          </p:txBody>
        </p:sp>
      </p:grpSp>
      <p:sp>
        <p:nvSpPr>
          <p:cNvPr id="13" name="Footer Placeholder 14">
            <a:extLst>
              <a:ext uri="{FF2B5EF4-FFF2-40B4-BE49-F238E27FC236}">
                <a16:creationId xmlns:a16="http://schemas.microsoft.com/office/drawing/2014/main" id="{229943D8-ECFD-4D7E-FE44-13F52620BA7C}"/>
              </a:ext>
            </a:extLst>
          </p:cNvPr>
          <p:cNvSpPr txBox="1">
            <a:spLocks/>
          </p:cNvSpPr>
          <p:nvPr userDrawn="1"/>
        </p:nvSpPr>
        <p:spPr>
          <a:xfrm>
            <a:off x="1205299" y="6410231"/>
            <a:ext cx="2157779" cy="228599"/>
          </a:xfrm>
          <a:prstGeom prst="rect">
            <a:avLst/>
          </a:prstGeom>
        </p:spPr>
        <p:txBody>
          <a:bodyPr vert="horz" lIns="0" tIns="0" rIns="0" bIns="0" rtlCol="0" anchor="ctr"/>
          <a:lstStyle>
            <a:defPPr>
              <a:defRPr lang="en-US"/>
            </a:defPPr>
            <a:lvl1pPr marL="0" algn="r" defTabSz="914400" rtl="0" eaLnBrk="1" latinLnBrk="0" hangingPunct="1">
              <a:defRPr sz="600" b="0" i="0" kern="1200">
                <a:solidFill>
                  <a:schemeClr val="tx1"/>
                </a:solidFill>
                <a:latin typeface="+mn-lt"/>
                <a:ea typeface="Calibri" panose="020F0502020204030204" pitchFamily="34" charset="0"/>
                <a:cs typeface="Calibri" panose="020F050202020403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b="0" i="0">
                <a:solidFill>
                  <a:schemeClr val="tx1"/>
                </a:solidFill>
                <a:latin typeface="+mn-lt"/>
              </a:rPr>
              <a:t>EPAM Proprietary &amp; Confidential</a:t>
            </a:r>
            <a:r>
              <a:rPr lang="ru-RU" b="0" i="0">
                <a:solidFill>
                  <a:schemeClr val="tx1"/>
                </a:solidFill>
                <a:latin typeface="+mn-lt"/>
              </a:rPr>
              <a:t> </a:t>
            </a:r>
            <a:endParaRPr lang="en-US" b="0" i="0">
              <a:solidFill>
                <a:schemeClr val="tx1"/>
              </a:solidFill>
              <a:latin typeface="+mn-lt"/>
            </a:endParaRPr>
          </a:p>
        </p:txBody>
      </p:sp>
    </p:spTree>
    <p:extLst>
      <p:ext uri="{BB962C8B-B14F-4D97-AF65-F5344CB8AC3E}">
        <p14:creationId xmlns:p14="http://schemas.microsoft.com/office/powerpoint/2010/main" val="2027172375"/>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Case Study - Light_Left - 1/3">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263D721A-127A-4DBE-B738-ABA4893319BC}"/>
              </a:ext>
            </a:extLst>
          </p:cNvPr>
          <p:cNvSpPr/>
          <p:nvPr userDrawn="1"/>
        </p:nvSpPr>
        <p:spPr bwMode="auto">
          <a:xfrm>
            <a:off x="0" y="0"/>
            <a:ext cx="2378075" cy="6858000"/>
          </a:xfrm>
          <a:prstGeom prst="rect">
            <a:avLst/>
          </a:prstGeom>
          <a:solidFill>
            <a:schemeClr val="bg1">
              <a:lumMod val="95000"/>
            </a:schemeClr>
          </a:solidFill>
          <a:ln>
            <a:noFill/>
          </a:ln>
          <a:effectLst/>
        </p:spPr>
        <p:txBody>
          <a:bodyPr wrap="none" rtlCol="0" anchor="ctr"/>
          <a:lstStyle/>
          <a:p>
            <a:pPr algn="ctr"/>
            <a:endParaRPr lang="en-US" sz="2400" err="1">
              <a:solidFill>
                <a:schemeClr val="bg1"/>
              </a:solidFill>
              <a:latin typeface="Calibri Light" panose="020F0302020204030204" pitchFamily="34" charset="0"/>
              <a:ea typeface="Human Sans ExtraLight" charset="0"/>
              <a:cs typeface="Human Sans ExtraLight" charset="0"/>
            </a:endParaRPr>
          </a:p>
        </p:txBody>
      </p:sp>
      <p:sp>
        <p:nvSpPr>
          <p:cNvPr id="5" name="Title 1">
            <a:extLst>
              <a:ext uri="{FF2B5EF4-FFF2-40B4-BE49-F238E27FC236}">
                <a16:creationId xmlns:a16="http://schemas.microsoft.com/office/drawing/2014/main" id="{A89C1B26-E14B-2E25-88BA-71C46492454A}"/>
              </a:ext>
            </a:extLst>
          </p:cNvPr>
          <p:cNvSpPr>
            <a:spLocks noGrp="1"/>
          </p:cNvSpPr>
          <p:nvPr>
            <p:ph type="title"/>
          </p:nvPr>
        </p:nvSpPr>
        <p:spPr>
          <a:xfrm>
            <a:off x="4351341" y="1600200"/>
            <a:ext cx="4797425" cy="338554"/>
          </a:xfrm>
          <a:prstGeom prst="rect">
            <a:avLst/>
          </a:prstGeom>
        </p:spPr>
        <p:txBody>
          <a:bodyPr>
            <a:spAutoFit/>
          </a:bodyPr>
          <a:lstStyle>
            <a:lvl1pPr>
              <a:defRPr sz="2200" b="1" i="0">
                <a:solidFill>
                  <a:schemeClr val="tx1"/>
                </a:solidFill>
                <a:latin typeface="Calibri" panose="020F0502020204030204" pitchFamily="34" charset="0"/>
                <a:cs typeface="Calibri" panose="020F0502020204030204" pitchFamily="34" charset="0"/>
              </a:defRPr>
            </a:lvl1pPr>
          </a:lstStyle>
          <a:p>
            <a:r>
              <a:rPr lang="en-US"/>
              <a:t>Click to edit Master title style</a:t>
            </a:r>
          </a:p>
        </p:txBody>
      </p:sp>
      <p:sp>
        <p:nvSpPr>
          <p:cNvPr id="6" name="Text Placeholder 2">
            <a:extLst>
              <a:ext uri="{FF2B5EF4-FFF2-40B4-BE49-F238E27FC236}">
                <a16:creationId xmlns:a16="http://schemas.microsoft.com/office/drawing/2014/main" id="{77C163D7-2A38-9319-D390-FCAAEBA5DF3D}"/>
              </a:ext>
            </a:extLst>
          </p:cNvPr>
          <p:cNvSpPr>
            <a:spLocks noGrp="1"/>
          </p:cNvSpPr>
          <p:nvPr>
            <p:ph type="body" sz="quarter" idx="17" hasCustomPrompt="1"/>
          </p:nvPr>
        </p:nvSpPr>
        <p:spPr>
          <a:xfrm>
            <a:off x="4363914" y="2286000"/>
            <a:ext cx="4784852" cy="3657600"/>
          </a:xfrm>
          <a:prstGeom prst="rect">
            <a:avLst/>
          </a:prstGeom>
        </p:spPr>
        <p:txBody>
          <a:bodyPr/>
          <a:lstStyle>
            <a:lvl1pPr>
              <a:lnSpc>
                <a:spcPts val="2000"/>
              </a:lnSpc>
              <a:defRPr sz="1400" b="0" i="0">
                <a:solidFill>
                  <a:schemeClr val="tx1"/>
                </a:solidFill>
                <a:latin typeface="Calibri Light" panose="020F0302020204030204" pitchFamily="34" charset="0"/>
                <a:cs typeface="Calibri Light" panose="020F0302020204030204" pitchFamily="34" charset="0"/>
              </a:defRPr>
            </a:lvl1pPr>
            <a:lvl2pPr>
              <a:buNone/>
              <a:defRPr/>
            </a:lvl2pPr>
            <a:lvl3pPr>
              <a:buNone/>
              <a:defRPr/>
            </a:lvl3pPr>
          </a:lstStyle>
          <a:p>
            <a:pPr lvl="0"/>
            <a:r>
              <a:rPr lang="en-US"/>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p:txBody>
      </p:sp>
      <p:grpSp>
        <p:nvGrpSpPr>
          <p:cNvPr id="7" name="Group 6">
            <a:extLst>
              <a:ext uri="{FF2B5EF4-FFF2-40B4-BE49-F238E27FC236}">
                <a16:creationId xmlns:a16="http://schemas.microsoft.com/office/drawing/2014/main" id="{8EBA63CB-00C8-A226-91E1-9B1BAD3E7C3F}"/>
              </a:ext>
            </a:extLst>
          </p:cNvPr>
          <p:cNvGrpSpPr/>
          <p:nvPr userDrawn="1"/>
        </p:nvGrpSpPr>
        <p:grpSpPr>
          <a:xfrm>
            <a:off x="611054" y="6471298"/>
            <a:ext cx="372834" cy="131175"/>
            <a:chOff x="14288" y="2035175"/>
            <a:chExt cx="10039350" cy="3532188"/>
          </a:xfrm>
          <a:solidFill>
            <a:schemeClr val="tx1"/>
          </a:solidFill>
        </p:grpSpPr>
        <p:sp>
          <p:nvSpPr>
            <p:cNvPr id="8" name="Freeform 1">
              <a:extLst>
                <a:ext uri="{FF2B5EF4-FFF2-40B4-BE49-F238E27FC236}">
                  <a16:creationId xmlns:a16="http://schemas.microsoft.com/office/drawing/2014/main" id="{E458C1C3-1852-F3BF-CC87-15B596B81DCE}"/>
                </a:ext>
              </a:extLst>
            </p:cNvPr>
            <p:cNvSpPr>
              <a:spLocks noChangeArrowheads="1"/>
            </p:cNvSpPr>
            <p:nvPr/>
          </p:nvSpPr>
          <p:spPr bwMode="auto">
            <a:xfrm>
              <a:off x="1519238" y="2035175"/>
              <a:ext cx="1336675" cy="2836863"/>
            </a:xfrm>
            <a:custGeom>
              <a:avLst/>
              <a:gdLst>
                <a:gd name="T0" fmla="*/ 390493 w 3714"/>
                <a:gd name="T1" fmla="*/ 1200682 h 7882"/>
                <a:gd name="T2" fmla="*/ 945462 w 3714"/>
                <a:gd name="T3" fmla="*/ 1200682 h 7882"/>
                <a:gd name="T4" fmla="*/ 945462 w 3714"/>
                <a:gd name="T5" fmla="*/ 611498 h 7882"/>
                <a:gd name="T6" fmla="*/ 698929 w 3714"/>
                <a:gd name="T7" fmla="*/ 364596 h 7882"/>
                <a:gd name="T8" fmla="*/ 637386 w 3714"/>
                <a:gd name="T9" fmla="*/ 364596 h 7882"/>
                <a:gd name="T10" fmla="*/ 390493 w 3714"/>
                <a:gd name="T11" fmla="*/ 611498 h 7882"/>
                <a:gd name="T12" fmla="*/ 390493 w 3714"/>
                <a:gd name="T13" fmla="*/ 1200682 h 7882"/>
                <a:gd name="T14" fmla="*/ 389414 w 3714"/>
                <a:gd name="T15" fmla="*/ 1576795 h 7882"/>
                <a:gd name="T16" fmla="*/ 390493 w 3714"/>
                <a:gd name="T17" fmla="*/ 2224645 h 7882"/>
                <a:gd name="T18" fmla="*/ 637386 w 3714"/>
                <a:gd name="T19" fmla="*/ 2471548 h 7882"/>
                <a:gd name="T20" fmla="*/ 709366 w 3714"/>
                <a:gd name="T21" fmla="*/ 2471548 h 7882"/>
                <a:gd name="T22" fmla="*/ 955899 w 3714"/>
                <a:gd name="T23" fmla="*/ 2224645 h 7882"/>
                <a:gd name="T24" fmla="*/ 955899 w 3714"/>
                <a:gd name="T25" fmla="*/ 1906119 h 7882"/>
                <a:gd name="T26" fmla="*/ 1336315 w 3714"/>
                <a:gd name="T27" fmla="*/ 1906119 h 7882"/>
                <a:gd name="T28" fmla="*/ 1336315 w 3714"/>
                <a:gd name="T29" fmla="*/ 2209528 h 7882"/>
                <a:gd name="T30" fmla="*/ 709366 w 3714"/>
                <a:gd name="T31" fmla="*/ 2836503 h 7882"/>
                <a:gd name="T32" fmla="*/ 626949 w 3714"/>
                <a:gd name="T33" fmla="*/ 2836503 h 7882"/>
                <a:gd name="T34" fmla="*/ 0 w 3714"/>
                <a:gd name="T35" fmla="*/ 2258117 h 7882"/>
                <a:gd name="T36" fmla="*/ 0 w 3714"/>
                <a:gd name="T37" fmla="*/ 675564 h 7882"/>
                <a:gd name="T38" fmla="*/ 626949 w 3714"/>
                <a:gd name="T39" fmla="*/ 0 h 7882"/>
                <a:gd name="T40" fmla="*/ 709366 w 3714"/>
                <a:gd name="T41" fmla="*/ 0 h 7882"/>
                <a:gd name="T42" fmla="*/ 1336315 w 3714"/>
                <a:gd name="T43" fmla="*/ 626975 h 7882"/>
                <a:gd name="T44" fmla="*/ 1334875 w 3714"/>
                <a:gd name="T45" fmla="*/ 1576795 h 7882"/>
                <a:gd name="T46" fmla="*/ 389414 w 3714"/>
                <a:gd name="T47" fmla="*/ 1576795 h 7882"/>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3714" h="7882">
                  <a:moveTo>
                    <a:pt x="1085" y="3336"/>
                  </a:moveTo>
                  <a:lnTo>
                    <a:pt x="2627" y="3336"/>
                  </a:lnTo>
                  <a:lnTo>
                    <a:pt x="2627" y="1699"/>
                  </a:lnTo>
                  <a:cubicBezTo>
                    <a:pt x="2627" y="1242"/>
                    <a:pt x="2399" y="1013"/>
                    <a:pt x="1942" y="1013"/>
                  </a:cubicBezTo>
                  <a:lnTo>
                    <a:pt x="1771" y="1013"/>
                  </a:lnTo>
                  <a:cubicBezTo>
                    <a:pt x="1314" y="1013"/>
                    <a:pt x="1085" y="1242"/>
                    <a:pt x="1085" y="1699"/>
                  </a:cubicBezTo>
                  <a:lnTo>
                    <a:pt x="1085" y="3336"/>
                  </a:lnTo>
                  <a:close/>
                  <a:moveTo>
                    <a:pt x="1082" y="4381"/>
                  </a:moveTo>
                  <a:lnTo>
                    <a:pt x="1085" y="6181"/>
                  </a:lnTo>
                  <a:cubicBezTo>
                    <a:pt x="1085" y="6638"/>
                    <a:pt x="1314" y="6867"/>
                    <a:pt x="1771" y="6867"/>
                  </a:cubicBezTo>
                  <a:lnTo>
                    <a:pt x="1971" y="6867"/>
                  </a:lnTo>
                  <a:cubicBezTo>
                    <a:pt x="2428" y="6867"/>
                    <a:pt x="2656" y="6638"/>
                    <a:pt x="2656" y="6181"/>
                  </a:cubicBezTo>
                  <a:lnTo>
                    <a:pt x="2656" y="5296"/>
                  </a:lnTo>
                  <a:lnTo>
                    <a:pt x="3713" y="5296"/>
                  </a:lnTo>
                  <a:lnTo>
                    <a:pt x="3713" y="6139"/>
                  </a:lnTo>
                  <a:cubicBezTo>
                    <a:pt x="3713" y="7295"/>
                    <a:pt x="3127" y="7881"/>
                    <a:pt x="1971" y="7881"/>
                  </a:cubicBezTo>
                  <a:lnTo>
                    <a:pt x="1742" y="7881"/>
                  </a:lnTo>
                  <a:cubicBezTo>
                    <a:pt x="585" y="7881"/>
                    <a:pt x="0" y="7295"/>
                    <a:pt x="0" y="6274"/>
                  </a:cubicBezTo>
                  <a:lnTo>
                    <a:pt x="0" y="1877"/>
                  </a:lnTo>
                  <a:cubicBezTo>
                    <a:pt x="0" y="585"/>
                    <a:pt x="585" y="0"/>
                    <a:pt x="1742" y="0"/>
                  </a:cubicBezTo>
                  <a:lnTo>
                    <a:pt x="1971" y="0"/>
                  </a:lnTo>
                  <a:cubicBezTo>
                    <a:pt x="3127" y="0"/>
                    <a:pt x="3713" y="585"/>
                    <a:pt x="3713" y="1742"/>
                  </a:cubicBezTo>
                  <a:lnTo>
                    <a:pt x="3709" y="4381"/>
                  </a:lnTo>
                  <a:lnTo>
                    <a:pt x="1082" y="4381"/>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endParaRPr lang="en-US"/>
            </a:p>
          </p:txBody>
        </p:sp>
        <p:sp>
          <p:nvSpPr>
            <p:cNvPr id="18" name="Freeform 2">
              <a:extLst>
                <a:ext uri="{FF2B5EF4-FFF2-40B4-BE49-F238E27FC236}">
                  <a16:creationId xmlns:a16="http://schemas.microsoft.com/office/drawing/2014/main" id="{40B888D8-4190-94A3-FB87-97E4B115DB6A}"/>
                </a:ext>
              </a:extLst>
            </p:cNvPr>
            <p:cNvSpPr>
              <a:spLocks noChangeArrowheads="1"/>
            </p:cNvSpPr>
            <p:nvPr/>
          </p:nvSpPr>
          <p:spPr bwMode="auto">
            <a:xfrm>
              <a:off x="3109913" y="2035175"/>
              <a:ext cx="1368425" cy="3532188"/>
            </a:xfrm>
            <a:custGeom>
              <a:avLst/>
              <a:gdLst>
                <a:gd name="T0" fmla="*/ 390721 w 3800"/>
                <a:gd name="T1" fmla="*/ 2322993 h 9812"/>
                <a:gd name="T2" fmla="*/ 750833 w 3800"/>
                <a:gd name="T3" fmla="*/ 2466628 h 9812"/>
                <a:gd name="T4" fmla="*/ 976983 w 3800"/>
                <a:gd name="T5" fmla="*/ 2240556 h 9812"/>
                <a:gd name="T6" fmla="*/ 976983 w 3800"/>
                <a:gd name="T7" fmla="*/ 596138 h 9812"/>
                <a:gd name="T8" fmla="*/ 750833 w 3800"/>
                <a:gd name="T9" fmla="*/ 370066 h 9812"/>
                <a:gd name="T10" fmla="*/ 390721 w 3800"/>
                <a:gd name="T11" fmla="*/ 514061 h 9812"/>
                <a:gd name="T12" fmla="*/ 390721 w 3800"/>
                <a:gd name="T13" fmla="*/ 2322993 h 9812"/>
                <a:gd name="T14" fmla="*/ 0 w 3800"/>
                <a:gd name="T15" fmla="*/ 30599 h 9812"/>
                <a:gd name="T16" fmla="*/ 390721 w 3800"/>
                <a:gd name="T17" fmla="*/ 30599 h 9812"/>
                <a:gd name="T18" fmla="*/ 390721 w 3800"/>
                <a:gd name="T19" fmla="*/ 210592 h 9812"/>
                <a:gd name="T20" fmla="*/ 868950 w 3800"/>
                <a:gd name="T21" fmla="*/ 0 h 9812"/>
                <a:gd name="T22" fmla="*/ 1368065 w 3800"/>
                <a:gd name="T23" fmla="*/ 549699 h 9812"/>
                <a:gd name="T24" fmla="*/ 1368065 w 3800"/>
                <a:gd name="T25" fmla="*/ 2286995 h 9812"/>
                <a:gd name="T26" fmla="*/ 868950 w 3800"/>
                <a:gd name="T27" fmla="*/ 2837054 h 9812"/>
                <a:gd name="T28" fmla="*/ 390721 w 3800"/>
                <a:gd name="T29" fmla="*/ 2636541 h 9812"/>
                <a:gd name="T30" fmla="*/ 390721 w 3800"/>
                <a:gd name="T31" fmla="*/ 3531828 h 9812"/>
                <a:gd name="T32" fmla="*/ 0 w 3800"/>
                <a:gd name="T33" fmla="*/ 3531828 h 9812"/>
                <a:gd name="T34" fmla="*/ 0 w 3800"/>
                <a:gd name="T35" fmla="*/ 30599 h 9812"/>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3800" h="9812">
                  <a:moveTo>
                    <a:pt x="1085" y="6453"/>
                  </a:moveTo>
                  <a:cubicBezTo>
                    <a:pt x="1385" y="6710"/>
                    <a:pt x="1728" y="6852"/>
                    <a:pt x="2085" y="6852"/>
                  </a:cubicBezTo>
                  <a:cubicBezTo>
                    <a:pt x="2485" y="6852"/>
                    <a:pt x="2713" y="6667"/>
                    <a:pt x="2713" y="6224"/>
                  </a:cubicBezTo>
                  <a:lnTo>
                    <a:pt x="2713" y="1656"/>
                  </a:lnTo>
                  <a:cubicBezTo>
                    <a:pt x="2713" y="1213"/>
                    <a:pt x="2485" y="1028"/>
                    <a:pt x="2085" y="1028"/>
                  </a:cubicBezTo>
                  <a:cubicBezTo>
                    <a:pt x="1728" y="1028"/>
                    <a:pt x="1385" y="1170"/>
                    <a:pt x="1085" y="1428"/>
                  </a:cubicBezTo>
                  <a:lnTo>
                    <a:pt x="1085" y="6453"/>
                  </a:lnTo>
                  <a:close/>
                  <a:moveTo>
                    <a:pt x="0" y="85"/>
                  </a:moveTo>
                  <a:lnTo>
                    <a:pt x="1085" y="85"/>
                  </a:lnTo>
                  <a:lnTo>
                    <a:pt x="1085" y="585"/>
                  </a:lnTo>
                  <a:cubicBezTo>
                    <a:pt x="1342" y="314"/>
                    <a:pt x="1785" y="0"/>
                    <a:pt x="2413" y="0"/>
                  </a:cubicBezTo>
                  <a:cubicBezTo>
                    <a:pt x="3342" y="0"/>
                    <a:pt x="3799" y="614"/>
                    <a:pt x="3799" y="1527"/>
                  </a:cubicBezTo>
                  <a:lnTo>
                    <a:pt x="3799" y="6353"/>
                  </a:lnTo>
                  <a:cubicBezTo>
                    <a:pt x="3799" y="7267"/>
                    <a:pt x="3342" y="7881"/>
                    <a:pt x="2413" y="7881"/>
                  </a:cubicBezTo>
                  <a:cubicBezTo>
                    <a:pt x="1785" y="7881"/>
                    <a:pt x="1342" y="7581"/>
                    <a:pt x="1085" y="7324"/>
                  </a:cubicBezTo>
                  <a:lnTo>
                    <a:pt x="1085" y="9811"/>
                  </a:lnTo>
                  <a:lnTo>
                    <a:pt x="0" y="9811"/>
                  </a:lnTo>
                  <a:lnTo>
                    <a:pt x="0" y="85"/>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endParaRPr lang="en-US"/>
            </a:p>
          </p:txBody>
        </p:sp>
        <p:sp>
          <p:nvSpPr>
            <p:cNvPr id="20" name="Freeform 3">
              <a:extLst>
                <a:ext uri="{FF2B5EF4-FFF2-40B4-BE49-F238E27FC236}">
                  <a16:creationId xmlns:a16="http://schemas.microsoft.com/office/drawing/2014/main" id="{E8A5F0B3-852B-EA59-79AA-2D8233351D2D}"/>
                </a:ext>
              </a:extLst>
            </p:cNvPr>
            <p:cNvSpPr>
              <a:spLocks noChangeArrowheads="1"/>
            </p:cNvSpPr>
            <p:nvPr/>
          </p:nvSpPr>
          <p:spPr bwMode="auto">
            <a:xfrm>
              <a:off x="4711700" y="2035175"/>
              <a:ext cx="1328738" cy="2836863"/>
            </a:xfrm>
            <a:custGeom>
              <a:avLst/>
              <a:gdLst>
                <a:gd name="T0" fmla="*/ 937679 w 3690"/>
                <a:gd name="T1" fmla="*/ 2338019 h 7882"/>
                <a:gd name="T2" fmla="*/ 937679 w 3690"/>
                <a:gd name="T3" fmla="*/ 1422750 h 7882"/>
                <a:gd name="T4" fmla="*/ 582988 w 3690"/>
                <a:gd name="T5" fmla="*/ 1556999 h 7882"/>
                <a:gd name="T6" fmla="*/ 392500 w 3690"/>
                <a:gd name="T7" fmla="*/ 1844573 h 7882"/>
                <a:gd name="T8" fmla="*/ 392500 w 3690"/>
                <a:gd name="T9" fmla="*/ 2266035 h 7882"/>
                <a:gd name="T10" fmla="*/ 582988 w 3690"/>
                <a:gd name="T11" fmla="*/ 2466149 h 7882"/>
                <a:gd name="T12" fmla="*/ 937679 w 3690"/>
                <a:gd name="T13" fmla="*/ 2338019 h 7882"/>
                <a:gd name="T14" fmla="*/ 2161 w 3690"/>
                <a:gd name="T15" fmla="*/ 1839174 h 7882"/>
                <a:gd name="T16" fmla="*/ 413025 w 3690"/>
                <a:gd name="T17" fmla="*/ 1253950 h 7882"/>
                <a:gd name="T18" fmla="*/ 937679 w 3690"/>
                <a:gd name="T19" fmla="*/ 1073991 h 7882"/>
                <a:gd name="T20" fmla="*/ 937679 w 3690"/>
                <a:gd name="T21" fmla="*/ 611498 h 7882"/>
                <a:gd name="T22" fmla="*/ 690656 w 3690"/>
                <a:gd name="T23" fmla="*/ 359557 h 7882"/>
                <a:gd name="T24" fmla="*/ 627280 w 3690"/>
                <a:gd name="T25" fmla="*/ 359557 h 7882"/>
                <a:gd name="T26" fmla="*/ 380257 w 3690"/>
                <a:gd name="T27" fmla="*/ 611498 h 7882"/>
                <a:gd name="T28" fmla="*/ 380257 w 3690"/>
                <a:gd name="T29" fmla="*/ 1004527 h 7882"/>
                <a:gd name="T30" fmla="*/ 0 w 3690"/>
                <a:gd name="T31" fmla="*/ 1004527 h 7882"/>
                <a:gd name="T32" fmla="*/ 0 w 3690"/>
                <a:gd name="T33" fmla="*/ 626975 h 7882"/>
                <a:gd name="T34" fmla="*/ 627280 w 3690"/>
                <a:gd name="T35" fmla="*/ 0 h 7882"/>
                <a:gd name="T36" fmla="*/ 701098 w 3690"/>
                <a:gd name="T37" fmla="*/ 0 h 7882"/>
                <a:gd name="T38" fmla="*/ 1328378 w 3690"/>
                <a:gd name="T39" fmla="*/ 626975 h 7882"/>
                <a:gd name="T40" fmla="*/ 1328378 w 3690"/>
                <a:gd name="T41" fmla="*/ 2805550 h 7882"/>
                <a:gd name="T42" fmla="*/ 937679 w 3690"/>
                <a:gd name="T43" fmla="*/ 2805550 h 7882"/>
                <a:gd name="T44" fmla="*/ 937679 w 3690"/>
                <a:gd name="T45" fmla="*/ 2630631 h 7882"/>
                <a:gd name="T46" fmla="*/ 459477 w 3690"/>
                <a:gd name="T47" fmla="*/ 2836503 h 7882"/>
                <a:gd name="T48" fmla="*/ 2161 w 3690"/>
                <a:gd name="T49" fmla="*/ 2348096 h 7882"/>
                <a:gd name="T50" fmla="*/ 2161 w 3690"/>
                <a:gd name="T51" fmla="*/ 1839174 h 7882"/>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3690" h="7882">
                  <a:moveTo>
                    <a:pt x="2604" y="6496"/>
                  </a:moveTo>
                  <a:lnTo>
                    <a:pt x="2604" y="3953"/>
                  </a:lnTo>
                  <a:lnTo>
                    <a:pt x="1619" y="4326"/>
                  </a:lnTo>
                  <a:cubicBezTo>
                    <a:pt x="1219" y="4483"/>
                    <a:pt x="1090" y="4683"/>
                    <a:pt x="1090" y="5125"/>
                  </a:cubicBezTo>
                  <a:lnTo>
                    <a:pt x="1090" y="6296"/>
                  </a:lnTo>
                  <a:cubicBezTo>
                    <a:pt x="1090" y="6667"/>
                    <a:pt x="1276" y="6852"/>
                    <a:pt x="1619" y="6852"/>
                  </a:cubicBezTo>
                  <a:cubicBezTo>
                    <a:pt x="1947" y="6852"/>
                    <a:pt x="2247" y="6738"/>
                    <a:pt x="2604" y="6496"/>
                  </a:cubicBezTo>
                  <a:close/>
                  <a:moveTo>
                    <a:pt x="6" y="5110"/>
                  </a:moveTo>
                  <a:cubicBezTo>
                    <a:pt x="6" y="4155"/>
                    <a:pt x="320" y="3769"/>
                    <a:pt x="1147" y="3484"/>
                  </a:cubicBezTo>
                  <a:lnTo>
                    <a:pt x="2604" y="2984"/>
                  </a:lnTo>
                  <a:lnTo>
                    <a:pt x="2604" y="1699"/>
                  </a:lnTo>
                  <a:cubicBezTo>
                    <a:pt x="2604" y="1242"/>
                    <a:pt x="2375" y="999"/>
                    <a:pt x="1918" y="999"/>
                  </a:cubicBezTo>
                  <a:lnTo>
                    <a:pt x="1742" y="999"/>
                  </a:lnTo>
                  <a:cubicBezTo>
                    <a:pt x="1285" y="999"/>
                    <a:pt x="1056" y="1242"/>
                    <a:pt x="1056" y="1699"/>
                  </a:cubicBezTo>
                  <a:lnTo>
                    <a:pt x="1056" y="2791"/>
                  </a:lnTo>
                  <a:lnTo>
                    <a:pt x="0" y="2791"/>
                  </a:lnTo>
                  <a:lnTo>
                    <a:pt x="0" y="1742"/>
                  </a:lnTo>
                  <a:cubicBezTo>
                    <a:pt x="0" y="585"/>
                    <a:pt x="586" y="0"/>
                    <a:pt x="1742" y="0"/>
                  </a:cubicBezTo>
                  <a:lnTo>
                    <a:pt x="1947" y="0"/>
                  </a:lnTo>
                  <a:cubicBezTo>
                    <a:pt x="3104" y="0"/>
                    <a:pt x="3689" y="585"/>
                    <a:pt x="3689" y="1742"/>
                  </a:cubicBezTo>
                  <a:lnTo>
                    <a:pt x="3689" y="7795"/>
                  </a:lnTo>
                  <a:lnTo>
                    <a:pt x="2604" y="7795"/>
                  </a:lnTo>
                  <a:lnTo>
                    <a:pt x="2604" y="7309"/>
                  </a:lnTo>
                  <a:cubicBezTo>
                    <a:pt x="2304" y="7595"/>
                    <a:pt x="1904" y="7881"/>
                    <a:pt x="1276" y="7881"/>
                  </a:cubicBezTo>
                  <a:cubicBezTo>
                    <a:pt x="406" y="7881"/>
                    <a:pt x="6" y="7381"/>
                    <a:pt x="6" y="6524"/>
                  </a:cubicBezTo>
                  <a:lnTo>
                    <a:pt x="6" y="5110"/>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endParaRPr lang="en-US"/>
            </a:p>
          </p:txBody>
        </p:sp>
        <p:sp>
          <p:nvSpPr>
            <p:cNvPr id="21" name="Freeform 4">
              <a:extLst>
                <a:ext uri="{FF2B5EF4-FFF2-40B4-BE49-F238E27FC236}">
                  <a16:creationId xmlns:a16="http://schemas.microsoft.com/office/drawing/2014/main" id="{840BD7D7-C406-B27F-70BE-C994462C8306}"/>
                </a:ext>
              </a:extLst>
            </p:cNvPr>
            <p:cNvSpPr>
              <a:spLocks noChangeArrowheads="1"/>
            </p:cNvSpPr>
            <p:nvPr/>
          </p:nvSpPr>
          <p:spPr bwMode="auto">
            <a:xfrm>
              <a:off x="6292850" y="2035175"/>
              <a:ext cx="2262188" cy="2806700"/>
            </a:xfrm>
            <a:custGeom>
              <a:avLst/>
              <a:gdLst>
                <a:gd name="T0" fmla="*/ 1326358 w 6285"/>
                <a:gd name="T1" fmla="*/ 2806340 h 7796"/>
                <a:gd name="T2" fmla="*/ 935470 w 6285"/>
                <a:gd name="T3" fmla="*/ 2806340 h 7796"/>
                <a:gd name="T4" fmla="*/ 935470 w 6285"/>
                <a:gd name="T5" fmla="*/ 570628 h 7796"/>
                <a:gd name="T6" fmla="*/ 750463 w 6285"/>
                <a:gd name="T7" fmla="*/ 370098 h 7796"/>
                <a:gd name="T8" fmla="*/ 390889 w 6285"/>
                <a:gd name="T9" fmla="*/ 508705 h 7796"/>
                <a:gd name="T10" fmla="*/ 390889 w 6285"/>
                <a:gd name="T11" fmla="*/ 2806340 h 7796"/>
                <a:gd name="T12" fmla="*/ 0 w 6285"/>
                <a:gd name="T13" fmla="*/ 2806340 h 7796"/>
                <a:gd name="T14" fmla="*/ 0 w 6285"/>
                <a:gd name="T15" fmla="*/ 30602 h 7796"/>
                <a:gd name="T16" fmla="*/ 390889 w 6285"/>
                <a:gd name="T17" fmla="*/ 30602 h 7796"/>
                <a:gd name="T18" fmla="*/ 390889 w 6285"/>
                <a:gd name="T19" fmla="*/ 210611 h 7796"/>
                <a:gd name="T20" fmla="*/ 868882 w 6285"/>
                <a:gd name="T21" fmla="*/ 0 h 7796"/>
                <a:gd name="T22" fmla="*/ 1274888 w 6285"/>
                <a:gd name="T23" fmla="*/ 226091 h 7796"/>
                <a:gd name="T24" fmla="*/ 1804351 w 6285"/>
                <a:gd name="T25" fmla="*/ 0 h 7796"/>
                <a:gd name="T26" fmla="*/ 2261828 w 6285"/>
                <a:gd name="T27" fmla="*/ 488184 h 7796"/>
                <a:gd name="T28" fmla="*/ 2261828 w 6285"/>
                <a:gd name="T29" fmla="*/ 2806340 h 7796"/>
                <a:gd name="T30" fmla="*/ 1870939 w 6285"/>
                <a:gd name="T31" fmla="*/ 2806340 h 7796"/>
                <a:gd name="T32" fmla="*/ 1870939 w 6285"/>
                <a:gd name="T33" fmla="*/ 570628 h 7796"/>
                <a:gd name="T34" fmla="*/ 1685933 w 6285"/>
                <a:gd name="T35" fmla="*/ 370098 h 7796"/>
                <a:gd name="T36" fmla="*/ 1326358 w 6285"/>
                <a:gd name="T37" fmla="*/ 508705 h 7796"/>
                <a:gd name="T38" fmla="*/ 1326358 w 6285"/>
                <a:gd name="T39" fmla="*/ 2806340 h 779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6285" h="7796">
                  <a:moveTo>
                    <a:pt x="3685" y="7795"/>
                  </a:moveTo>
                  <a:lnTo>
                    <a:pt x="2599" y="7795"/>
                  </a:lnTo>
                  <a:lnTo>
                    <a:pt x="2599" y="1585"/>
                  </a:lnTo>
                  <a:cubicBezTo>
                    <a:pt x="2599" y="1199"/>
                    <a:pt x="2414" y="1028"/>
                    <a:pt x="2085" y="1028"/>
                  </a:cubicBezTo>
                  <a:cubicBezTo>
                    <a:pt x="1785" y="1028"/>
                    <a:pt x="1471" y="1142"/>
                    <a:pt x="1086" y="1413"/>
                  </a:cubicBezTo>
                  <a:lnTo>
                    <a:pt x="1086" y="7795"/>
                  </a:lnTo>
                  <a:lnTo>
                    <a:pt x="0" y="7795"/>
                  </a:lnTo>
                  <a:lnTo>
                    <a:pt x="0" y="85"/>
                  </a:lnTo>
                  <a:lnTo>
                    <a:pt x="1086" y="85"/>
                  </a:lnTo>
                  <a:lnTo>
                    <a:pt x="1086" y="585"/>
                  </a:lnTo>
                  <a:cubicBezTo>
                    <a:pt x="1400" y="285"/>
                    <a:pt x="1814" y="0"/>
                    <a:pt x="2414" y="0"/>
                  </a:cubicBezTo>
                  <a:cubicBezTo>
                    <a:pt x="2971" y="0"/>
                    <a:pt x="3342" y="228"/>
                    <a:pt x="3542" y="628"/>
                  </a:cubicBezTo>
                  <a:cubicBezTo>
                    <a:pt x="3928" y="299"/>
                    <a:pt x="4385" y="0"/>
                    <a:pt x="5013" y="0"/>
                  </a:cubicBezTo>
                  <a:cubicBezTo>
                    <a:pt x="5855" y="0"/>
                    <a:pt x="6284" y="514"/>
                    <a:pt x="6284" y="1356"/>
                  </a:cubicBezTo>
                  <a:lnTo>
                    <a:pt x="6284" y="7795"/>
                  </a:lnTo>
                  <a:lnTo>
                    <a:pt x="5198" y="7795"/>
                  </a:lnTo>
                  <a:lnTo>
                    <a:pt x="5198" y="1585"/>
                  </a:lnTo>
                  <a:cubicBezTo>
                    <a:pt x="5198" y="1199"/>
                    <a:pt x="5013" y="1028"/>
                    <a:pt x="4684" y="1028"/>
                  </a:cubicBezTo>
                  <a:cubicBezTo>
                    <a:pt x="4385" y="1028"/>
                    <a:pt x="4070" y="1142"/>
                    <a:pt x="3685" y="1413"/>
                  </a:cubicBezTo>
                  <a:lnTo>
                    <a:pt x="3685" y="7795"/>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endParaRPr lang="en-US"/>
            </a:p>
          </p:txBody>
        </p:sp>
        <p:sp>
          <p:nvSpPr>
            <p:cNvPr id="22" name="Freeform 5">
              <a:extLst>
                <a:ext uri="{FF2B5EF4-FFF2-40B4-BE49-F238E27FC236}">
                  <a16:creationId xmlns:a16="http://schemas.microsoft.com/office/drawing/2014/main" id="{4C449152-AE10-3576-E19C-A62DADCD3C08}"/>
                </a:ext>
              </a:extLst>
            </p:cNvPr>
            <p:cNvSpPr>
              <a:spLocks noChangeArrowheads="1"/>
            </p:cNvSpPr>
            <p:nvPr/>
          </p:nvSpPr>
          <p:spPr bwMode="auto">
            <a:xfrm>
              <a:off x="14288" y="2322513"/>
              <a:ext cx="1004887" cy="2274887"/>
            </a:xfrm>
            <a:custGeom>
              <a:avLst/>
              <a:gdLst>
                <a:gd name="T0" fmla="*/ 1004527 w 2790"/>
                <a:gd name="T1" fmla="*/ 0 h 6317"/>
                <a:gd name="T2" fmla="*/ 1004527 w 2790"/>
                <a:gd name="T3" fmla="*/ 510652 h 6317"/>
                <a:gd name="T4" fmla="*/ 346488 w 2790"/>
                <a:gd name="T5" fmla="*/ 1137624 h 6317"/>
                <a:gd name="T6" fmla="*/ 1004527 w 2790"/>
                <a:gd name="T7" fmla="*/ 1752711 h 6317"/>
                <a:gd name="T8" fmla="*/ 1004527 w 2790"/>
                <a:gd name="T9" fmla="*/ 2274527 h 6317"/>
                <a:gd name="T10" fmla="*/ 0 w 2790"/>
                <a:gd name="T11" fmla="*/ 1331009 h 6317"/>
                <a:gd name="T12" fmla="*/ 0 w 2790"/>
                <a:gd name="T13" fmla="*/ 955042 h 6317"/>
                <a:gd name="T14" fmla="*/ 1004527 w 2790"/>
                <a:gd name="T15" fmla="*/ 0 h 6317"/>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2790" h="6317">
                  <a:moveTo>
                    <a:pt x="2789" y="0"/>
                  </a:moveTo>
                  <a:lnTo>
                    <a:pt x="2789" y="1418"/>
                  </a:lnTo>
                  <a:lnTo>
                    <a:pt x="962" y="3159"/>
                  </a:lnTo>
                  <a:lnTo>
                    <a:pt x="2789" y="4867"/>
                  </a:lnTo>
                  <a:lnTo>
                    <a:pt x="2789" y="6316"/>
                  </a:lnTo>
                  <a:lnTo>
                    <a:pt x="0" y="3696"/>
                  </a:lnTo>
                  <a:lnTo>
                    <a:pt x="0" y="2652"/>
                  </a:lnTo>
                  <a:lnTo>
                    <a:pt x="2789"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endParaRPr lang="en-US"/>
            </a:p>
          </p:txBody>
        </p:sp>
        <p:sp>
          <p:nvSpPr>
            <p:cNvPr id="23" name="Freeform 6">
              <a:extLst>
                <a:ext uri="{FF2B5EF4-FFF2-40B4-BE49-F238E27FC236}">
                  <a16:creationId xmlns:a16="http://schemas.microsoft.com/office/drawing/2014/main" id="{FD9D9EA1-C760-533A-D8D8-8CD513261227}"/>
                </a:ext>
              </a:extLst>
            </p:cNvPr>
            <p:cNvSpPr>
              <a:spLocks noChangeArrowheads="1"/>
            </p:cNvSpPr>
            <p:nvPr/>
          </p:nvSpPr>
          <p:spPr bwMode="auto">
            <a:xfrm>
              <a:off x="9050338" y="2322513"/>
              <a:ext cx="1003300" cy="2274887"/>
            </a:xfrm>
            <a:custGeom>
              <a:avLst/>
              <a:gdLst>
                <a:gd name="T0" fmla="*/ 1002940 w 2789"/>
                <a:gd name="T1" fmla="*/ 955042 h 6317"/>
                <a:gd name="T2" fmla="*/ 1002940 w 2789"/>
                <a:gd name="T3" fmla="*/ 1331009 h 6317"/>
                <a:gd name="T4" fmla="*/ 0 w 2789"/>
                <a:gd name="T5" fmla="*/ 2274527 h 6317"/>
                <a:gd name="T6" fmla="*/ 0 w 2789"/>
                <a:gd name="T7" fmla="*/ 1752711 h 6317"/>
                <a:gd name="T8" fmla="*/ 656876 w 2789"/>
                <a:gd name="T9" fmla="*/ 1137624 h 6317"/>
                <a:gd name="T10" fmla="*/ 0 w 2789"/>
                <a:gd name="T11" fmla="*/ 510652 h 6317"/>
                <a:gd name="T12" fmla="*/ 0 w 2789"/>
                <a:gd name="T13" fmla="*/ 0 h 6317"/>
                <a:gd name="T14" fmla="*/ 1002940 w 2789"/>
                <a:gd name="T15" fmla="*/ 955042 h 6317"/>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2789" h="6317">
                  <a:moveTo>
                    <a:pt x="2788" y="2652"/>
                  </a:moveTo>
                  <a:lnTo>
                    <a:pt x="2788" y="3696"/>
                  </a:lnTo>
                  <a:lnTo>
                    <a:pt x="0" y="6316"/>
                  </a:lnTo>
                  <a:lnTo>
                    <a:pt x="0" y="4867"/>
                  </a:lnTo>
                  <a:lnTo>
                    <a:pt x="1826" y="3159"/>
                  </a:lnTo>
                  <a:lnTo>
                    <a:pt x="0" y="1418"/>
                  </a:lnTo>
                  <a:lnTo>
                    <a:pt x="0" y="0"/>
                  </a:lnTo>
                  <a:lnTo>
                    <a:pt x="2788" y="2652"/>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endParaRPr lang="en-US"/>
            </a:p>
          </p:txBody>
        </p:sp>
      </p:grpSp>
      <p:sp>
        <p:nvSpPr>
          <p:cNvPr id="24" name="Footer Placeholder 14">
            <a:extLst>
              <a:ext uri="{FF2B5EF4-FFF2-40B4-BE49-F238E27FC236}">
                <a16:creationId xmlns:a16="http://schemas.microsoft.com/office/drawing/2014/main" id="{6B3878D1-5D88-D93F-E688-BBD9B6194015}"/>
              </a:ext>
            </a:extLst>
          </p:cNvPr>
          <p:cNvSpPr txBox="1">
            <a:spLocks/>
          </p:cNvSpPr>
          <p:nvPr userDrawn="1"/>
        </p:nvSpPr>
        <p:spPr>
          <a:xfrm>
            <a:off x="1205299" y="6410231"/>
            <a:ext cx="2157779" cy="228599"/>
          </a:xfrm>
          <a:prstGeom prst="rect">
            <a:avLst/>
          </a:prstGeom>
        </p:spPr>
        <p:txBody>
          <a:bodyPr vert="horz" lIns="0" tIns="0" rIns="0" bIns="0" rtlCol="0" anchor="ctr"/>
          <a:lstStyle>
            <a:defPPr>
              <a:defRPr lang="en-US"/>
            </a:defPPr>
            <a:lvl1pPr marL="0" algn="r" defTabSz="914400" rtl="0" eaLnBrk="1" latinLnBrk="0" hangingPunct="1">
              <a:defRPr sz="600" b="0" i="0" kern="1200">
                <a:solidFill>
                  <a:schemeClr val="tx1"/>
                </a:solidFill>
                <a:latin typeface="+mn-lt"/>
                <a:ea typeface="Calibri" panose="020F0502020204030204" pitchFamily="34" charset="0"/>
                <a:cs typeface="Calibri" panose="020F050202020403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b="0" i="0">
                <a:solidFill>
                  <a:schemeClr val="tx1"/>
                </a:solidFill>
                <a:latin typeface="+mn-lt"/>
              </a:rPr>
              <a:t>EPAM Proprietary &amp; Confidential</a:t>
            </a:r>
            <a:r>
              <a:rPr lang="ru-RU" b="0" i="0">
                <a:solidFill>
                  <a:schemeClr val="tx1"/>
                </a:solidFill>
                <a:latin typeface="+mn-lt"/>
              </a:rPr>
              <a:t> </a:t>
            </a:r>
            <a:endParaRPr lang="en-US" b="0" i="0">
              <a:solidFill>
                <a:schemeClr val="tx1"/>
              </a:solidFill>
              <a:latin typeface="+mn-lt"/>
            </a:endParaRPr>
          </a:p>
        </p:txBody>
      </p:sp>
    </p:spTree>
    <p:extLst>
      <p:ext uri="{BB962C8B-B14F-4D97-AF65-F5344CB8AC3E}">
        <p14:creationId xmlns:p14="http://schemas.microsoft.com/office/powerpoint/2010/main" val="3325016642"/>
      </p:ext>
    </p:extLst>
  </p:cSld>
  <p:clrMapOvr>
    <a:masterClrMapping/>
  </p:clrMapOvr>
  <p:extLst>
    <p:ext uri="{DCECCB84-F9BA-43D5-87BE-67443E8EF086}">
      <p15:sldGuideLst xmlns:p15="http://schemas.microsoft.com/office/powerpoint/2012/main"/>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Case_Study_2/3_Picture">
    <p:bg>
      <p:bgPr>
        <a:solidFill>
          <a:schemeClr val="tx1"/>
        </a:solidFill>
        <a:effectLst/>
      </p:bgPr>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79C487BF-0EFB-7D6C-3495-E817AE08A6AD}"/>
              </a:ext>
            </a:extLst>
          </p:cNvPr>
          <p:cNvSpPr>
            <a:spLocks noGrp="1"/>
          </p:cNvSpPr>
          <p:nvPr>
            <p:ph type="pic" sz="quarter" idx="24"/>
          </p:nvPr>
        </p:nvSpPr>
        <p:spPr>
          <a:xfrm>
            <a:off x="4381500" y="0"/>
            <a:ext cx="7810500" cy="6858000"/>
          </a:xfrm>
          <a:prstGeom prst="rect">
            <a:avLst/>
          </a:prstGeom>
        </p:spPr>
        <p:txBody>
          <a:bodyPr/>
          <a:lstStyle/>
          <a:p>
            <a:endParaRPr lang="en-US"/>
          </a:p>
        </p:txBody>
      </p:sp>
      <p:sp>
        <p:nvSpPr>
          <p:cNvPr id="7" name="Title 1">
            <a:extLst>
              <a:ext uri="{FF2B5EF4-FFF2-40B4-BE49-F238E27FC236}">
                <a16:creationId xmlns:a16="http://schemas.microsoft.com/office/drawing/2014/main" id="{87A1E7D4-E665-893A-3F0B-9EC2B35AFD57}"/>
              </a:ext>
            </a:extLst>
          </p:cNvPr>
          <p:cNvSpPr>
            <a:spLocks noGrp="1"/>
          </p:cNvSpPr>
          <p:nvPr>
            <p:ph type="title" hasCustomPrompt="1"/>
          </p:nvPr>
        </p:nvSpPr>
        <p:spPr>
          <a:xfrm>
            <a:off x="633633" y="722843"/>
            <a:ext cx="3476406" cy="338554"/>
          </a:xfrm>
          <a:prstGeom prst="rect">
            <a:avLst/>
          </a:prstGeom>
        </p:spPr>
        <p:txBody>
          <a:bodyPr/>
          <a:lstStyle>
            <a:lvl1pPr>
              <a:defRPr lang="en-US" sz="2200" b="1" i="0" kern="1200" spc="0" dirty="0">
                <a:solidFill>
                  <a:schemeClr val="bg1"/>
                </a:solidFill>
                <a:effectLst/>
                <a:latin typeface="+mj-lt"/>
                <a:ea typeface="Calibri" panose="020F0502020204030204" pitchFamily="34" charset="0"/>
                <a:cs typeface="Calibri" panose="020F0502020204030204" pitchFamily="34" charset="0"/>
              </a:defRPr>
            </a:lvl1pPr>
          </a:lstStyle>
          <a:p>
            <a:pPr marL="0" lvl="0" indent="0" algn="l" defTabSz="914400" rtl="0" eaLnBrk="1" latinLnBrk="0" hangingPunct="1">
              <a:lnSpc>
                <a:spcPct val="100000"/>
              </a:lnSpc>
              <a:spcBef>
                <a:spcPts val="0"/>
              </a:spcBef>
              <a:spcAft>
                <a:spcPts val="0"/>
              </a:spcAft>
              <a:buFont typeface="Arial" panose="020B0604020202020204" pitchFamily="34" charset="0"/>
              <a:buNone/>
            </a:pPr>
            <a:r>
              <a:rPr lang="en-US">
                <a:effectLst/>
              </a:rPr>
              <a:t>Title Goes Here</a:t>
            </a:r>
            <a:endParaRPr lang="en-US"/>
          </a:p>
        </p:txBody>
      </p:sp>
      <p:sp>
        <p:nvSpPr>
          <p:cNvPr id="8" name="Text Placeholder 10">
            <a:extLst>
              <a:ext uri="{FF2B5EF4-FFF2-40B4-BE49-F238E27FC236}">
                <a16:creationId xmlns:a16="http://schemas.microsoft.com/office/drawing/2014/main" id="{5009CBC2-6C96-578F-0FFC-E76D27D9A7E3}"/>
              </a:ext>
            </a:extLst>
          </p:cNvPr>
          <p:cNvSpPr>
            <a:spLocks noGrp="1"/>
          </p:cNvSpPr>
          <p:nvPr>
            <p:ph type="body" sz="quarter" idx="28" hasCustomPrompt="1"/>
          </p:nvPr>
        </p:nvSpPr>
        <p:spPr>
          <a:xfrm>
            <a:off x="633632" y="419100"/>
            <a:ext cx="3611880" cy="225706"/>
          </a:xfrm>
          <a:prstGeom prst="rect">
            <a:avLst/>
          </a:prstGeom>
        </p:spPr>
        <p:txBody>
          <a:bodyPr/>
          <a:lstStyle>
            <a:lvl1pPr>
              <a:spcBef>
                <a:spcPts val="0"/>
              </a:spcBef>
              <a:defRPr lang="en-US" sz="1000" b="0" i="0" kern="1200" cap="all" spc="300" baseline="0" dirty="0">
                <a:solidFill>
                  <a:schemeClr val="bg1"/>
                </a:solidFill>
                <a:latin typeface="Calibri" panose="020F0502020204030204" pitchFamily="34" charset="0"/>
                <a:ea typeface="Calibri" panose="020F0502020204030204" pitchFamily="34" charset="0"/>
                <a:cs typeface="Calibri" panose="020F0502020204030204" pitchFamily="34" charset="0"/>
              </a:defRPr>
            </a:lvl1pPr>
          </a:lstStyle>
          <a:p>
            <a:pPr marL="0" lvl="0" indent="0" algn="l" defTabSz="914400" rtl="0" eaLnBrk="1" latinLnBrk="0" hangingPunct="1">
              <a:lnSpc>
                <a:spcPct val="100000"/>
              </a:lnSpc>
              <a:spcBef>
                <a:spcPts val="600"/>
              </a:spcBef>
              <a:spcAft>
                <a:spcPts val="0"/>
              </a:spcAft>
              <a:buFont typeface="Arial" panose="020B0604020202020204" pitchFamily="34" charset="0"/>
              <a:buNone/>
            </a:pPr>
            <a:r>
              <a:rPr lang="en-US"/>
              <a:t>Click to add section title</a:t>
            </a:r>
          </a:p>
        </p:txBody>
      </p:sp>
      <p:grpSp>
        <p:nvGrpSpPr>
          <p:cNvPr id="2" name="Group 1">
            <a:extLst>
              <a:ext uri="{FF2B5EF4-FFF2-40B4-BE49-F238E27FC236}">
                <a16:creationId xmlns:a16="http://schemas.microsoft.com/office/drawing/2014/main" id="{BF11BD9A-353A-B270-680B-6CE2ACD6FB5F}"/>
              </a:ext>
            </a:extLst>
          </p:cNvPr>
          <p:cNvGrpSpPr/>
          <p:nvPr userDrawn="1"/>
        </p:nvGrpSpPr>
        <p:grpSpPr>
          <a:xfrm>
            <a:off x="610888" y="6472556"/>
            <a:ext cx="372834" cy="131175"/>
            <a:chOff x="14288" y="2035175"/>
            <a:chExt cx="10039350" cy="3532188"/>
          </a:xfrm>
          <a:solidFill>
            <a:schemeClr val="bg1"/>
          </a:solidFill>
        </p:grpSpPr>
        <p:sp>
          <p:nvSpPr>
            <p:cNvPr id="4" name="Freeform 1">
              <a:extLst>
                <a:ext uri="{FF2B5EF4-FFF2-40B4-BE49-F238E27FC236}">
                  <a16:creationId xmlns:a16="http://schemas.microsoft.com/office/drawing/2014/main" id="{C0B652B9-748C-2E96-0A25-B57F4FFAC490}"/>
                </a:ext>
              </a:extLst>
            </p:cNvPr>
            <p:cNvSpPr>
              <a:spLocks noChangeArrowheads="1"/>
            </p:cNvSpPr>
            <p:nvPr/>
          </p:nvSpPr>
          <p:spPr bwMode="auto">
            <a:xfrm>
              <a:off x="1519238" y="2035175"/>
              <a:ext cx="1336675" cy="2836863"/>
            </a:xfrm>
            <a:custGeom>
              <a:avLst/>
              <a:gdLst>
                <a:gd name="T0" fmla="*/ 390493 w 3714"/>
                <a:gd name="T1" fmla="*/ 1200682 h 7882"/>
                <a:gd name="T2" fmla="*/ 945462 w 3714"/>
                <a:gd name="T3" fmla="*/ 1200682 h 7882"/>
                <a:gd name="T4" fmla="*/ 945462 w 3714"/>
                <a:gd name="T5" fmla="*/ 611498 h 7882"/>
                <a:gd name="T6" fmla="*/ 698929 w 3714"/>
                <a:gd name="T7" fmla="*/ 364596 h 7882"/>
                <a:gd name="T8" fmla="*/ 637386 w 3714"/>
                <a:gd name="T9" fmla="*/ 364596 h 7882"/>
                <a:gd name="T10" fmla="*/ 390493 w 3714"/>
                <a:gd name="T11" fmla="*/ 611498 h 7882"/>
                <a:gd name="T12" fmla="*/ 390493 w 3714"/>
                <a:gd name="T13" fmla="*/ 1200682 h 7882"/>
                <a:gd name="T14" fmla="*/ 389414 w 3714"/>
                <a:gd name="T15" fmla="*/ 1576795 h 7882"/>
                <a:gd name="T16" fmla="*/ 390493 w 3714"/>
                <a:gd name="T17" fmla="*/ 2224645 h 7882"/>
                <a:gd name="T18" fmla="*/ 637386 w 3714"/>
                <a:gd name="T19" fmla="*/ 2471548 h 7882"/>
                <a:gd name="T20" fmla="*/ 709366 w 3714"/>
                <a:gd name="T21" fmla="*/ 2471548 h 7882"/>
                <a:gd name="T22" fmla="*/ 955899 w 3714"/>
                <a:gd name="T23" fmla="*/ 2224645 h 7882"/>
                <a:gd name="T24" fmla="*/ 955899 w 3714"/>
                <a:gd name="T25" fmla="*/ 1906119 h 7882"/>
                <a:gd name="T26" fmla="*/ 1336315 w 3714"/>
                <a:gd name="T27" fmla="*/ 1906119 h 7882"/>
                <a:gd name="T28" fmla="*/ 1336315 w 3714"/>
                <a:gd name="T29" fmla="*/ 2209528 h 7882"/>
                <a:gd name="T30" fmla="*/ 709366 w 3714"/>
                <a:gd name="T31" fmla="*/ 2836503 h 7882"/>
                <a:gd name="T32" fmla="*/ 626949 w 3714"/>
                <a:gd name="T33" fmla="*/ 2836503 h 7882"/>
                <a:gd name="T34" fmla="*/ 0 w 3714"/>
                <a:gd name="T35" fmla="*/ 2258117 h 7882"/>
                <a:gd name="T36" fmla="*/ 0 w 3714"/>
                <a:gd name="T37" fmla="*/ 675564 h 7882"/>
                <a:gd name="T38" fmla="*/ 626949 w 3714"/>
                <a:gd name="T39" fmla="*/ 0 h 7882"/>
                <a:gd name="T40" fmla="*/ 709366 w 3714"/>
                <a:gd name="T41" fmla="*/ 0 h 7882"/>
                <a:gd name="T42" fmla="*/ 1336315 w 3714"/>
                <a:gd name="T43" fmla="*/ 626975 h 7882"/>
                <a:gd name="T44" fmla="*/ 1334875 w 3714"/>
                <a:gd name="T45" fmla="*/ 1576795 h 7882"/>
                <a:gd name="T46" fmla="*/ 389414 w 3714"/>
                <a:gd name="T47" fmla="*/ 1576795 h 7882"/>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3714" h="7882">
                  <a:moveTo>
                    <a:pt x="1085" y="3336"/>
                  </a:moveTo>
                  <a:lnTo>
                    <a:pt x="2627" y="3336"/>
                  </a:lnTo>
                  <a:lnTo>
                    <a:pt x="2627" y="1699"/>
                  </a:lnTo>
                  <a:cubicBezTo>
                    <a:pt x="2627" y="1242"/>
                    <a:pt x="2399" y="1013"/>
                    <a:pt x="1942" y="1013"/>
                  </a:cubicBezTo>
                  <a:lnTo>
                    <a:pt x="1771" y="1013"/>
                  </a:lnTo>
                  <a:cubicBezTo>
                    <a:pt x="1314" y="1013"/>
                    <a:pt x="1085" y="1242"/>
                    <a:pt x="1085" y="1699"/>
                  </a:cubicBezTo>
                  <a:lnTo>
                    <a:pt x="1085" y="3336"/>
                  </a:lnTo>
                  <a:close/>
                  <a:moveTo>
                    <a:pt x="1082" y="4381"/>
                  </a:moveTo>
                  <a:lnTo>
                    <a:pt x="1085" y="6181"/>
                  </a:lnTo>
                  <a:cubicBezTo>
                    <a:pt x="1085" y="6638"/>
                    <a:pt x="1314" y="6867"/>
                    <a:pt x="1771" y="6867"/>
                  </a:cubicBezTo>
                  <a:lnTo>
                    <a:pt x="1971" y="6867"/>
                  </a:lnTo>
                  <a:cubicBezTo>
                    <a:pt x="2428" y="6867"/>
                    <a:pt x="2656" y="6638"/>
                    <a:pt x="2656" y="6181"/>
                  </a:cubicBezTo>
                  <a:lnTo>
                    <a:pt x="2656" y="5296"/>
                  </a:lnTo>
                  <a:lnTo>
                    <a:pt x="3713" y="5296"/>
                  </a:lnTo>
                  <a:lnTo>
                    <a:pt x="3713" y="6139"/>
                  </a:lnTo>
                  <a:cubicBezTo>
                    <a:pt x="3713" y="7295"/>
                    <a:pt x="3127" y="7881"/>
                    <a:pt x="1971" y="7881"/>
                  </a:cubicBezTo>
                  <a:lnTo>
                    <a:pt x="1742" y="7881"/>
                  </a:lnTo>
                  <a:cubicBezTo>
                    <a:pt x="585" y="7881"/>
                    <a:pt x="0" y="7295"/>
                    <a:pt x="0" y="6274"/>
                  </a:cubicBezTo>
                  <a:lnTo>
                    <a:pt x="0" y="1877"/>
                  </a:lnTo>
                  <a:cubicBezTo>
                    <a:pt x="0" y="585"/>
                    <a:pt x="585" y="0"/>
                    <a:pt x="1742" y="0"/>
                  </a:cubicBezTo>
                  <a:lnTo>
                    <a:pt x="1971" y="0"/>
                  </a:lnTo>
                  <a:cubicBezTo>
                    <a:pt x="3127" y="0"/>
                    <a:pt x="3713" y="585"/>
                    <a:pt x="3713" y="1742"/>
                  </a:cubicBezTo>
                  <a:lnTo>
                    <a:pt x="3709" y="4381"/>
                  </a:lnTo>
                  <a:lnTo>
                    <a:pt x="1082" y="4381"/>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endParaRPr lang="en-US"/>
            </a:p>
          </p:txBody>
        </p:sp>
        <p:sp>
          <p:nvSpPr>
            <p:cNvPr id="5" name="Freeform 2">
              <a:extLst>
                <a:ext uri="{FF2B5EF4-FFF2-40B4-BE49-F238E27FC236}">
                  <a16:creationId xmlns:a16="http://schemas.microsoft.com/office/drawing/2014/main" id="{BD00DBD0-19EE-4E7F-07D9-B400DA8F0311}"/>
                </a:ext>
              </a:extLst>
            </p:cNvPr>
            <p:cNvSpPr>
              <a:spLocks noChangeArrowheads="1"/>
            </p:cNvSpPr>
            <p:nvPr/>
          </p:nvSpPr>
          <p:spPr bwMode="auto">
            <a:xfrm>
              <a:off x="3109913" y="2035175"/>
              <a:ext cx="1368425" cy="3532188"/>
            </a:xfrm>
            <a:custGeom>
              <a:avLst/>
              <a:gdLst>
                <a:gd name="T0" fmla="*/ 390721 w 3800"/>
                <a:gd name="T1" fmla="*/ 2322993 h 9812"/>
                <a:gd name="T2" fmla="*/ 750833 w 3800"/>
                <a:gd name="T3" fmla="*/ 2466628 h 9812"/>
                <a:gd name="T4" fmla="*/ 976983 w 3800"/>
                <a:gd name="T5" fmla="*/ 2240556 h 9812"/>
                <a:gd name="T6" fmla="*/ 976983 w 3800"/>
                <a:gd name="T7" fmla="*/ 596138 h 9812"/>
                <a:gd name="T8" fmla="*/ 750833 w 3800"/>
                <a:gd name="T9" fmla="*/ 370066 h 9812"/>
                <a:gd name="T10" fmla="*/ 390721 w 3800"/>
                <a:gd name="T11" fmla="*/ 514061 h 9812"/>
                <a:gd name="T12" fmla="*/ 390721 w 3800"/>
                <a:gd name="T13" fmla="*/ 2322993 h 9812"/>
                <a:gd name="T14" fmla="*/ 0 w 3800"/>
                <a:gd name="T15" fmla="*/ 30599 h 9812"/>
                <a:gd name="T16" fmla="*/ 390721 w 3800"/>
                <a:gd name="T17" fmla="*/ 30599 h 9812"/>
                <a:gd name="T18" fmla="*/ 390721 w 3800"/>
                <a:gd name="T19" fmla="*/ 210592 h 9812"/>
                <a:gd name="T20" fmla="*/ 868950 w 3800"/>
                <a:gd name="T21" fmla="*/ 0 h 9812"/>
                <a:gd name="T22" fmla="*/ 1368065 w 3800"/>
                <a:gd name="T23" fmla="*/ 549699 h 9812"/>
                <a:gd name="T24" fmla="*/ 1368065 w 3800"/>
                <a:gd name="T25" fmla="*/ 2286995 h 9812"/>
                <a:gd name="T26" fmla="*/ 868950 w 3800"/>
                <a:gd name="T27" fmla="*/ 2837054 h 9812"/>
                <a:gd name="T28" fmla="*/ 390721 w 3800"/>
                <a:gd name="T29" fmla="*/ 2636541 h 9812"/>
                <a:gd name="T30" fmla="*/ 390721 w 3800"/>
                <a:gd name="T31" fmla="*/ 3531828 h 9812"/>
                <a:gd name="T32" fmla="*/ 0 w 3800"/>
                <a:gd name="T33" fmla="*/ 3531828 h 9812"/>
                <a:gd name="T34" fmla="*/ 0 w 3800"/>
                <a:gd name="T35" fmla="*/ 30599 h 9812"/>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3800" h="9812">
                  <a:moveTo>
                    <a:pt x="1085" y="6453"/>
                  </a:moveTo>
                  <a:cubicBezTo>
                    <a:pt x="1385" y="6710"/>
                    <a:pt x="1728" y="6852"/>
                    <a:pt x="2085" y="6852"/>
                  </a:cubicBezTo>
                  <a:cubicBezTo>
                    <a:pt x="2485" y="6852"/>
                    <a:pt x="2713" y="6667"/>
                    <a:pt x="2713" y="6224"/>
                  </a:cubicBezTo>
                  <a:lnTo>
                    <a:pt x="2713" y="1656"/>
                  </a:lnTo>
                  <a:cubicBezTo>
                    <a:pt x="2713" y="1213"/>
                    <a:pt x="2485" y="1028"/>
                    <a:pt x="2085" y="1028"/>
                  </a:cubicBezTo>
                  <a:cubicBezTo>
                    <a:pt x="1728" y="1028"/>
                    <a:pt x="1385" y="1170"/>
                    <a:pt x="1085" y="1428"/>
                  </a:cubicBezTo>
                  <a:lnTo>
                    <a:pt x="1085" y="6453"/>
                  </a:lnTo>
                  <a:close/>
                  <a:moveTo>
                    <a:pt x="0" y="85"/>
                  </a:moveTo>
                  <a:lnTo>
                    <a:pt x="1085" y="85"/>
                  </a:lnTo>
                  <a:lnTo>
                    <a:pt x="1085" y="585"/>
                  </a:lnTo>
                  <a:cubicBezTo>
                    <a:pt x="1342" y="314"/>
                    <a:pt x="1785" y="0"/>
                    <a:pt x="2413" y="0"/>
                  </a:cubicBezTo>
                  <a:cubicBezTo>
                    <a:pt x="3342" y="0"/>
                    <a:pt x="3799" y="614"/>
                    <a:pt x="3799" y="1527"/>
                  </a:cubicBezTo>
                  <a:lnTo>
                    <a:pt x="3799" y="6353"/>
                  </a:lnTo>
                  <a:cubicBezTo>
                    <a:pt x="3799" y="7267"/>
                    <a:pt x="3342" y="7881"/>
                    <a:pt x="2413" y="7881"/>
                  </a:cubicBezTo>
                  <a:cubicBezTo>
                    <a:pt x="1785" y="7881"/>
                    <a:pt x="1342" y="7581"/>
                    <a:pt x="1085" y="7324"/>
                  </a:cubicBezTo>
                  <a:lnTo>
                    <a:pt x="1085" y="9811"/>
                  </a:lnTo>
                  <a:lnTo>
                    <a:pt x="0" y="9811"/>
                  </a:lnTo>
                  <a:lnTo>
                    <a:pt x="0" y="85"/>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endParaRPr lang="en-US"/>
            </a:p>
          </p:txBody>
        </p:sp>
        <p:sp>
          <p:nvSpPr>
            <p:cNvPr id="6" name="Freeform 3">
              <a:extLst>
                <a:ext uri="{FF2B5EF4-FFF2-40B4-BE49-F238E27FC236}">
                  <a16:creationId xmlns:a16="http://schemas.microsoft.com/office/drawing/2014/main" id="{5233603A-B7D4-FDF9-365D-DA57A70B453D}"/>
                </a:ext>
              </a:extLst>
            </p:cNvPr>
            <p:cNvSpPr>
              <a:spLocks noChangeArrowheads="1"/>
            </p:cNvSpPr>
            <p:nvPr/>
          </p:nvSpPr>
          <p:spPr bwMode="auto">
            <a:xfrm>
              <a:off x="4711700" y="2035175"/>
              <a:ext cx="1328738" cy="2836863"/>
            </a:xfrm>
            <a:custGeom>
              <a:avLst/>
              <a:gdLst>
                <a:gd name="T0" fmla="*/ 937679 w 3690"/>
                <a:gd name="T1" fmla="*/ 2338019 h 7882"/>
                <a:gd name="T2" fmla="*/ 937679 w 3690"/>
                <a:gd name="T3" fmla="*/ 1422750 h 7882"/>
                <a:gd name="T4" fmla="*/ 582988 w 3690"/>
                <a:gd name="T5" fmla="*/ 1556999 h 7882"/>
                <a:gd name="T6" fmla="*/ 392500 w 3690"/>
                <a:gd name="T7" fmla="*/ 1844573 h 7882"/>
                <a:gd name="T8" fmla="*/ 392500 w 3690"/>
                <a:gd name="T9" fmla="*/ 2266035 h 7882"/>
                <a:gd name="T10" fmla="*/ 582988 w 3690"/>
                <a:gd name="T11" fmla="*/ 2466149 h 7882"/>
                <a:gd name="T12" fmla="*/ 937679 w 3690"/>
                <a:gd name="T13" fmla="*/ 2338019 h 7882"/>
                <a:gd name="T14" fmla="*/ 2161 w 3690"/>
                <a:gd name="T15" fmla="*/ 1839174 h 7882"/>
                <a:gd name="T16" fmla="*/ 413025 w 3690"/>
                <a:gd name="T17" fmla="*/ 1253950 h 7882"/>
                <a:gd name="T18" fmla="*/ 937679 w 3690"/>
                <a:gd name="T19" fmla="*/ 1073991 h 7882"/>
                <a:gd name="T20" fmla="*/ 937679 w 3690"/>
                <a:gd name="T21" fmla="*/ 611498 h 7882"/>
                <a:gd name="T22" fmla="*/ 690656 w 3690"/>
                <a:gd name="T23" fmla="*/ 359557 h 7882"/>
                <a:gd name="T24" fmla="*/ 627280 w 3690"/>
                <a:gd name="T25" fmla="*/ 359557 h 7882"/>
                <a:gd name="T26" fmla="*/ 380257 w 3690"/>
                <a:gd name="T27" fmla="*/ 611498 h 7882"/>
                <a:gd name="T28" fmla="*/ 380257 w 3690"/>
                <a:gd name="T29" fmla="*/ 1004527 h 7882"/>
                <a:gd name="T30" fmla="*/ 0 w 3690"/>
                <a:gd name="T31" fmla="*/ 1004527 h 7882"/>
                <a:gd name="T32" fmla="*/ 0 w 3690"/>
                <a:gd name="T33" fmla="*/ 626975 h 7882"/>
                <a:gd name="T34" fmla="*/ 627280 w 3690"/>
                <a:gd name="T35" fmla="*/ 0 h 7882"/>
                <a:gd name="T36" fmla="*/ 701098 w 3690"/>
                <a:gd name="T37" fmla="*/ 0 h 7882"/>
                <a:gd name="T38" fmla="*/ 1328378 w 3690"/>
                <a:gd name="T39" fmla="*/ 626975 h 7882"/>
                <a:gd name="T40" fmla="*/ 1328378 w 3690"/>
                <a:gd name="T41" fmla="*/ 2805550 h 7882"/>
                <a:gd name="T42" fmla="*/ 937679 w 3690"/>
                <a:gd name="T43" fmla="*/ 2805550 h 7882"/>
                <a:gd name="T44" fmla="*/ 937679 w 3690"/>
                <a:gd name="T45" fmla="*/ 2630631 h 7882"/>
                <a:gd name="T46" fmla="*/ 459477 w 3690"/>
                <a:gd name="T47" fmla="*/ 2836503 h 7882"/>
                <a:gd name="T48" fmla="*/ 2161 w 3690"/>
                <a:gd name="T49" fmla="*/ 2348096 h 7882"/>
                <a:gd name="T50" fmla="*/ 2161 w 3690"/>
                <a:gd name="T51" fmla="*/ 1839174 h 7882"/>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3690" h="7882">
                  <a:moveTo>
                    <a:pt x="2604" y="6496"/>
                  </a:moveTo>
                  <a:lnTo>
                    <a:pt x="2604" y="3953"/>
                  </a:lnTo>
                  <a:lnTo>
                    <a:pt x="1619" y="4326"/>
                  </a:lnTo>
                  <a:cubicBezTo>
                    <a:pt x="1219" y="4483"/>
                    <a:pt x="1090" y="4683"/>
                    <a:pt x="1090" y="5125"/>
                  </a:cubicBezTo>
                  <a:lnTo>
                    <a:pt x="1090" y="6296"/>
                  </a:lnTo>
                  <a:cubicBezTo>
                    <a:pt x="1090" y="6667"/>
                    <a:pt x="1276" y="6852"/>
                    <a:pt x="1619" y="6852"/>
                  </a:cubicBezTo>
                  <a:cubicBezTo>
                    <a:pt x="1947" y="6852"/>
                    <a:pt x="2247" y="6738"/>
                    <a:pt x="2604" y="6496"/>
                  </a:cubicBezTo>
                  <a:close/>
                  <a:moveTo>
                    <a:pt x="6" y="5110"/>
                  </a:moveTo>
                  <a:cubicBezTo>
                    <a:pt x="6" y="4155"/>
                    <a:pt x="320" y="3769"/>
                    <a:pt x="1147" y="3484"/>
                  </a:cubicBezTo>
                  <a:lnTo>
                    <a:pt x="2604" y="2984"/>
                  </a:lnTo>
                  <a:lnTo>
                    <a:pt x="2604" y="1699"/>
                  </a:lnTo>
                  <a:cubicBezTo>
                    <a:pt x="2604" y="1242"/>
                    <a:pt x="2375" y="999"/>
                    <a:pt x="1918" y="999"/>
                  </a:cubicBezTo>
                  <a:lnTo>
                    <a:pt x="1742" y="999"/>
                  </a:lnTo>
                  <a:cubicBezTo>
                    <a:pt x="1285" y="999"/>
                    <a:pt x="1056" y="1242"/>
                    <a:pt x="1056" y="1699"/>
                  </a:cubicBezTo>
                  <a:lnTo>
                    <a:pt x="1056" y="2791"/>
                  </a:lnTo>
                  <a:lnTo>
                    <a:pt x="0" y="2791"/>
                  </a:lnTo>
                  <a:lnTo>
                    <a:pt x="0" y="1742"/>
                  </a:lnTo>
                  <a:cubicBezTo>
                    <a:pt x="0" y="585"/>
                    <a:pt x="586" y="0"/>
                    <a:pt x="1742" y="0"/>
                  </a:cubicBezTo>
                  <a:lnTo>
                    <a:pt x="1947" y="0"/>
                  </a:lnTo>
                  <a:cubicBezTo>
                    <a:pt x="3104" y="0"/>
                    <a:pt x="3689" y="585"/>
                    <a:pt x="3689" y="1742"/>
                  </a:cubicBezTo>
                  <a:lnTo>
                    <a:pt x="3689" y="7795"/>
                  </a:lnTo>
                  <a:lnTo>
                    <a:pt x="2604" y="7795"/>
                  </a:lnTo>
                  <a:lnTo>
                    <a:pt x="2604" y="7309"/>
                  </a:lnTo>
                  <a:cubicBezTo>
                    <a:pt x="2304" y="7595"/>
                    <a:pt x="1904" y="7881"/>
                    <a:pt x="1276" y="7881"/>
                  </a:cubicBezTo>
                  <a:cubicBezTo>
                    <a:pt x="406" y="7881"/>
                    <a:pt x="6" y="7381"/>
                    <a:pt x="6" y="6524"/>
                  </a:cubicBezTo>
                  <a:lnTo>
                    <a:pt x="6" y="5110"/>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endParaRPr lang="en-US"/>
            </a:p>
          </p:txBody>
        </p:sp>
        <p:sp>
          <p:nvSpPr>
            <p:cNvPr id="9" name="Freeform 4">
              <a:extLst>
                <a:ext uri="{FF2B5EF4-FFF2-40B4-BE49-F238E27FC236}">
                  <a16:creationId xmlns:a16="http://schemas.microsoft.com/office/drawing/2014/main" id="{A7A67499-B219-50C0-362F-CB335679C3C2}"/>
                </a:ext>
              </a:extLst>
            </p:cNvPr>
            <p:cNvSpPr>
              <a:spLocks noChangeArrowheads="1"/>
            </p:cNvSpPr>
            <p:nvPr/>
          </p:nvSpPr>
          <p:spPr bwMode="auto">
            <a:xfrm>
              <a:off x="6292850" y="2035175"/>
              <a:ext cx="2262188" cy="2806700"/>
            </a:xfrm>
            <a:custGeom>
              <a:avLst/>
              <a:gdLst>
                <a:gd name="T0" fmla="*/ 1326358 w 6285"/>
                <a:gd name="T1" fmla="*/ 2806340 h 7796"/>
                <a:gd name="T2" fmla="*/ 935470 w 6285"/>
                <a:gd name="T3" fmla="*/ 2806340 h 7796"/>
                <a:gd name="T4" fmla="*/ 935470 w 6285"/>
                <a:gd name="T5" fmla="*/ 570628 h 7796"/>
                <a:gd name="T6" fmla="*/ 750463 w 6285"/>
                <a:gd name="T7" fmla="*/ 370098 h 7796"/>
                <a:gd name="T8" fmla="*/ 390889 w 6285"/>
                <a:gd name="T9" fmla="*/ 508705 h 7796"/>
                <a:gd name="T10" fmla="*/ 390889 w 6285"/>
                <a:gd name="T11" fmla="*/ 2806340 h 7796"/>
                <a:gd name="T12" fmla="*/ 0 w 6285"/>
                <a:gd name="T13" fmla="*/ 2806340 h 7796"/>
                <a:gd name="T14" fmla="*/ 0 w 6285"/>
                <a:gd name="T15" fmla="*/ 30602 h 7796"/>
                <a:gd name="T16" fmla="*/ 390889 w 6285"/>
                <a:gd name="T17" fmla="*/ 30602 h 7796"/>
                <a:gd name="T18" fmla="*/ 390889 w 6285"/>
                <a:gd name="T19" fmla="*/ 210611 h 7796"/>
                <a:gd name="T20" fmla="*/ 868882 w 6285"/>
                <a:gd name="T21" fmla="*/ 0 h 7796"/>
                <a:gd name="T22" fmla="*/ 1274888 w 6285"/>
                <a:gd name="T23" fmla="*/ 226091 h 7796"/>
                <a:gd name="T24" fmla="*/ 1804351 w 6285"/>
                <a:gd name="T25" fmla="*/ 0 h 7796"/>
                <a:gd name="T26" fmla="*/ 2261828 w 6285"/>
                <a:gd name="T27" fmla="*/ 488184 h 7796"/>
                <a:gd name="T28" fmla="*/ 2261828 w 6285"/>
                <a:gd name="T29" fmla="*/ 2806340 h 7796"/>
                <a:gd name="T30" fmla="*/ 1870939 w 6285"/>
                <a:gd name="T31" fmla="*/ 2806340 h 7796"/>
                <a:gd name="T32" fmla="*/ 1870939 w 6285"/>
                <a:gd name="T33" fmla="*/ 570628 h 7796"/>
                <a:gd name="T34" fmla="*/ 1685933 w 6285"/>
                <a:gd name="T35" fmla="*/ 370098 h 7796"/>
                <a:gd name="T36" fmla="*/ 1326358 w 6285"/>
                <a:gd name="T37" fmla="*/ 508705 h 7796"/>
                <a:gd name="T38" fmla="*/ 1326358 w 6285"/>
                <a:gd name="T39" fmla="*/ 2806340 h 779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6285" h="7796">
                  <a:moveTo>
                    <a:pt x="3685" y="7795"/>
                  </a:moveTo>
                  <a:lnTo>
                    <a:pt x="2599" y="7795"/>
                  </a:lnTo>
                  <a:lnTo>
                    <a:pt x="2599" y="1585"/>
                  </a:lnTo>
                  <a:cubicBezTo>
                    <a:pt x="2599" y="1199"/>
                    <a:pt x="2414" y="1028"/>
                    <a:pt x="2085" y="1028"/>
                  </a:cubicBezTo>
                  <a:cubicBezTo>
                    <a:pt x="1785" y="1028"/>
                    <a:pt x="1471" y="1142"/>
                    <a:pt x="1086" y="1413"/>
                  </a:cubicBezTo>
                  <a:lnTo>
                    <a:pt x="1086" y="7795"/>
                  </a:lnTo>
                  <a:lnTo>
                    <a:pt x="0" y="7795"/>
                  </a:lnTo>
                  <a:lnTo>
                    <a:pt x="0" y="85"/>
                  </a:lnTo>
                  <a:lnTo>
                    <a:pt x="1086" y="85"/>
                  </a:lnTo>
                  <a:lnTo>
                    <a:pt x="1086" y="585"/>
                  </a:lnTo>
                  <a:cubicBezTo>
                    <a:pt x="1400" y="285"/>
                    <a:pt x="1814" y="0"/>
                    <a:pt x="2414" y="0"/>
                  </a:cubicBezTo>
                  <a:cubicBezTo>
                    <a:pt x="2971" y="0"/>
                    <a:pt x="3342" y="228"/>
                    <a:pt x="3542" y="628"/>
                  </a:cubicBezTo>
                  <a:cubicBezTo>
                    <a:pt x="3928" y="299"/>
                    <a:pt x="4385" y="0"/>
                    <a:pt x="5013" y="0"/>
                  </a:cubicBezTo>
                  <a:cubicBezTo>
                    <a:pt x="5855" y="0"/>
                    <a:pt x="6284" y="514"/>
                    <a:pt x="6284" y="1356"/>
                  </a:cubicBezTo>
                  <a:lnTo>
                    <a:pt x="6284" y="7795"/>
                  </a:lnTo>
                  <a:lnTo>
                    <a:pt x="5198" y="7795"/>
                  </a:lnTo>
                  <a:lnTo>
                    <a:pt x="5198" y="1585"/>
                  </a:lnTo>
                  <a:cubicBezTo>
                    <a:pt x="5198" y="1199"/>
                    <a:pt x="5013" y="1028"/>
                    <a:pt x="4684" y="1028"/>
                  </a:cubicBezTo>
                  <a:cubicBezTo>
                    <a:pt x="4385" y="1028"/>
                    <a:pt x="4070" y="1142"/>
                    <a:pt x="3685" y="1413"/>
                  </a:cubicBezTo>
                  <a:lnTo>
                    <a:pt x="3685" y="7795"/>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endParaRPr lang="en-US"/>
            </a:p>
          </p:txBody>
        </p:sp>
        <p:sp>
          <p:nvSpPr>
            <p:cNvPr id="10" name="Freeform 5">
              <a:extLst>
                <a:ext uri="{FF2B5EF4-FFF2-40B4-BE49-F238E27FC236}">
                  <a16:creationId xmlns:a16="http://schemas.microsoft.com/office/drawing/2014/main" id="{B86F8F02-B0A3-0145-2F85-0E133668895C}"/>
                </a:ext>
              </a:extLst>
            </p:cNvPr>
            <p:cNvSpPr>
              <a:spLocks noChangeArrowheads="1"/>
            </p:cNvSpPr>
            <p:nvPr/>
          </p:nvSpPr>
          <p:spPr bwMode="auto">
            <a:xfrm>
              <a:off x="14288" y="2322513"/>
              <a:ext cx="1004887" cy="2274887"/>
            </a:xfrm>
            <a:custGeom>
              <a:avLst/>
              <a:gdLst>
                <a:gd name="T0" fmla="*/ 1004527 w 2790"/>
                <a:gd name="T1" fmla="*/ 0 h 6317"/>
                <a:gd name="T2" fmla="*/ 1004527 w 2790"/>
                <a:gd name="T3" fmla="*/ 510652 h 6317"/>
                <a:gd name="T4" fmla="*/ 346488 w 2790"/>
                <a:gd name="T5" fmla="*/ 1137624 h 6317"/>
                <a:gd name="T6" fmla="*/ 1004527 w 2790"/>
                <a:gd name="T7" fmla="*/ 1752711 h 6317"/>
                <a:gd name="T8" fmla="*/ 1004527 w 2790"/>
                <a:gd name="T9" fmla="*/ 2274527 h 6317"/>
                <a:gd name="T10" fmla="*/ 0 w 2790"/>
                <a:gd name="T11" fmla="*/ 1331009 h 6317"/>
                <a:gd name="T12" fmla="*/ 0 w 2790"/>
                <a:gd name="T13" fmla="*/ 955042 h 6317"/>
                <a:gd name="T14" fmla="*/ 1004527 w 2790"/>
                <a:gd name="T15" fmla="*/ 0 h 6317"/>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2790" h="6317">
                  <a:moveTo>
                    <a:pt x="2789" y="0"/>
                  </a:moveTo>
                  <a:lnTo>
                    <a:pt x="2789" y="1418"/>
                  </a:lnTo>
                  <a:lnTo>
                    <a:pt x="962" y="3159"/>
                  </a:lnTo>
                  <a:lnTo>
                    <a:pt x="2789" y="4867"/>
                  </a:lnTo>
                  <a:lnTo>
                    <a:pt x="2789" y="6316"/>
                  </a:lnTo>
                  <a:lnTo>
                    <a:pt x="0" y="3696"/>
                  </a:lnTo>
                  <a:lnTo>
                    <a:pt x="0" y="2652"/>
                  </a:lnTo>
                  <a:lnTo>
                    <a:pt x="2789"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endParaRPr lang="en-US"/>
            </a:p>
          </p:txBody>
        </p:sp>
        <p:sp>
          <p:nvSpPr>
            <p:cNvPr id="11" name="Freeform 6">
              <a:extLst>
                <a:ext uri="{FF2B5EF4-FFF2-40B4-BE49-F238E27FC236}">
                  <a16:creationId xmlns:a16="http://schemas.microsoft.com/office/drawing/2014/main" id="{2F12B3BE-2E14-4E12-F18F-F71EEF29328B}"/>
                </a:ext>
              </a:extLst>
            </p:cNvPr>
            <p:cNvSpPr>
              <a:spLocks noChangeArrowheads="1"/>
            </p:cNvSpPr>
            <p:nvPr/>
          </p:nvSpPr>
          <p:spPr bwMode="auto">
            <a:xfrm>
              <a:off x="9050338" y="2322513"/>
              <a:ext cx="1003300" cy="2274887"/>
            </a:xfrm>
            <a:custGeom>
              <a:avLst/>
              <a:gdLst>
                <a:gd name="T0" fmla="*/ 1002940 w 2789"/>
                <a:gd name="T1" fmla="*/ 955042 h 6317"/>
                <a:gd name="T2" fmla="*/ 1002940 w 2789"/>
                <a:gd name="T3" fmla="*/ 1331009 h 6317"/>
                <a:gd name="T4" fmla="*/ 0 w 2789"/>
                <a:gd name="T5" fmla="*/ 2274527 h 6317"/>
                <a:gd name="T6" fmla="*/ 0 w 2789"/>
                <a:gd name="T7" fmla="*/ 1752711 h 6317"/>
                <a:gd name="T8" fmla="*/ 656876 w 2789"/>
                <a:gd name="T9" fmla="*/ 1137624 h 6317"/>
                <a:gd name="T10" fmla="*/ 0 w 2789"/>
                <a:gd name="T11" fmla="*/ 510652 h 6317"/>
                <a:gd name="T12" fmla="*/ 0 w 2789"/>
                <a:gd name="T13" fmla="*/ 0 h 6317"/>
                <a:gd name="T14" fmla="*/ 1002940 w 2789"/>
                <a:gd name="T15" fmla="*/ 955042 h 6317"/>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2789" h="6317">
                  <a:moveTo>
                    <a:pt x="2788" y="2652"/>
                  </a:moveTo>
                  <a:lnTo>
                    <a:pt x="2788" y="3696"/>
                  </a:lnTo>
                  <a:lnTo>
                    <a:pt x="0" y="6316"/>
                  </a:lnTo>
                  <a:lnTo>
                    <a:pt x="0" y="4867"/>
                  </a:lnTo>
                  <a:lnTo>
                    <a:pt x="1826" y="3159"/>
                  </a:lnTo>
                  <a:lnTo>
                    <a:pt x="0" y="1418"/>
                  </a:lnTo>
                  <a:lnTo>
                    <a:pt x="0" y="0"/>
                  </a:lnTo>
                  <a:lnTo>
                    <a:pt x="2788" y="2652"/>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endParaRPr lang="en-US"/>
            </a:p>
          </p:txBody>
        </p:sp>
      </p:grpSp>
      <p:sp>
        <p:nvSpPr>
          <p:cNvPr id="12" name="Footer Placeholder 14">
            <a:extLst>
              <a:ext uri="{FF2B5EF4-FFF2-40B4-BE49-F238E27FC236}">
                <a16:creationId xmlns:a16="http://schemas.microsoft.com/office/drawing/2014/main" id="{A4765DFE-04E0-FBB0-087E-0B35EEF7FC38}"/>
              </a:ext>
            </a:extLst>
          </p:cNvPr>
          <p:cNvSpPr txBox="1">
            <a:spLocks/>
          </p:cNvSpPr>
          <p:nvPr userDrawn="1"/>
        </p:nvSpPr>
        <p:spPr>
          <a:xfrm>
            <a:off x="1206203" y="6411603"/>
            <a:ext cx="2157779" cy="228599"/>
          </a:xfrm>
          <a:prstGeom prst="rect">
            <a:avLst/>
          </a:prstGeom>
        </p:spPr>
        <p:txBody>
          <a:bodyPr vert="horz" lIns="0" tIns="0" rIns="0" bIns="0" rtlCol="0" anchor="ctr"/>
          <a:lstStyle>
            <a:defPPr>
              <a:defRPr lang="en-US"/>
            </a:defPPr>
            <a:lvl1pPr marL="0" algn="r" defTabSz="914400" rtl="0" eaLnBrk="1" latinLnBrk="0" hangingPunct="1">
              <a:defRPr sz="600" b="0" i="0" kern="1200">
                <a:solidFill>
                  <a:schemeClr val="tx1"/>
                </a:solidFill>
                <a:latin typeface="+mn-lt"/>
                <a:ea typeface="Calibri" panose="020F0502020204030204" pitchFamily="34" charset="0"/>
                <a:cs typeface="Calibri" panose="020F050202020403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b="0" i="0">
                <a:solidFill>
                  <a:schemeClr val="bg1"/>
                </a:solidFill>
                <a:latin typeface="+mn-lt"/>
              </a:rPr>
              <a:t>EPAM Proprietary &amp; Confidential</a:t>
            </a:r>
            <a:r>
              <a:rPr lang="ru-RU" b="0" i="0">
                <a:solidFill>
                  <a:schemeClr val="bg1"/>
                </a:solidFill>
                <a:latin typeface="+mn-lt"/>
              </a:rPr>
              <a:t> </a:t>
            </a:r>
            <a:endParaRPr lang="en-US" b="0" i="0">
              <a:solidFill>
                <a:schemeClr val="bg1"/>
              </a:solidFill>
              <a:latin typeface="+mn-lt"/>
            </a:endParaRPr>
          </a:p>
        </p:txBody>
      </p:sp>
      <p:pic>
        <p:nvPicPr>
          <p:cNvPr id="15" name="Graphic 14">
            <a:extLst>
              <a:ext uri="{FF2B5EF4-FFF2-40B4-BE49-F238E27FC236}">
                <a16:creationId xmlns:a16="http://schemas.microsoft.com/office/drawing/2014/main" id="{4F1123D6-C119-145D-9455-84A0F5FCD527}"/>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820266" y="6419060"/>
            <a:ext cx="762921" cy="205636"/>
          </a:xfrm>
          <a:prstGeom prst="rect">
            <a:avLst/>
          </a:prstGeom>
        </p:spPr>
      </p:pic>
    </p:spTree>
    <p:extLst>
      <p:ext uri="{BB962C8B-B14F-4D97-AF65-F5344CB8AC3E}">
        <p14:creationId xmlns:p14="http://schemas.microsoft.com/office/powerpoint/2010/main" val="40006833"/>
      </p:ext>
    </p:extLst>
  </p:cSld>
  <p:clrMapOvr>
    <a:masterClrMapping/>
  </p:clrMapOvr>
  <p:extLst>
    <p:ext uri="{DCECCB84-F9BA-43D5-87BE-67443E8EF086}">
      <p15:sldGuideLst xmlns:p15="http://schemas.microsoft.com/office/powerpoint/2012/main"/>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Case Study_Mockup">
    <p:bg>
      <p:bgPr>
        <a:solidFill>
          <a:schemeClr val="tx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8552DE14-65C1-7956-7013-27CD9E260F56}"/>
              </a:ext>
            </a:extLst>
          </p:cNvPr>
          <p:cNvSpPr/>
          <p:nvPr userDrawn="1"/>
        </p:nvSpPr>
        <p:spPr bwMode="auto">
          <a:xfrm>
            <a:off x="0" y="0"/>
            <a:ext cx="2489200" cy="6858000"/>
          </a:xfrm>
          <a:prstGeom prst="rect">
            <a:avLst/>
          </a:prstGeom>
          <a:solidFill>
            <a:srgbClr val="2D2D2D"/>
          </a:solidFill>
          <a:ln>
            <a:noFill/>
          </a:ln>
          <a:effectLst/>
        </p:spPr>
        <p:txBody>
          <a:bodyPr wrap="none" rtlCol="0" anchor="ctr"/>
          <a:lstStyle/>
          <a:p>
            <a:pPr algn="ctr"/>
            <a:endParaRPr lang="en-US" sz="2400" err="1">
              <a:solidFill>
                <a:schemeClr val="bg1"/>
              </a:solidFill>
              <a:latin typeface="Calibri Light" panose="020F0302020204030204" pitchFamily="34" charset="0"/>
              <a:ea typeface="Human Sans ExtraLight" charset="0"/>
              <a:cs typeface="Human Sans ExtraLight" charset="0"/>
            </a:endParaRPr>
          </a:p>
        </p:txBody>
      </p:sp>
      <p:sp>
        <p:nvSpPr>
          <p:cNvPr id="5" name="Title 1">
            <a:extLst>
              <a:ext uri="{FF2B5EF4-FFF2-40B4-BE49-F238E27FC236}">
                <a16:creationId xmlns:a16="http://schemas.microsoft.com/office/drawing/2014/main" id="{EAF94430-52EF-289A-6B5B-96C63479C8AD}"/>
              </a:ext>
            </a:extLst>
          </p:cNvPr>
          <p:cNvSpPr>
            <a:spLocks noGrp="1"/>
          </p:cNvSpPr>
          <p:nvPr>
            <p:ph type="title"/>
          </p:nvPr>
        </p:nvSpPr>
        <p:spPr>
          <a:xfrm>
            <a:off x="4375092" y="1600200"/>
            <a:ext cx="4797425" cy="338554"/>
          </a:xfrm>
          <a:prstGeom prst="rect">
            <a:avLst/>
          </a:prstGeom>
        </p:spPr>
        <p:txBody>
          <a:bodyPr>
            <a:spAutoFit/>
          </a:bodyPr>
          <a:lstStyle>
            <a:lvl1pPr>
              <a:defRPr sz="2200" b="1" i="0">
                <a:solidFill>
                  <a:schemeClr val="bg1"/>
                </a:solidFill>
                <a:latin typeface="Calibri" panose="020F0502020204030204" pitchFamily="34" charset="0"/>
                <a:cs typeface="Calibri" panose="020F0502020204030204" pitchFamily="34" charset="0"/>
              </a:defRPr>
            </a:lvl1pPr>
          </a:lstStyle>
          <a:p>
            <a:r>
              <a:rPr lang="en-US"/>
              <a:t>Click to edit Master title style</a:t>
            </a:r>
          </a:p>
        </p:txBody>
      </p:sp>
      <p:sp>
        <p:nvSpPr>
          <p:cNvPr id="6" name="Text Placeholder 2">
            <a:extLst>
              <a:ext uri="{FF2B5EF4-FFF2-40B4-BE49-F238E27FC236}">
                <a16:creationId xmlns:a16="http://schemas.microsoft.com/office/drawing/2014/main" id="{79C365B7-BDA2-A1BA-99C3-FAE4F63E6178}"/>
              </a:ext>
            </a:extLst>
          </p:cNvPr>
          <p:cNvSpPr>
            <a:spLocks noGrp="1"/>
          </p:cNvSpPr>
          <p:nvPr>
            <p:ph type="body" sz="quarter" idx="17" hasCustomPrompt="1"/>
          </p:nvPr>
        </p:nvSpPr>
        <p:spPr>
          <a:xfrm>
            <a:off x="4387665" y="2286000"/>
            <a:ext cx="4784852" cy="3657600"/>
          </a:xfrm>
          <a:prstGeom prst="rect">
            <a:avLst/>
          </a:prstGeom>
        </p:spPr>
        <p:txBody>
          <a:bodyPr/>
          <a:lstStyle>
            <a:lvl1pPr>
              <a:lnSpc>
                <a:spcPts val="2000"/>
              </a:lnSpc>
              <a:defRPr sz="1400" b="0" i="0">
                <a:solidFill>
                  <a:schemeClr val="bg1"/>
                </a:solidFill>
                <a:latin typeface="Calibri Light" panose="020F0302020204030204" pitchFamily="34" charset="0"/>
                <a:cs typeface="Calibri Light" panose="020F0302020204030204" pitchFamily="34" charset="0"/>
              </a:defRPr>
            </a:lvl1pPr>
            <a:lvl2pPr>
              <a:buNone/>
              <a:defRPr/>
            </a:lvl2pPr>
            <a:lvl3pPr>
              <a:buNone/>
              <a:defRPr/>
            </a:lvl3pPr>
          </a:lstStyle>
          <a:p>
            <a:pPr lvl="0"/>
            <a:r>
              <a:rPr lang="en-US"/>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p:txBody>
      </p:sp>
      <p:grpSp>
        <p:nvGrpSpPr>
          <p:cNvPr id="3" name="Group 2">
            <a:extLst>
              <a:ext uri="{FF2B5EF4-FFF2-40B4-BE49-F238E27FC236}">
                <a16:creationId xmlns:a16="http://schemas.microsoft.com/office/drawing/2014/main" id="{EAC351B5-D1D1-7F76-0440-54FC9FC1F6C4}"/>
              </a:ext>
            </a:extLst>
          </p:cNvPr>
          <p:cNvGrpSpPr/>
          <p:nvPr userDrawn="1"/>
        </p:nvGrpSpPr>
        <p:grpSpPr>
          <a:xfrm>
            <a:off x="610888" y="6472556"/>
            <a:ext cx="372834" cy="131175"/>
            <a:chOff x="14288" y="2035175"/>
            <a:chExt cx="10039350" cy="3532188"/>
          </a:xfrm>
          <a:solidFill>
            <a:schemeClr val="bg1"/>
          </a:solidFill>
        </p:grpSpPr>
        <p:sp>
          <p:nvSpPr>
            <p:cNvPr id="4" name="Freeform 1">
              <a:extLst>
                <a:ext uri="{FF2B5EF4-FFF2-40B4-BE49-F238E27FC236}">
                  <a16:creationId xmlns:a16="http://schemas.microsoft.com/office/drawing/2014/main" id="{42019034-45AD-5B0A-C723-54860B845978}"/>
                </a:ext>
              </a:extLst>
            </p:cNvPr>
            <p:cNvSpPr>
              <a:spLocks noChangeArrowheads="1"/>
            </p:cNvSpPr>
            <p:nvPr/>
          </p:nvSpPr>
          <p:spPr bwMode="auto">
            <a:xfrm>
              <a:off x="1519238" y="2035175"/>
              <a:ext cx="1336675" cy="2836863"/>
            </a:xfrm>
            <a:custGeom>
              <a:avLst/>
              <a:gdLst>
                <a:gd name="T0" fmla="*/ 390493 w 3714"/>
                <a:gd name="T1" fmla="*/ 1200682 h 7882"/>
                <a:gd name="T2" fmla="*/ 945462 w 3714"/>
                <a:gd name="T3" fmla="*/ 1200682 h 7882"/>
                <a:gd name="T4" fmla="*/ 945462 w 3714"/>
                <a:gd name="T5" fmla="*/ 611498 h 7882"/>
                <a:gd name="T6" fmla="*/ 698929 w 3714"/>
                <a:gd name="T7" fmla="*/ 364596 h 7882"/>
                <a:gd name="T8" fmla="*/ 637386 w 3714"/>
                <a:gd name="T9" fmla="*/ 364596 h 7882"/>
                <a:gd name="T10" fmla="*/ 390493 w 3714"/>
                <a:gd name="T11" fmla="*/ 611498 h 7882"/>
                <a:gd name="T12" fmla="*/ 390493 w 3714"/>
                <a:gd name="T13" fmla="*/ 1200682 h 7882"/>
                <a:gd name="T14" fmla="*/ 389414 w 3714"/>
                <a:gd name="T15" fmla="*/ 1576795 h 7882"/>
                <a:gd name="T16" fmla="*/ 390493 w 3714"/>
                <a:gd name="T17" fmla="*/ 2224645 h 7882"/>
                <a:gd name="T18" fmla="*/ 637386 w 3714"/>
                <a:gd name="T19" fmla="*/ 2471548 h 7882"/>
                <a:gd name="T20" fmla="*/ 709366 w 3714"/>
                <a:gd name="T21" fmla="*/ 2471548 h 7882"/>
                <a:gd name="T22" fmla="*/ 955899 w 3714"/>
                <a:gd name="T23" fmla="*/ 2224645 h 7882"/>
                <a:gd name="T24" fmla="*/ 955899 w 3714"/>
                <a:gd name="T25" fmla="*/ 1906119 h 7882"/>
                <a:gd name="T26" fmla="*/ 1336315 w 3714"/>
                <a:gd name="T27" fmla="*/ 1906119 h 7882"/>
                <a:gd name="T28" fmla="*/ 1336315 w 3714"/>
                <a:gd name="T29" fmla="*/ 2209528 h 7882"/>
                <a:gd name="T30" fmla="*/ 709366 w 3714"/>
                <a:gd name="T31" fmla="*/ 2836503 h 7882"/>
                <a:gd name="T32" fmla="*/ 626949 w 3714"/>
                <a:gd name="T33" fmla="*/ 2836503 h 7882"/>
                <a:gd name="T34" fmla="*/ 0 w 3714"/>
                <a:gd name="T35" fmla="*/ 2258117 h 7882"/>
                <a:gd name="T36" fmla="*/ 0 w 3714"/>
                <a:gd name="T37" fmla="*/ 675564 h 7882"/>
                <a:gd name="T38" fmla="*/ 626949 w 3714"/>
                <a:gd name="T39" fmla="*/ 0 h 7882"/>
                <a:gd name="T40" fmla="*/ 709366 w 3714"/>
                <a:gd name="T41" fmla="*/ 0 h 7882"/>
                <a:gd name="T42" fmla="*/ 1336315 w 3714"/>
                <a:gd name="T43" fmla="*/ 626975 h 7882"/>
                <a:gd name="T44" fmla="*/ 1334875 w 3714"/>
                <a:gd name="T45" fmla="*/ 1576795 h 7882"/>
                <a:gd name="T46" fmla="*/ 389414 w 3714"/>
                <a:gd name="T47" fmla="*/ 1576795 h 7882"/>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3714" h="7882">
                  <a:moveTo>
                    <a:pt x="1085" y="3336"/>
                  </a:moveTo>
                  <a:lnTo>
                    <a:pt x="2627" y="3336"/>
                  </a:lnTo>
                  <a:lnTo>
                    <a:pt x="2627" y="1699"/>
                  </a:lnTo>
                  <a:cubicBezTo>
                    <a:pt x="2627" y="1242"/>
                    <a:pt x="2399" y="1013"/>
                    <a:pt x="1942" y="1013"/>
                  </a:cubicBezTo>
                  <a:lnTo>
                    <a:pt x="1771" y="1013"/>
                  </a:lnTo>
                  <a:cubicBezTo>
                    <a:pt x="1314" y="1013"/>
                    <a:pt x="1085" y="1242"/>
                    <a:pt x="1085" y="1699"/>
                  </a:cubicBezTo>
                  <a:lnTo>
                    <a:pt x="1085" y="3336"/>
                  </a:lnTo>
                  <a:close/>
                  <a:moveTo>
                    <a:pt x="1082" y="4381"/>
                  </a:moveTo>
                  <a:lnTo>
                    <a:pt x="1085" y="6181"/>
                  </a:lnTo>
                  <a:cubicBezTo>
                    <a:pt x="1085" y="6638"/>
                    <a:pt x="1314" y="6867"/>
                    <a:pt x="1771" y="6867"/>
                  </a:cubicBezTo>
                  <a:lnTo>
                    <a:pt x="1971" y="6867"/>
                  </a:lnTo>
                  <a:cubicBezTo>
                    <a:pt x="2428" y="6867"/>
                    <a:pt x="2656" y="6638"/>
                    <a:pt x="2656" y="6181"/>
                  </a:cubicBezTo>
                  <a:lnTo>
                    <a:pt x="2656" y="5296"/>
                  </a:lnTo>
                  <a:lnTo>
                    <a:pt x="3713" y="5296"/>
                  </a:lnTo>
                  <a:lnTo>
                    <a:pt x="3713" y="6139"/>
                  </a:lnTo>
                  <a:cubicBezTo>
                    <a:pt x="3713" y="7295"/>
                    <a:pt x="3127" y="7881"/>
                    <a:pt x="1971" y="7881"/>
                  </a:cubicBezTo>
                  <a:lnTo>
                    <a:pt x="1742" y="7881"/>
                  </a:lnTo>
                  <a:cubicBezTo>
                    <a:pt x="585" y="7881"/>
                    <a:pt x="0" y="7295"/>
                    <a:pt x="0" y="6274"/>
                  </a:cubicBezTo>
                  <a:lnTo>
                    <a:pt x="0" y="1877"/>
                  </a:lnTo>
                  <a:cubicBezTo>
                    <a:pt x="0" y="585"/>
                    <a:pt x="585" y="0"/>
                    <a:pt x="1742" y="0"/>
                  </a:cubicBezTo>
                  <a:lnTo>
                    <a:pt x="1971" y="0"/>
                  </a:lnTo>
                  <a:cubicBezTo>
                    <a:pt x="3127" y="0"/>
                    <a:pt x="3713" y="585"/>
                    <a:pt x="3713" y="1742"/>
                  </a:cubicBezTo>
                  <a:lnTo>
                    <a:pt x="3709" y="4381"/>
                  </a:lnTo>
                  <a:lnTo>
                    <a:pt x="1082" y="4381"/>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endParaRPr lang="en-US"/>
            </a:p>
          </p:txBody>
        </p:sp>
        <p:sp>
          <p:nvSpPr>
            <p:cNvPr id="7" name="Freeform 2">
              <a:extLst>
                <a:ext uri="{FF2B5EF4-FFF2-40B4-BE49-F238E27FC236}">
                  <a16:creationId xmlns:a16="http://schemas.microsoft.com/office/drawing/2014/main" id="{E4763306-F1E4-D9B9-4BF0-88C31CF8303F}"/>
                </a:ext>
              </a:extLst>
            </p:cNvPr>
            <p:cNvSpPr>
              <a:spLocks noChangeArrowheads="1"/>
            </p:cNvSpPr>
            <p:nvPr/>
          </p:nvSpPr>
          <p:spPr bwMode="auto">
            <a:xfrm>
              <a:off x="3109913" y="2035175"/>
              <a:ext cx="1368425" cy="3532188"/>
            </a:xfrm>
            <a:custGeom>
              <a:avLst/>
              <a:gdLst>
                <a:gd name="T0" fmla="*/ 390721 w 3800"/>
                <a:gd name="T1" fmla="*/ 2322993 h 9812"/>
                <a:gd name="T2" fmla="*/ 750833 w 3800"/>
                <a:gd name="T3" fmla="*/ 2466628 h 9812"/>
                <a:gd name="T4" fmla="*/ 976983 w 3800"/>
                <a:gd name="T5" fmla="*/ 2240556 h 9812"/>
                <a:gd name="T6" fmla="*/ 976983 w 3800"/>
                <a:gd name="T7" fmla="*/ 596138 h 9812"/>
                <a:gd name="T8" fmla="*/ 750833 w 3800"/>
                <a:gd name="T9" fmla="*/ 370066 h 9812"/>
                <a:gd name="T10" fmla="*/ 390721 w 3800"/>
                <a:gd name="T11" fmla="*/ 514061 h 9812"/>
                <a:gd name="T12" fmla="*/ 390721 w 3800"/>
                <a:gd name="T13" fmla="*/ 2322993 h 9812"/>
                <a:gd name="T14" fmla="*/ 0 w 3800"/>
                <a:gd name="T15" fmla="*/ 30599 h 9812"/>
                <a:gd name="T16" fmla="*/ 390721 w 3800"/>
                <a:gd name="T17" fmla="*/ 30599 h 9812"/>
                <a:gd name="T18" fmla="*/ 390721 w 3800"/>
                <a:gd name="T19" fmla="*/ 210592 h 9812"/>
                <a:gd name="T20" fmla="*/ 868950 w 3800"/>
                <a:gd name="T21" fmla="*/ 0 h 9812"/>
                <a:gd name="T22" fmla="*/ 1368065 w 3800"/>
                <a:gd name="T23" fmla="*/ 549699 h 9812"/>
                <a:gd name="T24" fmla="*/ 1368065 w 3800"/>
                <a:gd name="T25" fmla="*/ 2286995 h 9812"/>
                <a:gd name="T26" fmla="*/ 868950 w 3800"/>
                <a:gd name="T27" fmla="*/ 2837054 h 9812"/>
                <a:gd name="T28" fmla="*/ 390721 w 3800"/>
                <a:gd name="T29" fmla="*/ 2636541 h 9812"/>
                <a:gd name="T30" fmla="*/ 390721 w 3800"/>
                <a:gd name="T31" fmla="*/ 3531828 h 9812"/>
                <a:gd name="T32" fmla="*/ 0 w 3800"/>
                <a:gd name="T33" fmla="*/ 3531828 h 9812"/>
                <a:gd name="T34" fmla="*/ 0 w 3800"/>
                <a:gd name="T35" fmla="*/ 30599 h 9812"/>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3800" h="9812">
                  <a:moveTo>
                    <a:pt x="1085" y="6453"/>
                  </a:moveTo>
                  <a:cubicBezTo>
                    <a:pt x="1385" y="6710"/>
                    <a:pt x="1728" y="6852"/>
                    <a:pt x="2085" y="6852"/>
                  </a:cubicBezTo>
                  <a:cubicBezTo>
                    <a:pt x="2485" y="6852"/>
                    <a:pt x="2713" y="6667"/>
                    <a:pt x="2713" y="6224"/>
                  </a:cubicBezTo>
                  <a:lnTo>
                    <a:pt x="2713" y="1656"/>
                  </a:lnTo>
                  <a:cubicBezTo>
                    <a:pt x="2713" y="1213"/>
                    <a:pt x="2485" y="1028"/>
                    <a:pt x="2085" y="1028"/>
                  </a:cubicBezTo>
                  <a:cubicBezTo>
                    <a:pt x="1728" y="1028"/>
                    <a:pt x="1385" y="1170"/>
                    <a:pt x="1085" y="1428"/>
                  </a:cubicBezTo>
                  <a:lnTo>
                    <a:pt x="1085" y="6453"/>
                  </a:lnTo>
                  <a:close/>
                  <a:moveTo>
                    <a:pt x="0" y="85"/>
                  </a:moveTo>
                  <a:lnTo>
                    <a:pt x="1085" y="85"/>
                  </a:lnTo>
                  <a:lnTo>
                    <a:pt x="1085" y="585"/>
                  </a:lnTo>
                  <a:cubicBezTo>
                    <a:pt x="1342" y="314"/>
                    <a:pt x="1785" y="0"/>
                    <a:pt x="2413" y="0"/>
                  </a:cubicBezTo>
                  <a:cubicBezTo>
                    <a:pt x="3342" y="0"/>
                    <a:pt x="3799" y="614"/>
                    <a:pt x="3799" y="1527"/>
                  </a:cubicBezTo>
                  <a:lnTo>
                    <a:pt x="3799" y="6353"/>
                  </a:lnTo>
                  <a:cubicBezTo>
                    <a:pt x="3799" y="7267"/>
                    <a:pt x="3342" y="7881"/>
                    <a:pt x="2413" y="7881"/>
                  </a:cubicBezTo>
                  <a:cubicBezTo>
                    <a:pt x="1785" y="7881"/>
                    <a:pt x="1342" y="7581"/>
                    <a:pt x="1085" y="7324"/>
                  </a:cubicBezTo>
                  <a:lnTo>
                    <a:pt x="1085" y="9811"/>
                  </a:lnTo>
                  <a:lnTo>
                    <a:pt x="0" y="9811"/>
                  </a:lnTo>
                  <a:lnTo>
                    <a:pt x="0" y="85"/>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endParaRPr lang="en-US"/>
            </a:p>
          </p:txBody>
        </p:sp>
        <p:sp>
          <p:nvSpPr>
            <p:cNvPr id="8" name="Freeform 3">
              <a:extLst>
                <a:ext uri="{FF2B5EF4-FFF2-40B4-BE49-F238E27FC236}">
                  <a16:creationId xmlns:a16="http://schemas.microsoft.com/office/drawing/2014/main" id="{538D9816-1C84-7A92-9AB6-BD95A992994A}"/>
                </a:ext>
              </a:extLst>
            </p:cNvPr>
            <p:cNvSpPr>
              <a:spLocks noChangeArrowheads="1"/>
            </p:cNvSpPr>
            <p:nvPr/>
          </p:nvSpPr>
          <p:spPr bwMode="auto">
            <a:xfrm>
              <a:off x="4711700" y="2035175"/>
              <a:ext cx="1328738" cy="2836863"/>
            </a:xfrm>
            <a:custGeom>
              <a:avLst/>
              <a:gdLst>
                <a:gd name="T0" fmla="*/ 937679 w 3690"/>
                <a:gd name="T1" fmla="*/ 2338019 h 7882"/>
                <a:gd name="T2" fmla="*/ 937679 w 3690"/>
                <a:gd name="T3" fmla="*/ 1422750 h 7882"/>
                <a:gd name="T4" fmla="*/ 582988 w 3690"/>
                <a:gd name="T5" fmla="*/ 1556999 h 7882"/>
                <a:gd name="T6" fmla="*/ 392500 w 3690"/>
                <a:gd name="T7" fmla="*/ 1844573 h 7882"/>
                <a:gd name="T8" fmla="*/ 392500 w 3690"/>
                <a:gd name="T9" fmla="*/ 2266035 h 7882"/>
                <a:gd name="T10" fmla="*/ 582988 w 3690"/>
                <a:gd name="T11" fmla="*/ 2466149 h 7882"/>
                <a:gd name="T12" fmla="*/ 937679 w 3690"/>
                <a:gd name="T13" fmla="*/ 2338019 h 7882"/>
                <a:gd name="T14" fmla="*/ 2161 w 3690"/>
                <a:gd name="T15" fmla="*/ 1839174 h 7882"/>
                <a:gd name="T16" fmla="*/ 413025 w 3690"/>
                <a:gd name="T17" fmla="*/ 1253950 h 7882"/>
                <a:gd name="T18" fmla="*/ 937679 w 3690"/>
                <a:gd name="T19" fmla="*/ 1073991 h 7882"/>
                <a:gd name="T20" fmla="*/ 937679 w 3690"/>
                <a:gd name="T21" fmla="*/ 611498 h 7882"/>
                <a:gd name="T22" fmla="*/ 690656 w 3690"/>
                <a:gd name="T23" fmla="*/ 359557 h 7882"/>
                <a:gd name="T24" fmla="*/ 627280 w 3690"/>
                <a:gd name="T25" fmla="*/ 359557 h 7882"/>
                <a:gd name="T26" fmla="*/ 380257 w 3690"/>
                <a:gd name="T27" fmla="*/ 611498 h 7882"/>
                <a:gd name="T28" fmla="*/ 380257 w 3690"/>
                <a:gd name="T29" fmla="*/ 1004527 h 7882"/>
                <a:gd name="T30" fmla="*/ 0 w 3690"/>
                <a:gd name="T31" fmla="*/ 1004527 h 7882"/>
                <a:gd name="T32" fmla="*/ 0 w 3690"/>
                <a:gd name="T33" fmla="*/ 626975 h 7882"/>
                <a:gd name="T34" fmla="*/ 627280 w 3690"/>
                <a:gd name="T35" fmla="*/ 0 h 7882"/>
                <a:gd name="T36" fmla="*/ 701098 w 3690"/>
                <a:gd name="T37" fmla="*/ 0 h 7882"/>
                <a:gd name="T38" fmla="*/ 1328378 w 3690"/>
                <a:gd name="T39" fmla="*/ 626975 h 7882"/>
                <a:gd name="T40" fmla="*/ 1328378 w 3690"/>
                <a:gd name="T41" fmla="*/ 2805550 h 7882"/>
                <a:gd name="T42" fmla="*/ 937679 w 3690"/>
                <a:gd name="T43" fmla="*/ 2805550 h 7882"/>
                <a:gd name="T44" fmla="*/ 937679 w 3690"/>
                <a:gd name="T45" fmla="*/ 2630631 h 7882"/>
                <a:gd name="T46" fmla="*/ 459477 w 3690"/>
                <a:gd name="T47" fmla="*/ 2836503 h 7882"/>
                <a:gd name="T48" fmla="*/ 2161 w 3690"/>
                <a:gd name="T49" fmla="*/ 2348096 h 7882"/>
                <a:gd name="T50" fmla="*/ 2161 w 3690"/>
                <a:gd name="T51" fmla="*/ 1839174 h 7882"/>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3690" h="7882">
                  <a:moveTo>
                    <a:pt x="2604" y="6496"/>
                  </a:moveTo>
                  <a:lnTo>
                    <a:pt x="2604" y="3953"/>
                  </a:lnTo>
                  <a:lnTo>
                    <a:pt x="1619" y="4326"/>
                  </a:lnTo>
                  <a:cubicBezTo>
                    <a:pt x="1219" y="4483"/>
                    <a:pt x="1090" y="4683"/>
                    <a:pt x="1090" y="5125"/>
                  </a:cubicBezTo>
                  <a:lnTo>
                    <a:pt x="1090" y="6296"/>
                  </a:lnTo>
                  <a:cubicBezTo>
                    <a:pt x="1090" y="6667"/>
                    <a:pt x="1276" y="6852"/>
                    <a:pt x="1619" y="6852"/>
                  </a:cubicBezTo>
                  <a:cubicBezTo>
                    <a:pt x="1947" y="6852"/>
                    <a:pt x="2247" y="6738"/>
                    <a:pt x="2604" y="6496"/>
                  </a:cubicBezTo>
                  <a:close/>
                  <a:moveTo>
                    <a:pt x="6" y="5110"/>
                  </a:moveTo>
                  <a:cubicBezTo>
                    <a:pt x="6" y="4155"/>
                    <a:pt x="320" y="3769"/>
                    <a:pt x="1147" y="3484"/>
                  </a:cubicBezTo>
                  <a:lnTo>
                    <a:pt x="2604" y="2984"/>
                  </a:lnTo>
                  <a:lnTo>
                    <a:pt x="2604" y="1699"/>
                  </a:lnTo>
                  <a:cubicBezTo>
                    <a:pt x="2604" y="1242"/>
                    <a:pt x="2375" y="999"/>
                    <a:pt x="1918" y="999"/>
                  </a:cubicBezTo>
                  <a:lnTo>
                    <a:pt x="1742" y="999"/>
                  </a:lnTo>
                  <a:cubicBezTo>
                    <a:pt x="1285" y="999"/>
                    <a:pt x="1056" y="1242"/>
                    <a:pt x="1056" y="1699"/>
                  </a:cubicBezTo>
                  <a:lnTo>
                    <a:pt x="1056" y="2791"/>
                  </a:lnTo>
                  <a:lnTo>
                    <a:pt x="0" y="2791"/>
                  </a:lnTo>
                  <a:lnTo>
                    <a:pt x="0" y="1742"/>
                  </a:lnTo>
                  <a:cubicBezTo>
                    <a:pt x="0" y="585"/>
                    <a:pt x="586" y="0"/>
                    <a:pt x="1742" y="0"/>
                  </a:cubicBezTo>
                  <a:lnTo>
                    <a:pt x="1947" y="0"/>
                  </a:lnTo>
                  <a:cubicBezTo>
                    <a:pt x="3104" y="0"/>
                    <a:pt x="3689" y="585"/>
                    <a:pt x="3689" y="1742"/>
                  </a:cubicBezTo>
                  <a:lnTo>
                    <a:pt x="3689" y="7795"/>
                  </a:lnTo>
                  <a:lnTo>
                    <a:pt x="2604" y="7795"/>
                  </a:lnTo>
                  <a:lnTo>
                    <a:pt x="2604" y="7309"/>
                  </a:lnTo>
                  <a:cubicBezTo>
                    <a:pt x="2304" y="7595"/>
                    <a:pt x="1904" y="7881"/>
                    <a:pt x="1276" y="7881"/>
                  </a:cubicBezTo>
                  <a:cubicBezTo>
                    <a:pt x="406" y="7881"/>
                    <a:pt x="6" y="7381"/>
                    <a:pt x="6" y="6524"/>
                  </a:cubicBezTo>
                  <a:lnTo>
                    <a:pt x="6" y="5110"/>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endParaRPr lang="en-US"/>
            </a:p>
          </p:txBody>
        </p:sp>
        <p:sp>
          <p:nvSpPr>
            <p:cNvPr id="9" name="Freeform 4">
              <a:extLst>
                <a:ext uri="{FF2B5EF4-FFF2-40B4-BE49-F238E27FC236}">
                  <a16:creationId xmlns:a16="http://schemas.microsoft.com/office/drawing/2014/main" id="{9AF008A7-529E-D25F-4F84-82DCCAFF908E}"/>
                </a:ext>
              </a:extLst>
            </p:cNvPr>
            <p:cNvSpPr>
              <a:spLocks noChangeArrowheads="1"/>
            </p:cNvSpPr>
            <p:nvPr/>
          </p:nvSpPr>
          <p:spPr bwMode="auto">
            <a:xfrm>
              <a:off x="6292850" y="2035175"/>
              <a:ext cx="2262188" cy="2806700"/>
            </a:xfrm>
            <a:custGeom>
              <a:avLst/>
              <a:gdLst>
                <a:gd name="T0" fmla="*/ 1326358 w 6285"/>
                <a:gd name="T1" fmla="*/ 2806340 h 7796"/>
                <a:gd name="T2" fmla="*/ 935470 w 6285"/>
                <a:gd name="T3" fmla="*/ 2806340 h 7796"/>
                <a:gd name="T4" fmla="*/ 935470 w 6285"/>
                <a:gd name="T5" fmla="*/ 570628 h 7796"/>
                <a:gd name="T6" fmla="*/ 750463 w 6285"/>
                <a:gd name="T7" fmla="*/ 370098 h 7796"/>
                <a:gd name="T8" fmla="*/ 390889 w 6285"/>
                <a:gd name="T9" fmla="*/ 508705 h 7796"/>
                <a:gd name="T10" fmla="*/ 390889 w 6285"/>
                <a:gd name="T11" fmla="*/ 2806340 h 7796"/>
                <a:gd name="T12" fmla="*/ 0 w 6285"/>
                <a:gd name="T13" fmla="*/ 2806340 h 7796"/>
                <a:gd name="T14" fmla="*/ 0 w 6285"/>
                <a:gd name="T15" fmla="*/ 30602 h 7796"/>
                <a:gd name="T16" fmla="*/ 390889 w 6285"/>
                <a:gd name="T17" fmla="*/ 30602 h 7796"/>
                <a:gd name="T18" fmla="*/ 390889 w 6285"/>
                <a:gd name="T19" fmla="*/ 210611 h 7796"/>
                <a:gd name="T20" fmla="*/ 868882 w 6285"/>
                <a:gd name="T21" fmla="*/ 0 h 7796"/>
                <a:gd name="T22" fmla="*/ 1274888 w 6285"/>
                <a:gd name="T23" fmla="*/ 226091 h 7796"/>
                <a:gd name="T24" fmla="*/ 1804351 w 6285"/>
                <a:gd name="T25" fmla="*/ 0 h 7796"/>
                <a:gd name="T26" fmla="*/ 2261828 w 6285"/>
                <a:gd name="T27" fmla="*/ 488184 h 7796"/>
                <a:gd name="T28" fmla="*/ 2261828 w 6285"/>
                <a:gd name="T29" fmla="*/ 2806340 h 7796"/>
                <a:gd name="T30" fmla="*/ 1870939 w 6285"/>
                <a:gd name="T31" fmla="*/ 2806340 h 7796"/>
                <a:gd name="T32" fmla="*/ 1870939 w 6285"/>
                <a:gd name="T33" fmla="*/ 570628 h 7796"/>
                <a:gd name="T34" fmla="*/ 1685933 w 6285"/>
                <a:gd name="T35" fmla="*/ 370098 h 7796"/>
                <a:gd name="T36" fmla="*/ 1326358 w 6285"/>
                <a:gd name="T37" fmla="*/ 508705 h 7796"/>
                <a:gd name="T38" fmla="*/ 1326358 w 6285"/>
                <a:gd name="T39" fmla="*/ 2806340 h 779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6285" h="7796">
                  <a:moveTo>
                    <a:pt x="3685" y="7795"/>
                  </a:moveTo>
                  <a:lnTo>
                    <a:pt x="2599" y="7795"/>
                  </a:lnTo>
                  <a:lnTo>
                    <a:pt x="2599" y="1585"/>
                  </a:lnTo>
                  <a:cubicBezTo>
                    <a:pt x="2599" y="1199"/>
                    <a:pt x="2414" y="1028"/>
                    <a:pt x="2085" y="1028"/>
                  </a:cubicBezTo>
                  <a:cubicBezTo>
                    <a:pt x="1785" y="1028"/>
                    <a:pt x="1471" y="1142"/>
                    <a:pt x="1086" y="1413"/>
                  </a:cubicBezTo>
                  <a:lnTo>
                    <a:pt x="1086" y="7795"/>
                  </a:lnTo>
                  <a:lnTo>
                    <a:pt x="0" y="7795"/>
                  </a:lnTo>
                  <a:lnTo>
                    <a:pt x="0" y="85"/>
                  </a:lnTo>
                  <a:lnTo>
                    <a:pt x="1086" y="85"/>
                  </a:lnTo>
                  <a:lnTo>
                    <a:pt x="1086" y="585"/>
                  </a:lnTo>
                  <a:cubicBezTo>
                    <a:pt x="1400" y="285"/>
                    <a:pt x="1814" y="0"/>
                    <a:pt x="2414" y="0"/>
                  </a:cubicBezTo>
                  <a:cubicBezTo>
                    <a:pt x="2971" y="0"/>
                    <a:pt x="3342" y="228"/>
                    <a:pt x="3542" y="628"/>
                  </a:cubicBezTo>
                  <a:cubicBezTo>
                    <a:pt x="3928" y="299"/>
                    <a:pt x="4385" y="0"/>
                    <a:pt x="5013" y="0"/>
                  </a:cubicBezTo>
                  <a:cubicBezTo>
                    <a:pt x="5855" y="0"/>
                    <a:pt x="6284" y="514"/>
                    <a:pt x="6284" y="1356"/>
                  </a:cubicBezTo>
                  <a:lnTo>
                    <a:pt x="6284" y="7795"/>
                  </a:lnTo>
                  <a:lnTo>
                    <a:pt x="5198" y="7795"/>
                  </a:lnTo>
                  <a:lnTo>
                    <a:pt x="5198" y="1585"/>
                  </a:lnTo>
                  <a:cubicBezTo>
                    <a:pt x="5198" y="1199"/>
                    <a:pt x="5013" y="1028"/>
                    <a:pt x="4684" y="1028"/>
                  </a:cubicBezTo>
                  <a:cubicBezTo>
                    <a:pt x="4385" y="1028"/>
                    <a:pt x="4070" y="1142"/>
                    <a:pt x="3685" y="1413"/>
                  </a:cubicBezTo>
                  <a:lnTo>
                    <a:pt x="3685" y="7795"/>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endParaRPr lang="en-US"/>
            </a:p>
          </p:txBody>
        </p:sp>
        <p:sp>
          <p:nvSpPr>
            <p:cNvPr id="10" name="Freeform 5">
              <a:extLst>
                <a:ext uri="{FF2B5EF4-FFF2-40B4-BE49-F238E27FC236}">
                  <a16:creationId xmlns:a16="http://schemas.microsoft.com/office/drawing/2014/main" id="{1AD5B8F0-7829-2BBF-C5ED-B16E8203C0E1}"/>
                </a:ext>
              </a:extLst>
            </p:cNvPr>
            <p:cNvSpPr>
              <a:spLocks noChangeArrowheads="1"/>
            </p:cNvSpPr>
            <p:nvPr/>
          </p:nvSpPr>
          <p:spPr bwMode="auto">
            <a:xfrm>
              <a:off x="14288" y="2322513"/>
              <a:ext cx="1004887" cy="2274887"/>
            </a:xfrm>
            <a:custGeom>
              <a:avLst/>
              <a:gdLst>
                <a:gd name="T0" fmla="*/ 1004527 w 2790"/>
                <a:gd name="T1" fmla="*/ 0 h 6317"/>
                <a:gd name="T2" fmla="*/ 1004527 w 2790"/>
                <a:gd name="T3" fmla="*/ 510652 h 6317"/>
                <a:gd name="T4" fmla="*/ 346488 w 2790"/>
                <a:gd name="T5" fmla="*/ 1137624 h 6317"/>
                <a:gd name="T6" fmla="*/ 1004527 w 2790"/>
                <a:gd name="T7" fmla="*/ 1752711 h 6317"/>
                <a:gd name="T8" fmla="*/ 1004527 w 2790"/>
                <a:gd name="T9" fmla="*/ 2274527 h 6317"/>
                <a:gd name="T10" fmla="*/ 0 w 2790"/>
                <a:gd name="T11" fmla="*/ 1331009 h 6317"/>
                <a:gd name="T12" fmla="*/ 0 w 2790"/>
                <a:gd name="T13" fmla="*/ 955042 h 6317"/>
                <a:gd name="T14" fmla="*/ 1004527 w 2790"/>
                <a:gd name="T15" fmla="*/ 0 h 6317"/>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2790" h="6317">
                  <a:moveTo>
                    <a:pt x="2789" y="0"/>
                  </a:moveTo>
                  <a:lnTo>
                    <a:pt x="2789" y="1418"/>
                  </a:lnTo>
                  <a:lnTo>
                    <a:pt x="962" y="3159"/>
                  </a:lnTo>
                  <a:lnTo>
                    <a:pt x="2789" y="4867"/>
                  </a:lnTo>
                  <a:lnTo>
                    <a:pt x="2789" y="6316"/>
                  </a:lnTo>
                  <a:lnTo>
                    <a:pt x="0" y="3696"/>
                  </a:lnTo>
                  <a:lnTo>
                    <a:pt x="0" y="2652"/>
                  </a:lnTo>
                  <a:lnTo>
                    <a:pt x="2789"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endParaRPr lang="en-US"/>
            </a:p>
          </p:txBody>
        </p:sp>
        <p:sp>
          <p:nvSpPr>
            <p:cNvPr id="12" name="Freeform 6">
              <a:extLst>
                <a:ext uri="{FF2B5EF4-FFF2-40B4-BE49-F238E27FC236}">
                  <a16:creationId xmlns:a16="http://schemas.microsoft.com/office/drawing/2014/main" id="{C20226BB-EBD8-5F4C-E55B-BD8452EB15C4}"/>
                </a:ext>
              </a:extLst>
            </p:cNvPr>
            <p:cNvSpPr>
              <a:spLocks noChangeArrowheads="1"/>
            </p:cNvSpPr>
            <p:nvPr/>
          </p:nvSpPr>
          <p:spPr bwMode="auto">
            <a:xfrm>
              <a:off x="9050338" y="2322513"/>
              <a:ext cx="1003300" cy="2274887"/>
            </a:xfrm>
            <a:custGeom>
              <a:avLst/>
              <a:gdLst>
                <a:gd name="T0" fmla="*/ 1002940 w 2789"/>
                <a:gd name="T1" fmla="*/ 955042 h 6317"/>
                <a:gd name="T2" fmla="*/ 1002940 w 2789"/>
                <a:gd name="T3" fmla="*/ 1331009 h 6317"/>
                <a:gd name="T4" fmla="*/ 0 w 2789"/>
                <a:gd name="T5" fmla="*/ 2274527 h 6317"/>
                <a:gd name="T6" fmla="*/ 0 w 2789"/>
                <a:gd name="T7" fmla="*/ 1752711 h 6317"/>
                <a:gd name="T8" fmla="*/ 656876 w 2789"/>
                <a:gd name="T9" fmla="*/ 1137624 h 6317"/>
                <a:gd name="T10" fmla="*/ 0 w 2789"/>
                <a:gd name="T11" fmla="*/ 510652 h 6317"/>
                <a:gd name="T12" fmla="*/ 0 w 2789"/>
                <a:gd name="T13" fmla="*/ 0 h 6317"/>
                <a:gd name="T14" fmla="*/ 1002940 w 2789"/>
                <a:gd name="T15" fmla="*/ 955042 h 6317"/>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2789" h="6317">
                  <a:moveTo>
                    <a:pt x="2788" y="2652"/>
                  </a:moveTo>
                  <a:lnTo>
                    <a:pt x="2788" y="3696"/>
                  </a:lnTo>
                  <a:lnTo>
                    <a:pt x="0" y="6316"/>
                  </a:lnTo>
                  <a:lnTo>
                    <a:pt x="0" y="4867"/>
                  </a:lnTo>
                  <a:lnTo>
                    <a:pt x="1826" y="3159"/>
                  </a:lnTo>
                  <a:lnTo>
                    <a:pt x="0" y="1418"/>
                  </a:lnTo>
                  <a:lnTo>
                    <a:pt x="0" y="0"/>
                  </a:lnTo>
                  <a:lnTo>
                    <a:pt x="2788" y="2652"/>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endParaRPr lang="en-US"/>
            </a:p>
          </p:txBody>
        </p:sp>
      </p:grpSp>
      <p:sp>
        <p:nvSpPr>
          <p:cNvPr id="13" name="Footer Placeholder 14">
            <a:extLst>
              <a:ext uri="{FF2B5EF4-FFF2-40B4-BE49-F238E27FC236}">
                <a16:creationId xmlns:a16="http://schemas.microsoft.com/office/drawing/2014/main" id="{FB6F5598-ED6B-0344-9CD4-7C6715158EE0}"/>
              </a:ext>
            </a:extLst>
          </p:cNvPr>
          <p:cNvSpPr txBox="1">
            <a:spLocks/>
          </p:cNvSpPr>
          <p:nvPr userDrawn="1"/>
        </p:nvSpPr>
        <p:spPr>
          <a:xfrm>
            <a:off x="1206203" y="6411603"/>
            <a:ext cx="2157779" cy="228599"/>
          </a:xfrm>
          <a:prstGeom prst="rect">
            <a:avLst/>
          </a:prstGeom>
        </p:spPr>
        <p:txBody>
          <a:bodyPr vert="horz" lIns="0" tIns="0" rIns="0" bIns="0" rtlCol="0" anchor="ctr"/>
          <a:lstStyle>
            <a:defPPr>
              <a:defRPr lang="en-US"/>
            </a:defPPr>
            <a:lvl1pPr marL="0" algn="r" defTabSz="914400" rtl="0" eaLnBrk="1" latinLnBrk="0" hangingPunct="1">
              <a:defRPr sz="600" b="0" i="0" kern="1200">
                <a:solidFill>
                  <a:schemeClr val="tx1"/>
                </a:solidFill>
                <a:latin typeface="+mn-lt"/>
                <a:ea typeface="Calibri" panose="020F0502020204030204" pitchFamily="34" charset="0"/>
                <a:cs typeface="Calibri" panose="020F050202020403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b="0" i="0">
                <a:solidFill>
                  <a:schemeClr val="bg1"/>
                </a:solidFill>
                <a:latin typeface="+mn-lt"/>
              </a:rPr>
              <a:t>EPAM Proprietary &amp; Confidential</a:t>
            </a:r>
            <a:r>
              <a:rPr lang="ru-RU" b="0" i="0">
                <a:solidFill>
                  <a:schemeClr val="bg1"/>
                </a:solidFill>
                <a:latin typeface="+mn-lt"/>
              </a:rPr>
              <a:t> </a:t>
            </a:r>
            <a:endParaRPr lang="en-US" b="0" i="0">
              <a:solidFill>
                <a:schemeClr val="bg1"/>
              </a:solidFill>
              <a:latin typeface="+mn-lt"/>
            </a:endParaRPr>
          </a:p>
        </p:txBody>
      </p:sp>
      <p:pic>
        <p:nvPicPr>
          <p:cNvPr id="11" name="Graphic 10">
            <a:extLst>
              <a:ext uri="{FF2B5EF4-FFF2-40B4-BE49-F238E27FC236}">
                <a16:creationId xmlns:a16="http://schemas.microsoft.com/office/drawing/2014/main" id="{AF0C2FCA-F3B3-85B7-DF10-B609ED5406D5}"/>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820266" y="6419060"/>
            <a:ext cx="762921" cy="205636"/>
          </a:xfrm>
          <a:prstGeom prst="rect">
            <a:avLst/>
          </a:prstGeom>
        </p:spPr>
      </p:pic>
    </p:spTree>
    <p:extLst>
      <p:ext uri="{BB962C8B-B14F-4D97-AF65-F5344CB8AC3E}">
        <p14:creationId xmlns:p14="http://schemas.microsoft.com/office/powerpoint/2010/main" val="3883975928"/>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Small description + Big Image - Dark">
    <p:bg>
      <p:bgPr>
        <a:solidFill>
          <a:schemeClr val="tx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2BD0D318-DA15-4643-AA98-F0CD1AB9AA30}"/>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57200" y="6378575"/>
            <a:ext cx="2044173" cy="257518"/>
          </a:xfrm>
          <a:prstGeom prst="rect">
            <a:avLst/>
          </a:prstGeom>
        </p:spPr>
      </p:pic>
      <p:sp>
        <p:nvSpPr>
          <p:cNvPr id="10" name="Rectangle 9">
            <a:extLst>
              <a:ext uri="{FF2B5EF4-FFF2-40B4-BE49-F238E27FC236}">
                <a16:creationId xmlns:a16="http://schemas.microsoft.com/office/drawing/2014/main" id="{E9B0530B-2CF0-2B45-9E31-2D14CB34CC97}"/>
              </a:ext>
            </a:extLst>
          </p:cNvPr>
          <p:cNvSpPr/>
          <p:nvPr userDrawn="1"/>
        </p:nvSpPr>
        <p:spPr bwMode="auto">
          <a:xfrm>
            <a:off x="0" y="0"/>
            <a:ext cx="3196910" cy="6858000"/>
          </a:xfrm>
          <a:prstGeom prst="rect">
            <a:avLst/>
          </a:prstGeom>
          <a:solidFill>
            <a:schemeClr val="accent1"/>
          </a:solidFill>
          <a:ln>
            <a:noFill/>
          </a:ln>
          <a:effectLst/>
        </p:spPr>
        <p:txBody>
          <a:bodyPr wrap="none" rtlCol="0" anchor="ctr"/>
          <a:lstStyle/>
          <a:p>
            <a:pPr algn="ctr"/>
            <a:endParaRPr lang="en-US" sz="2400" b="0" i="0">
              <a:solidFill>
                <a:schemeClr val="bg1"/>
              </a:solidFill>
              <a:latin typeface="Calibri Light" panose="020F0302020204030204" pitchFamily="34" charset="0"/>
              <a:ea typeface="Human Sans ExtraLight" charset="0"/>
              <a:cs typeface="Human Sans ExtraLight" charset="0"/>
            </a:endParaRPr>
          </a:p>
        </p:txBody>
      </p:sp>
      <p:sp>
        <p:nvSpPr>
          <p:cNvPr id="14" name="Picture Placeholder 13">
            <a:extLst>
              <a:ext uri="{FF2B5EF4-FFF2-40B4-BE49-F238E27FC236}">
                <a16:creationId xmlns:a16="http://schemas.microsoft.com/office/drawing/2014/main" id="{8C51537F-E5E5-C646-8EA7-62625B5F033C}"/>
              </a:ext>
            </a:extLst>
          </p:cNvPr>
          <p:cNvSpPr>
            <a:spLocks noGrp="1"/>
          </p:cNvSpPr>
          <p:nvPr>
            <p:ph type="pic" sz="quarter" idx="10"/>
          </p:nvPr>
        </p:nvSpPr>
        <p:spPr>
          <a:xfrm>
            <a:off x="3196910" y="0"/>
            <a:ext cx="8995090" cy="6858000"/>
          </a:xfrm>
          <a:prstGeom prst="rect">
            <a:avLst/>
          </a:prstGeom>
        </p:spPr>
        <p:txBody>
          <a:bodyPr/>
          <a:lstStyle>
            <a:lvl1pPr>
              <a:defRPr b="0" i="0"/>
            </a:lvl1pPr>
          </a:lstStyle>
          <a:p>
            <a:r>
              <a:rPr lang="en-GB"/>
              <a:t>Click icon to add picture</a:t>
            </a:r>
            <a:endParaRPr lang="en-US"/>
          </a:p>
        </p:txBody>
      </p:sp>
      <p:sp>
        <p:nvSpPr>
          <p:cNvPr id="5" name="Title 1">
            <a:extLst>
              <a:ext uri="{FF2B5EF4-FFF2-40B4-BE49-F238E27FC236}">
                <a16:creationId xmlns:a16="http://schemas.microsoft.com/office/drawing/2014/main" id="{C84856B7-148D-E1E7-3F34-5D2E2DF9F15C}"/>
              </a:ext>
            </a:extLst>
          </p:cNvPr>
          <p:cNvSpPr>
            <a:spLocks noGrp="1"/>
          </p:cNvSpPr>
          <p:nvPr>
            <p:ph type="title" hasCustomPrompt="1"/>
          </p:nvPr>
        </p:nvSpPr>
        <p:spPr>
          <a:xfrm>
            <a:off x="633633" y="722843"/>
            <a:ext cx="2323324" cy="338554"/>
          </a:xfrm>
          <a:prstGeom prst="rect">
            <a:avLst/>
          </a:prstGeom>
        </p:spPr>
        <p:txBody>
          <a:bodyPr/>
          <a:lstStyle>
            <a:lvl1pPr>
              <a:defRPr lang="en-US" sz="2200" b="1" i="0" kern="1200" spc="0" dirty="0">
                <a:solidFill>
                  <a:schemeClr val="bg1"/>
                </a:solidFill>
                <a:effectLst/>
                <a:latin typeface="+mj-lt"/>
                <a:ea typeface="Calibri" panose="020F0502020204030204" pitchFamily="34" charset="0"/>
                <a:cs typeface="Calibri" panose="020F0502020204030204" pitchFamily="34" charset="0"/>
              </a:defRPr>
            </a:lvl1pPr>
          </a:lstStyle>
          <a:p>
            <a:pPr marL="0" lvl="0" indent="0" algn="l" defTabSz="914400" rtl="0" eaLnBrk="1" latinLnBrk="0" hangingPunct="1">
              <a:lnSpc>
                <a:spcPct val="100000"/>
              </a:lnSpc>
              <a:spcBef>
                <a:spcPts val="0"/>
              </a:spcBef>
              <a:spcAft>
                <a:spcPts val="0"/>
              </a:spcAft>
              <a:buFont typeface="Arial" panose="020B0604020202020204" pitchFamily="34" charset="0"/>
              <a:buNone/>
            </a:pPr>
            <a:r>
              <a:rPr lang="en-US">
                <a:effectLst/>
              </a:rPr>
              <a:t>Title Goes Here</a:t>
            </a:r>
            <a:endParaRPr lang="en-US"/>
          </a:p>
        </p:txBody>
      </p:sp>
      <p:sp>
        <p:nvSpPr>
          <p:cNvPr id="6" name="Text Placeholder 10">
            <a:extLst>
              <a:ext uri="{FF2B5EF4-FFF2-40B4-BE49-F238E27FC236}">
                <a16:creationId xmlns:a16="http://schemas.microsoft.com/office/drawing/2014/main" id="{0081F455-FCFB-C236-B7B8-F9D5D063F1B2}"/>
              </a:ext>
            </a:extLst>
          </p:cNvPr>
          <p:cNvSpPr>
            <a:spLocks noGrp="1"/>
          </p:cNvSpPr>
          <p:nvPr>
            <p:ph type="body" sz="quarter" idx="28" hasCustomPrompt="1"/>
          </p:nvPr>
        </p:nvSpPr>
        <p:spPr>
          <a:xfrm>
            <a:off x="633632" y="419099"/>
            <a:ext cx="2557243" cy="303743"/>
          </a:xfrm>
          <a:prstGeom prst="rect">
            <a:avLst/>
          </a:prstGeom>
        </p:spPr>
        <p:txBody>
          <a:bodyPr/>
          <a:lstStyle>
            <a:lvl1pPr>
              <a:spcBef>
                <a:spcPts val="0"/>
              </a:spcBef>
              <a:defRPr lang="en-US" sz="1000" b="0" i="0" kern="1200" cap="all" spc="300" baseline="0" dirty="0">
                <a:solidFill>
                  <a:schemeClr val="bg1"/>
                </a:solidFill>
                <a:latin typeface="Calibri" panose="020F0502020204030204" pitchFamily="34" charset="0"/>
                <a:ea typeface="Calibri" panose="020F0502020204030204" pitchFamily="34" charset="0"/>
                <a:cs typeface="Calibri" panose="020F0502020204030204" pitchFamily="34" charset="0"/>
              </a:defRPr>
            </a:lvl1pPr>
          </a:lstStyle>
          <a:p>
            <a:pPr marL="0" lvl="0" indent="0" algn="l" defTabSz="914400" rtl="0" eaLnBrk="1" latinLnBrk="0" hangingPunct="1">
              <a:lnSpc>
                <a:spcPct val="100000"/>
              </a:lnSpc>
              <a:spcBef>
                <a:spcPts val="600"/>
              </a:spcBef>
              <a:spcAft>
                <a:spcPts val="0"/>
              </a:spcAft>
              <a:buFont typeface="Arial" panose="020B0604020202020204" pitchFamily="34" charset="0"/>
              <a:buNone/>
            </a:pPr>
            <a:r>
              <a:rPr lang="en-US"/>
              <a:t>Click to add section title</a:t>
            </a:r>
          </a:p>
        </p:txBody>
      </p:sp>
      <p:grpSp>
        <p:nvGrpSpPr>
          <p:cNvPr id="27" name="Group 26">
            <a:extLst>
              <a:ext uri="{FF2B5EF4-FFF2-40B4-BE49-F238E27FC236}">
                <a16:creationId xmlns:a16="http://schemas.microsoft.com/office/drawing/2014/main" id="{BF608023-271C-CD8F-B310-1963E1451AA5}"/>
              </a:ext>
            </a:extLst>
          </p:cNvPr>
          <p:cNvGrpSpPr/>
          <p:nvPr userDrawn="1"/>
        </p:nvGrpSpPr>
        <p:grpSpPr>
          <a:xfrm>
            <a:off x="610888" y="6472556"/>
            <a:ext cx="372834" cy="131175"/>
            <a:chOff x="14288" y="2035175"/>
            <a:chExt cx="10039350" cy="3532188"/>
          </a:xfrm>
          <a:solidFill>
            <a:schemeClr val="bg1"/>
          </a:solidFill>
        </p:grpSpPr>
        <p:sp>
          <p:nvSpPr>
            <p:cNvPr id="28" name="Freeform 1">
              <a:extLst>
                <a:ext uri="{FF2B5EF4-FFF2-40B4-BE49-F238E27FC236}">
                  <a16:creationId xmlns:a16="http://schemas.microsoft.com/office/drawing/2014/main" id="{E2892E38-6F11-376F-83E1-960380EA2DC8}"/>
                </a:ext>
              </a:extLst>
            </p:cNvPr>
            <p:cNvSpPr>
              <a:spLocks noChangeArrowheads="1"/>
            </p:cNvSpPr>
            <p:nvPr/>
          </p:nvSpPr>
          <p:spPr bwMode="auto">
            <a:xfrm>
              <a:off x="1519238" y="2035175"/>
              <a:ext cx="1336675" cy="2836863"/>
            </a:xfrm>
            <a:custGeom>
              <a:avLst/>
              <a:gdLst>
                <a:gd name="T0" fmla="*/ 390493 w 3714"/>
                <a:gd name="T1" fmla="*/ 1200682 h 7882"/>
                <a:gd name="T2" fmla="*/ 945462 w 3714"/>
                <a:gd name="T3" fmla="*/ 1200682 h 7882"/>
                <a:gd name="T4" fmla="*/ 945462 w 3714"/>
                <a:gd name="T5" fmla="*/ 611498 h 7882"/>
                <a:gd name="T6" fmla="*/ 698929 w 3714"/>
                <a:gd name="T7" fmla="*/ 364596 h 7882"/>
                <a:gd name="T8" fmla="*/ 637386 w 3714"/>
                <a:gd name="T9" fmla="*/ 364596 h 7882"/>
                <a:gd name="T10" fmla="*/ 390493 w 3714"/>
                <a:gd name="T11" fmla="*/ 611498 h 7882"/>
                <a:gd name="T12" fmla="*/ 390493 w 3714"/>
                <a:gd name="T13" fmla="*/ 1200682 h 7882"/>
                <a:gd name="T14" fmla="*/ 389414 w 3714"/>
                <a:gd name="T15" fmla="*/ 1576795 h 7882"/>
                <a:gd name="T16" fmla="*/ 390493 w 3714"/>
                <a:gd name="T17" fmla="*/ 2224645 h 7882"/>
                <a:gd name="T18" fmla="*/ 637386 w 3714"/>
                <a:gd name="T19" fmla="*/ 2471548 h 7882"/>
                <a:gd name="T20" fmla="*/ 709366 w 3714"/>
                <a:gd name="T21" fmla="*/ 2471548 h 7882"/>
                <a:gd name="T22" fmla="*/ 955899 w 3714"/>
                <a:gd name="T23" fmla="*/ 2224645 h 7882"/>
                <a:gd name="T24" fmla="*/ 955899 w 3714"/>
                <a:gd name="T25" fmla="*/ 1906119 h 7882"/>
                <a:gd name="T26" fmla="*/ 1336315 w 3714"/>
                <a:gd name="T27" fmla="*/ 1906119 h 7882"/>
                <a:gd name="T28" fmla="*/ 1336315 w 3714"/>
                <a:gd name="T29" fmla="*/ 2209528 h 7882"/>
                <a:gd name="T30" fmla="*/ 709366 w 3714"/>
                <a:gd name="T31" fmla="*/ 2836503 h 7882"/>
                <a:gd name="T32" fmla="*/ 626949 w 3714"/>
                <a:gd name="T33" fmla="*/ 2836503 h 7882"/>
                <a:gd name="T34" fmla="*/ 0 w 3714"/>
                <a:gd name="T35" fmla="*/ 2258117 h 7882"/>
                <a:gd name="T36" fmla="*/ 0 w 3714"/>
                <a:gd name="T37" fmla="*/ 675564 h 7882"/>
                <a:gd name="T38" fmla="*/ 626949 w 3714"/>
                <a:gd name="T39" fmla="*/ 0 h 7882"/>
                <a:gd name="T40" fmla="*/ 709366 w 3714"/>
                <a:gd name="T41" fmla="*/ 0 h 7882"/>
                <a:gd name="T42" fmla="*/ 1336315 w 3714"/>
                <a:gd name="T43" fmla="*/ 626975 h 7882"/>
                <a:gd name="T44" fmla="*/ 1334875 w 3714"/>
                <a:gd name="T45" fmla="*/ 1576795 h 7882"/>
                <a:gd name="T46" fmla="*/ 389414 w 3714"/>
                <a:gd name="T47" fmla="*/ 1576795 h 7882"/>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3714" h="7882">
                  <a:moveTo>
                    <a:pt x="1085" y="3336"/>
                  </a:moveTo>
                  <a:lnTo>
                    <a:pt x="2627" y="3336"/>
                  </a:lnTo>
                  <a:lnTo>
                    <a:pt x="2627" y="1699"/>
                  </a:lnTo>
                  <a:cubicBezTo>
                    <a:pt x="2627" y="1242"/>
                    <a:pt x="2399" y="1013"/>
                    <a:pt x="1942" y="1013"/>
                  </a:cubicBezTo>
                  <a:lnTo>
                    <a:pt x="1771" y="1013"/>
                  </a:lnTo>
                  <a:cubicBezTo>
                    <a:pt x="1314" y="1013"/>
                    <a:pt x="1085" y="1242"/>
                    <a:pt x="1085" y="1699"/>
                  </a:cubicBezTo>
                  <a:lnTo>
                    <a:pt x="1085" y="3336"/>
                  </a:lnTo>
                  <a:close/>
                  <a:moveTo>
                    <a:pt x="1082" y="4381"/>
                  </a:moveTo>
                  <a:lnTo>
                    <a:pt x="1085" y="6181"/>
                  </a:lnTo>
                  <a:cubicBezTo>
                    <a:pt x="1085" y="6638"/>
                    <a:pt x="1314" y="6867"/>
                    <a:pt x="1771" y="6867"/>
                  </a:cubicBezTo>
                  <a:lnTo>
                    <a:pt x="1971" y="6867"/>
                  </a:lnTo>
                  <a:cubicBezTo>
                    <a:pt x="2428" y="6867"/>
                    <a:pt x="2656" y="6638"/>
                    <a:pt x="2656" y="6181"/>
                  </a:cubicBezTo>
                  <a:lnTo>
                    <a:pt x="2656" y="5296"/>
                  </a:lnTo>
                  <a:lnTo>
                    <a:pt x="3713" y="5296"/>
                  </a:lnTo>
                  <a:lnTo>
                    <a:pt x="3713" y="6139"/>
                  </a:lnTo>
                  <a:cubicBezTo>
                    <a:pt x="3713" y="7295"/>
                    <a:pt x="3127" y="7881"/>
                    <a:pt x="1971" y="7881"/>
                  </a:cubicBezTo>
                  <a:lnTo>
                    <a:pt x="1742" y="7881"/>
                  </a:lnTo>
                  <a:cubicBezTo>
                    <a:pt x="585" y="7881"/>
                    <a:pt x="0" y="7295"/>
                    <a:pt x="0" y="6274"/>
                  </a:cubicBezTo>
                  <a:lnTo>
                    <a:pt x="0" y="1877"/>
                  </a:lnTo>
                  <a:cubicBezTo>
                    <a:pt x="0" y="585"/>
                    <a:pt x="585" y="0"/>
                    <a:pt x="1742" y="0"/>
                  </a:cubicBezTo>
                  <a:lnTo>
                    <a:pt x="1971" y="0"/>
                  </a:lnTo>
                  <a:cubicBezTo>
                    <a:pt x="3127" y="0"/>
                    <a:pt x="3713" y="585"/>
                    <a:pt x="3713" y="1742"/>
                  </a:cubicBezTo>
                  <a:lnTo>
                    <a:pt x="3709" y="4381"/>
                  </a:lnTo>
                  <a:lnTo>
                    <a:pt x="1082" y="4381"/>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endParaRPr lang="en-US"/>
            </a:p>
          </p:txBody>
        </p:sp>
        <p:sp>
          <p:nvSpPr>
            <p:cNvPr id="29" name="Freeform 2">
              <a:extLst>
                <a:ext uri="{FF2B5EF4-FFF2-40B4-BE49-F238E27FC236}">
                  <a16:creationId xmlns:a16="http://schemas.microsoft.com/office/drawing/2014/main" id="{8048F85A-2CCA-C8DD-209B-850519D3AB2D}"/>
                </a:ext>
              </a:extLst>
            </p:cNvPr>
            <p:cNvSpPr>
              <a:spLocks noChangeArrowheads="1"/>
            </p:cNvSpPr>
            <p:nvPr/>
          </p:nvSpPr>
          <p:spPr bwMode="auto">
            <a:xfrm>
              <a:off x="3109913" y="2035175"/>
              <a:ext cx="1368425" cy="3532188"/>
            </a:xfrm>
            <a:custGeom>
              <a:avLst/>
              <a:gdLst>
                <a:gd name="T0" fmla="*/ 390721 w 3800"/>
                <a:gd name="T1" fmla="*/ 2322993 h 9812"/>
                <a:gd name="T2" fmla="*/ 750833 w 3800"/>
                <a:gd name="T3" fmla="*/ 2466628 h 9812"/>
                <a:gd name="T4" fmla="*/ 976983 w 3800"/>
                <a:gd name="T5" fmla="*/ 2240556 h 9812"/>
                <a:gd name="T6" fmla="*/ 976983 w 3800"/>
                <a:gd name="T7" fmla="*/ 596138 h 9812"/>
                <a:gd name="T8" fmla="*/ 750833 w 3800"/>
                <a:gd name="T9" fmla="*/ 370066 h 9812"/>
                <a:gd name="T10" fmla="*/ 390721 w 3800"/>
                <a:gd name="T11" fmla="*/ 514061 h 9812"/>
                <a:gd name="T12" fmla="*/ 390721 w 3800"/>
                <a:gd name="T13" fmla="*/ 2322993 h 9812"/>
                <a:gd name="T14" fmla="*/ 0 w 3800"/>
                <a:gd name="T15" fmla="*/ 30599 h 9812"/>
                <a:gd name="T16" fmla="*/ 390721 w 3800"/>
                <a:gd name="T17" fmla="*/ 30599 h 9812"/>
                <a:gd name="T18" fmla="*/ 390721 w 3800"/>
                <a:gd name="T19" fmla="*/ 210592 h 9812"/>
                <a:gd name="T20" fmla="*/ 868950 w 3800"/>
                <a:gd name="T21" fmla="*/ 0 h 9812"/>
                <a:gd name="T22" fmla="*/ 1368065 w 3800"/>
                <a:gd name="T23" fmla="*/ 549699 h 9812"/>
                <a:gd name="T24" fmla="*/ 1368065 w 3800"/>
                <a:gd name="T25" fmla="*/ 2286995 h 9812"/>
                <a:gd name="T26" fmla="*/ 868950 w 3800"/>
                <a:gd name="T27" fmla="*/ 2837054 h 9812"/>
                <a:gd name="T28" fmla="*/ 390721 w 3800"/>
                <a:gd name="T29" fmla="*/ 2636541 h 9812"/>
                <a:gd name="T30" fmla="*/ 390721 w 3800"/>
                <a:gd name="T31" fmla="*/ 3531828 h 9812"/>
                <a:gd name="T32" fmla="*/ 0 w 3800"/>
                <a:gd name="T33" fmla="*/ 3531828 h 9812"/>
                <a:gd name="T34" fmla="*/ 0 w 3800"/>
                <a:gd name="T35" fmla="*/ 30599 h 9812"/>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3800" h="9812">
                  <a:moveTo>
                    <a:pt x="1085" y="6453"/>
                  </a:moveTo>
                  <a:cubicBezTo>
                    <a:pt x="1385" y="6710"/>
                    <a:pt x="1728" y="6852"/>
                    <a:pt x="2085" y="6852"/>
                  </a:cubicBezTo>
                  <a:cubicBezTo>
                    <a:pt x="2485" y="6852"/>
                    <a:pt x="2713" y="6667"/>
                    <a:pt x="2713" y="6224"/>
                  </a:cubicBezTo>
                  <a:lnTo>
                    <a:pt x="2713" y="1656"/>
                  </a:lnTo>
                  <a:cubicBezTo>
                    <a:pt x="2713" y="1213"/>
                    <a:pt x="2485" y="1028"/>
                    <a:pt x="2085" y="1028"/>
                  </a:cubicBezTo>
                  <a:cubicBezTo>
                    <a:pt x="1728" y="1028"/>
                    <a:pt x="1385" y="1170"/>
                    <a:pt x="1085" y="1428"/>
                  </a:cubicBezTo>
                  <a:lnTo>
                    <a:pt x="1085" y="6453"/>
                  </a:lnTo>
                  <a:close/>
                  <a:moveTo>
                    <a:pt x="0" y="85"/>
                  </a:moveTo>
                  <a:lnTo>
                    <a:pt x="1085" y="85"/>
                  </a:lnTo>
                  <a:lnTo>
                    <a:pt x="1085" y="585"/>
                  </a:lnTo>
                  <a:cubicBezTo>
                    <a:pt x="1342" y="314"/>
                    <a:pt x="1785" y="0"/>
                    <a:pt x="2413" y="0"/>
                  </a:cubicBezTo>
                  <a:cubicBezTo>
                    <a:pt x="3342" y="0"/>
                    <a:pt x="3799" y="614"/>
                    <a:pt x="3799" y="1527"/>
                  </a:cubicBezTo>
                  <a:lnTo>
                    <a:pt x="3799" y="6353"/>
                  </a:lnTo>
                  <a:cubicBezTo>
                    <a:pt x="3799" y="7267"/>
                    <a:pt x="3342" y="7881"/>
                    <a:pt x="2413" y="7881"/>
                  </a:cubicBezTo>
                  <a:cubicBezTo>
                    <a:pt x="1785" y="7881"/>
                    <a:pt x="1342" y="7581"/>
                    <a:pt x="1085" y="7324"/>
                  </a:cubicBezTo>
                  <a:lnTo>
                    <a:pt x="1085" y="9811"/>
                  </a:lnTo>
                  <a:lnTo>
                    <a:pt x="0" y="9811"/>
                  </a:lnTo>
                  <a:lnTo>
                    <a:pt x="0" y="85"/>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endParaRPr lang="en-US"/>
            </a:p>
          </p:txBody>
        </p:sp>
        <p:sp>
          <p:nvSpPr>
            <p:cNvPr id="30" name="Freeform 3">
              <a:extLst>
                <a:ext uri="{FF2B5EF4-FFF2-40B4-BE49-F238E27FC236}">
                  <a16:creationId xmlns:a16="http://schemas.microsoft.com/office/drawing/2014/main" id="{0868632A-74F3-A0C9-E1CE-FCD80907930F}"/>
                </a:ext>
              </a:extLst>
            </p:cNvPr>
            <p:cNvSpPr>
              <a:spLocks noChangeArrowheads="1"/>
            </p:cNvSpPr>
            <p:nvPr/>
          </p:nvSpPr>
          <p:spPr bwMode="auto">
            <a:xfrm>
              <a:off x="4711700" y="2035175"/>
              <a:ext cx="1328738" cy="2836863"/>
            </a:xfrm>
            <a:custGeom>
              <a:avLst/>
              <a:gdLst>
                <a:gd name="T0" fmla="*/ 937679 w 3690"/>
                <a:gd name="T1" fmla="*/ 2338019 h 7882"/>
                <a:gd name="T2" fmla="*/ 937679 w 3690"/>
                <a:gd name="T3" fmla="*/ 1422750 h 7882"/>
                <a:gd name="T4" fmla="*/ 582988 w 3690"/>
                <a:gd name="T5" fmla="*/ 1556999 h 7882"/>
                <a:gd name="T6" fmla="*/ 392500 w 3690"/>
                <a:gd name="T7" fmla="*/ 1844573 h 7882"/>
                <a:gd name="T8" fmla="*/ 392500 w 3690"/>
                <a:gd name="T9" fmla="*/ 2266035 h 7882"/>
                <a:gd name="T10" fmla="*/ 582988 w 3690"/>
                <a:gd name="T11" fmla="*/ 2466149 h 7882"/>
                <a:gd name="T12" fmla="*/ 937679 w 3690"/>
                <a:gd name="T13" fmla="*/ 2338019 h 7882"/>
                <a:gd name="T14" fmla="*/ 2161 w 3690"/>
                <a:gd name="T15" fmla="*/ 1839174 h 7882"/>
                <a:gd name="T16" fmla="*/ 413025 w 3690"/>
                <a:gd name="T17" fmla="*/ 1253950 h 7882"/>
                <a:gd name="T18" fmla="*/ 937679 w 3690"/>
                <a:gd name="T19" fmla="*/ 1073991 h 7882"/>
                <a:gd name="T20" fmla="*/ 937679 w 3690"/>
                <a:gd name="T21" fmla="*/ 611498 h 7882"/>
                <a:gd name="T22" fmla="*/ 690656 w 3690"/>
                <a:gd name="T23" fmla="*/ 359557 h 7882"/>
                <a:gd name="T24" fmla="*/ 627280 w 3690"/>
                <a:gd name="T25" fmla="*/ 359557 h 7882"/>
                <a:gd name="T26" fmla="*/ 380257 w 3690"/>
                <a:gd name="T27" fmla="*/ 611498 h 7882"/>
                <a:gd name="T28" fmla="*/ 380257 w 3690"/>
                <a:gd name="T29" fmla="*/ 1004527 h 7882"/>
                <a:gd name="T30" fmla="*/ 0 w 3690"/>
                <a:gd name="T31" fmla="*/ 1004527 h 7882"/>
                <a:gd name="T32" fmla="*/ 0 w 3690"/>
                <a:gd name="T33" fmla="*/ 626975 h 7882"/>
                <a:gd name="T34" fmla="*/ 627280 w 3690"/>
                <a:gd name="T35" fmla="*/ 0 h 7882"/>
                <a:gd name="T36" fmla="*/ 701098 w 3690"/>
                <a:gd name="T37" fmla="*/ 0 h 7882"/>
                <a:gd name="T38" fmla="*/ 1328378 w 3690"/>
                <a:gd name="T39" fmla="*/ 626975 h 7882"/>
                <a:gd name="T40" fmla="*/ 1328378 w 3690"/>
                <a:gd name="T41" fmla="*/ 2805550 h 7882"/>
                <a:gd name="T42" fmla="*/ 937679 w 3690"/>
                <a:gd name="T43" fmla="*/ 2805550 h 7882"/>
                <a:gd name="T44" fmla="*/ 937679 w 3690"/>
                <a:gd name="T45" fmla="*/ 2630631 h 7882"/>
                <a:gd name="T46" fmla="*/ 459477 w 3690"/>
                <a:gd name="T47" fmla="*/ 2836503 h 7882"/>
                <a:gd name="T48" fmla="*/ 2161 w 3690"/>
                <a:gd name="T49" fmla="*/ 2348096 h 7882"/>
                <a:gd name="T50" fmla="*/ 2161 w 3690"/>
                <a:gd name="T51" fmla="*/ 1839174 h 7882"/>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3690" h="7882">
                  <a:moveTo>
                    <a:pt x="2604" y="6496"/>
                  </a:moveTo>
                  <a:lnTo>
                    <a:pt x="2604" y="3953"/>
                  </a:lnTo>
                  <a:lnTo>
                    <a:pt x="1619" y="4326"/>
                  </a:lnTo>
                  <a:cubicBezTo>
                    <a:pt x="1219" y="4483"/>
                    <a:pt x="1090" y="4683"/>
                    <a:pt x="1090" y="5125"/>
                  </a:cubicBezTo>
                  <a:lnTo>
                    <a:pt x="1090" y="6296"/>
                  </a:lnTo>
                  <a:cubicBezTo>
                    <a:pt x="1090" y="6667"/>
                    <a:pt x="1276" y="6852"/>
                    <a:pt x="1619" y="6852"/>
                  </a:cubicBezTo>
                  <a:cubicBezTo>
                    <a:pt x="1947" y="6852"/>
                    <a:pt x="2247" y="6738"/>
                    <a:pt x="2604" y="6496"/>
                  </a:cubicBezTo>
                  <a:close/>
                  <a:moveTo>
                    <a:pt x="6" y="5110"/>
                  </a:moveTo>
                  <a:cubicBezTo>
                    <a:pt x="6" y="4155"/>
                    <a:pt x="320" y="3769"/>
                    <a:pt x="1147" y="3484"/>
                  </a:cubicBezTo>
                  <a:lnTo>
                    <a:pt x="2604" y="2984"/>
                  </a:lnTo>
                  <a:lnTo>
                    <a:pt x="2604" y="1699"/>
                  </a:lnTo>
                  <a:cubicBezTo>
                    <a:pt x="2604" y="1242"/>
                    <a:pt x="2375" y="999"/>
                    <a:pt x="1918" y="999"/>
                  </a:cubicBezTo>
                  <a:lnTo>
                    <a:pt x="1742" y="999"/>
                  </a:lnTo>
                  <a:cubicBezTo>
                    <a:pt x="1285" y="999"/>
                    <a:pt x="1056" y="1242"/>
                    <a:pt x="1056" y="1699"/>
                  </a:cubicBezTo>
                  <a:lnTo>
                    <a:pt x="1056" y="2791"/>
                  </a:lnTo>
                  <a:lnTo>
                    <a:pt x="0" y="2791"/>
                  </a:lnTo>
                  <a:lnTo>
                    <a:pt x="0" y="1742"/>
                  </a:lnTo>
                  <a:cubicBezTo>
                    <a:pt x="0" y="585"/>
                    <a:pt x="586" y="0"/>
                    <a:pt x="1742" y="0"/>
                  </a:cubicBezTo>
                  <a:lnTo>
                    <a:pt x="1947" y="0"/>
                  </a:lnTo>
                  <a:cubicBezTo>
                    <a:pt x="3104" y="0"/>
                    <a:pt x="3689" y="585"/>
                    <a:pt x="3689" y="1742"/>
                  </a:cubicBezTo>
                  <a:lnTo>
                    <a:pt x="3689" y="7795"/>
                  </a:lnTo>
                  <a:lnTo>
                    <a:pt x="2604" y="7795"/>
                  </a:lnTo>
                  <a:lnTo>
                    <a:pt x="2604" y="7309"/>
                  </a:lnTo>
                  <a:cubicBezTo>
                    <a:pt x="2304" y="7595"/>
                    <a:pt x="1904" y="7881"/>
                    <a:pt x="1276" y="7881"/>
                  </a:cubicBezTo>
                  <a:cubicBezTo>
                    <a:pt x="406" y="7881"/>
                    <a:pt x="6" y="7381"/>
                    <a:pt x="6" y="6524"/>
                  </a:cubicBezTo>
                  <a:lnTo>
                    <a:pt x="6" y="5110"/>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endParaRPr lang="en-US"/>
            </a:p>
          </p:txBody>
        </p:sp>
        <p:sp>
          <p:nvSpPr>
            <p:cNvPr id="31" name="Freeform 4">
              <a:extLst>
                <a:ext uri="{FF2B5EF4-FFF2-40B4-BE49-F238E27FC236}">
                  <a16:creationId xmlns:a16="http://schemas.microsoft.com/office/drawing/2014/main" id="{FD13F21A-D834-1B28-C2D8-CFE6BCED723F}"/>
                </a:ext>
              </a:extLst>
            </p:cNvPr>
            <p:cNvSpPr>
              <a:spLocks noChangeArrowheads="1"/>
            </p:cNvSpPr>
            <p:nvPr/>
          </p:nvSpPr>
          <p:spPr bwMode="auto">
            <a:xfrm>
              <a:off x="6292850" y="2035175"/>
              <a:ext cx="2262188" cy="2806700"/>
            </a:xfrm>
            <a:custGeom>
              <a:avLst/>
              <a:gdLst>
                <a:gd name="T0" fmla="*/ 1326358 w 6285"/>
                <a:gd name="T1" fmla="*/ 2806340 h 7796"/>
                <a:gd name="T2" fmla="*/ 935470 w 6285"/>
                <a:gd name="T3" fmla="*/ 2806340 h 7796"/>
                <a:gd name="T4" fmla="*/ 935470 w 6285"/>
                <a:gd name="T5" fmla="*/ 570628 h 7796"/>
                <a:gd name="T6" fmla="*/ 750463 w 6285"/>
                <a:gd name="T7" fmla="*/ 370098 h 7796"/>
                <a:gd name="T8" fmla="*/ 390889 w 6285"/>
                <a:gd name="T9" fmla="*/ 508705 h 7796"/>
                <a:gd name="T10" fmla="*/ 390889 w 6285"/>
                <a:gd name="T11" fmla="*/ 2806340 h 7796"/>
                <a:gd name="T12" fmla="*/ 0 w 6285"/>
                <a:gd name="T13" fmla="*/ 2806340 h 7796"/>
                <a:gd name="T14" fmla="*/ 0 w 6285"/>
                <a:gd name="T15" fmla="*/ 30602 h 7796"/>
                <a:gd name="T16" fmla="*/ 390889 w 6285"/>
                <a:gd name="T17" fmla="*/ 30602 h 7796"/>
                <a:gd name="T18" fmla="*/ 390889 w 6285"/>
                <a:gd name="T19" fmla="*/ 210611 h 7796"/>
                <a:gd name="T20" fmla="*/ 868882 w 6285"/>
                <a:gd name="T21" fmla="*/ 0 h 7796"/>
                <a:gd name="T22" fmla="*/ 1274888 w 6285"/>
                <a:gd name="T23" fmla="*/ 226091 h 7796"/>
                <a:gd name="T24" fmla="*/ 1804351 w 6285"/>
                <a:gd name="T25" fmla="*/ 0 h 7796"/>
                <a:gd name="T26" fmla="*/ 2261828 w 6285"/>
                <a:gd name="T27" fmla="*/ 488184 h 7796"/>
                <a:gd name="T28" fmla="*/ 2261828 w 6285"/>
                <a:gd name="T29" fmla="*/ 2806340 h 7796"/>
                <a:gd name="T30" fmla="*/ 1870939 w 6285"/>
                <a:gd name="T31" fmla="*/ 2806340 h 7796"/>
                <a:gd name="T32" fmla="*/ 1870939 w 6285"/>
                <a:gd name="T33" fmla="*/ 570628 h 7796"/>
                <a:gd name="T34" fmla="*/ 1685933 w 6285"/>
                <a:gd name="T35" fmla="*/ 370098 h 7796"/>
                <a:gd name="T36" fmla="*/ 1326358 w 6285"/>
                <a:gd name="T37" fmla="*/ 508705 h 7796"/>
                <a:gd name="T38" fmla="*/ 1326358 w 6285"/>
                <a:gd name="T39" fmla="*/ 2806340 h 779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6285" h="7796">
                  <a:moveTo>
                    <a:pt x="3685" y="7795"/>
                  </a:moveTo>
                  <a:lnTo>
                    <a:pt x="2599" y="7795"/>
                  </a:lnTo>
                  <a:lnTo>
                    <a:pt x="2599" y="1585"/>
                  </a:lnTo>
                  <a:cubicBezTo>
                    <a:pt x="2599" y="1199"/>
                    <a:pt x="2414" y="1028"/>
                    <a:pt x="2085" y="1028"/>
                  </a:cubicBezTo>
                  <a:cubicBezTo>
                    <a:pt x="1785" y="1028"/>
                    <a:pt x="1471" y="1142"/>
                    <a:pt x="1086" y="1413"/>
                  </a:cubicBezTo>
                  <a:lnTo>
                    <a:pt x="1086" y="7795"/>
                  </a:lnTo>
                  <a:lnTo>
                    <a:pt x="0" y="7795"/>
                  </a:lnTo>
                  <a:lnTo>
                    <a:pt x="0" y="85"/>
                  </a:lnTo>
                  <a:lnTo>
                    <a:pt x="1086" y="85"/>
                  </a:lnTo>
                  <a:lnTo>
                    <a:pt x="1086" y="585"/>
                  </a:lnTo>
                  <a:cubicBezTo>
                    <a:pt x="1400" y="285"/>
                    <a:pt x="1814" y="0"/>
                    <a:pt x="2414" y="0"/>
                  </a:cubicBezTo>
                  <a:cubicBezTo>
                    <a:pt x="2971" y="0"/>
                    <a:pt x="3342" y="228"/>
                    <a:pt x="3542" y="628"/>
                  </a:cubicBezTo>
                  <a:cubicBezTo>
                    <a:pt x="3928" y="299"/>
                    <a:pt x="4385" y="0"/>
                    <a:pt x="5013" y="0"/>
                  </a:cubicBezTo>
                  <a:cubicBezTo>
                    <a:pt x="5855" y="0"/>
                    <a:pt x="6284" y="514"/>
                    <a:pt x="6284" y="1356"/>
                  </a:cubicBezTo>
                  <a:lnTo>
                    <a:pt x="6284" y="7795"/>
                  </a:lnTo>
                  <a:lnTo>
                    <a:pt x="5198" y="7795"/>
                  </a:lnTo>
                  <a:lnTo>
                    <a:pt x="5198" y="1585"/>
                  </a:lnTo>
                  <a:cubicBezTo>
                    <a:pt x="5198" y="1199"/>
                    <a:pt x="5013" y="1028"/>
                    <a:pt x="4684" y="1028"/>
                  </a:cubicBezTo>
                  <a:cubicBezTo>
                    <a:pt x="4385" y="1028"/>
                    <a:pt x="4070" y="1142"/>
                    <a:pt x="3685" y="1413"/>
                  </a:cubicBezTo>
                  <a:lnTo>
                    <a:pt x="3685" y="7795"/>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endParaRPr lang="en-US"/>
            </a:p>
          </p:txBody>
        </p:sp>
        <p:sp>
          <p:nvSpPr>
            <p:cNvPr id="32" name="Freeform 5">
              <a:extLst>
                <a:ext uri="{FF2B5EF4-FFF2-40B4-BE49-F238E27FC236}">
                  <a16:creationId xmlns:a16="http://schemas.microsoft.com/office/drawing/2014/main" id="{684EE84A-3AA5-D07D-F607-E42F464C342E}"/>
                </a:ext>
              </a:extLst>
            </p:cNvPr>
            <p:cNvSpPr>
              <a:spLocks noChangeArrowheads="1"/>
            </p:cNvSpPr>
            <p:nvPr/>
          </p:nvSpPr>
          <p:spPr bwMode="auto">
            <a:xfrm>
              <a:off x="14288" y="2322513"/>
              <a:ext cx="1004887" cy="2274887"/>
            </a:xfrm>
            <a:custGeom>
              <a:avLst/>
              <a:gdLst>
                <a:gd name="T0" fmla="*/ 1004527 w 2790"/>
                <a:gd name="T1" fmla="*/ 0 h 6317"/>
                <a:gd name="T2" fmla="*/ 1004527 w 2790"/>
                <a:gd name="T3" fmla="*/ 510652 h 6317"/>
                <a:gd name="T4" fmla="*/ 346488 w 2790"/>
                <a:gd name="T5" fmla="*/ 1137624 h 6317"/>
                <a:gd name="T6" fmla="*/ 1004527 w 2790"/>
                <a:gd name="T7" fmla="*/ 1752711 h 6317"/>
                <a:gd name="T8" fmla="*/ 1004527 w 2790"/>
                <a:gd name="T9" fmla="*/ 2274527 h 6317"/>
                <a:gd name="T10" fmla="*/ 0 w 2790"/>
                <a:gd name="T11" fmla="*/ 1331009 h 6317"/>
                <a:gd name="T12" fmla="*/ 0 w 2790"/>
                <a:gd name="T13" fmla="*/ 955042 h 6317"/>
                <a:gd name="T14" fmla="*/ 1004527 w 2790"/>
                <a:gd name="T15" fmla="*/ 0 h 6317"/>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2790" h="6317">
                  <a:moveTo>
                    <a:pt x="2789" y="0"/>
                  </a:moveTo>
                  <a:lnTo>
                    <a:pt x="2789" y="1418"/>
                  </a:lnTo>
                  <a:lnTo>
                    <a:pt x="962" y="3159"/>
                  </a:lnTo>
                  <a:lnTo>
                    <a:pt x="2789" y="4867"/>
                  </a:lnTo>
                  <a:lnTo>
                    <a:pt x="2789" y="6316"/>
                  </a:lnTo>
                  <a:lnTo>
                    <a:pt x="0" y="3696"/>
                  </a:lnTo>
                  <a:lnTo>
                    <a:pt x="0" y="2652"/>
                  </a:lnTo>
                  <a:lnTo>
                    <a:pt x="2789"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endParaRPr lang="en-US"/>
            </a:p>
          </p:txBody>
        </p:sp>
        <p:sp>
          <p:nvSpPr>
            <p:cNvPr id="33" name="Freeform 6">
              <a:extLst>
                <a:ext uri="{FF2B5EF4-FFF2-40B4-BE49-F238E27FC236}">
                  <a16:creationId xmlns:a16="http://schemas.microsoft.com/office/drawing/2014/main" id="{33C1BCA3-3C3F-C688-58A3-4B4294836D59}"/>
                </a:ext>
              </a:extLst>
            </p:cNvPr>
            <p:cNvSpPr>
              <a:spLocks noChangeArrowheads="1"/>
            </p:cNvSpPr>
            <p:nvPr/>
          </p:nvSpPr>
          <p:spPr bwMode="auto">
            <a:xfrm>
              <a:off x="9050338" y="2322513"/>
              <a:ext cx="1003300" cy="2274887"/>
            </a:xfrm>
            <a:custGeom>
              <a:avLst/>
              <a:gdLst>
                <a:gd name="T0" fmla="*/ 1002940 w 2789"/>
                <a:gd name="T1" fmla="*/ 955042 h 6317"/>
                <a:gd name="T2" fmla="*/ 1002940 w 2789"/>
                <a:gd name="T3" fmla="*/ 1331009 h 6317"/>
                <a:gd name="T4" fmla="*/ 0 w 2789"/>
                <a:gd name="T5" fmla="*/ 2274527 h 6317"/>
                <a:gd name="T6" fmla="*/ 0 w 2789"/>
                <a:gd name="T7" fmla="*/ 1752711 h 6317"/>
                <a:gd name="T8" fmla="*/ 656876 w 2789"/>
                <a:gd name="T9" fmla="*/ 1137624 h 6317"/>
                <a:gd name="T10" fmla="*/ 0 w 2789"/>
                <a:gd name="T11" fmla="*/ 510652 h 6317"/>
                <a:gd name="T12" fmla="*/ 0 w 2789"/>
                <a:gd name="T13" fmla="*/ 0 h 6317"/>
                <a:gd name="T14" fmla="*/ 1002940 w 2789"/>
                <a:gd name="T15" fmla="*/ 955042 h 6317"/>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2789" h="6317">
                  <a:moveTo>
                    <a:pt x="2788" y="2652"/>
                  </a:moveTo>
                  <a:lnTo>
                    <a:pt x="2788" y="3696"/>
                  </a:lnTo>
                  <a:lnTo>
                    <a:pt x="0" y="6316"/>
                  </a:lnTo>
                  <a:lnTo>
                    <a:pt x="0" y="4867"/>
                  </a:lnTo>
                  <a:lnTo>
                    <a:pt x="1826" y="3159"/>
                  </a:lnTo>
                  <a:lnTo>
                    <a:pt x="0" y="1418"/>
                  </a:lnTo>
                  <a:lnTo>
                    <a:pt x="0" y="0"/>
                  </a:lnTo>
                  <a:lnTo>
                    <a:pt x="2788" y="2652"/>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endParaRPr lang="en-US"/>
            </a:p>
          </p:txBody>
        </p:sp>
      </p:grpSp>
      <p:sp>
        <p:nvSpPr>
          <p:cNvPr id="34" name="Footer Placeholder 14">
            <a:extLst>
              <a:ext uri="{FF2B5EF4-FFF2-40B4-BE49-F238E27FC236}">
                <a16:creationId xmlns:a16="http://schemas.microsoft.com/office/drawing/2014/main" id="{87A52AC7-F562-3490-E2C2-BEBB1981F520}"/>
              </a:ext>
            </a:extLst>
          </p:cNvPr>
          <p:cNvSpPr txBox="1">
            <a:spLocks/>
          </p:cNvSpPr>
          <p:nvPr userDrawn="1"/>
        </p:nvSpPr>
        <p:spPr>
          <a:xfrm>
            <a:off x="1206203" y="6411603"/>
            <a:ext cx="2157779" cy="228599"/>
          </a:xfrm>
          <a:prstGeom prst="rect">
            <a:avLst/>
          </a:prstGeom>
        </p:spPr>
        <p:txBody>
          <a:bodyPr vert="horz" lIns="0" tIns="0" rIns="0" bIns="0" rtlCol="0" anchor="ctr"/>
          <a:lstStyle>
            <a:defPPr>
              <a:defRPr lang="en-US"/>
            </a:defPPr>
            <a:lvl1pPr marL="0" algn="r" defTabSz="914400" rtl="0" eaLnBrk="1" latinLnBrk="0" hangingPunct="1">
              <a:defRPr sz="600" b="0" i="0" kern="1200">
                <a:solidFill>
                  <a:schemeClr val="tx1"/>
                </a:solidFill>
                <a:latin typeface="+mn-lt"/>
                <a:ea typeface="Calibri" panose="020F0502020204030204" pitchFamily="34" charset="0"/>
                <a:cs typeface="Calibri" panose="020F050202020403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b="0" i="0">
                <a:solidFill>
                  <a:schemeClr val="bg1"/>
                </a:solidFill>
                <a:latin typeface="+mn-lt"/>
              </a:rPr>
              <a:t>EPAM Proprietary &amp; Confidential</a:t>
            </a:r>
            <a:r>
              <a:rPr lang="ru-RU" b="0" i="0">
                <a:solidFill>
                  <a:schemeClr val="bg1"/>
                </a:solidFill>
                <a:latin typeface="+mn-lt"/>
              </a:rPr>
              <a:t> </a:t>
            </a:r>
            <a:endParaRPr lang="en-US" b="0" i="0">
              <a:solidFill>
                <a:schemeClr val="bg1"/>
              </a:solidFill>
              <a:latin typeface="+mn-lt"/>
            </a:endParaRPr>
          </a:p>
        </p:txBody>
      </p:sp>
      <p:pic>
        <p:nvPicPr>
          <p:cNvPr id="2" name="Graphic 1">
            <a:extLst>
              <a:ext uri="{FF2B5EF4-FFF2-40B4-BE49-F238E27FC236}">
                <a16:creationId xmlns:a16="http://schemas.microsoft.com/office/drawing/2014/main" id="{641B1C40-B6BE-125D-798F-D4D80BFEAC0E}"/>
              </a:ext>
            </a:extLst>
          </p:cNvPr>
          <p:cNvPicPr>
            <a:picLocks noChangeAspect="1"/>
          </p:cNvPicPr>
          <p:nvPr userDrawn="1"/>
        </p:nvPicPr>
        <p:blipFill>
          <a:blip r:embed="rId3">
            <a:extLst>
              <a:ext uri="{96DAC541-7B7A-43D3-8B79-37D633B846F1}">
                <asvg:svgBlip xmlns:asvg="http://schemas.microsoft.com/office/drawing/2016/SVG/main" r:embed="rId4"/>
              </a:ext>
            </a:extLst>
          </a:blip>
          <a:srcRect/>
          <a:stretch/>
        </p:blipFill>
        <p:spPr>
          <a:xfrm>
            <a:off x="10820266" y="6419060"/>
            <a:ext cx="762921" cy="205636"/>
          </a:xfrm>
          <a:prstGeom prst="rect">
            <a:avLst/>
          </a:prstGeom>
        </p:spPr>
      </p:pic>
    </p:spTree>
    <p:extLst>
      <p:ext uri="{BB962C8B-B14F-4D97-AF65-F5344CB8AC3E}">
        <p14:creationId xmlns:p14="http://schemas.microsoft.com/office/powerpoint/2010/main" val="2802214950"/>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Case Study_Mockup_Left">
    <p:bg>
      <p:bgPr>
        <a:solidFill>
          <a:schemeClr val="tx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4CA393A3-BED5-A4B8-2CC9-68028E8F7DD4}"/>
              </a:ext>
            </a:extLst>
          </p:cNvPr>
          <p:cNvSpPr/>
          <p:nvPr userDrawn="1"/>
        </p:nvSpPr>
        <p:spPr bwMode="auto">
          <a:xfrm>
            <a:off x="0" y="0"/>
            <a:ext cx="7178040" cy="6858000"/>
          </a:xfrm>
          <a:prstGeom prst="rect">
            <a:avLst/>
          </a:prstGeom>
          <a:solidFill>
            <a:srgbClr val="2D2D2D"/>
          </a:solidFill>
          <a:ln>
            <a:noFill/>
          </a:ln>
          <a:effectLst/>
        </p:spPr>
        <p:txBody>
          <a:bodyPr wrap="none" rtlCol="0" anchor="ctr"/>
          <a:lstStyle/>
          <a:p>
            <a:pPr algn="ctr"/>
            <a:endParaRPr lang="en-US" sz="2400" err="1">
              <a:solidFill>
                <a:schemeClr val="bg1"/>
              </a:solidFill>
              <a:latin typeface="Calibri Light" panose="020F0302020204030204" pitchFamily="34" charset="0"/>
              <a:ea typeface="Human Sans ExtraLight" charset="0"/>
              <a:cs typeface="Human Sans ExtraLight" charset="0"/>
            </a:endParaRPr>
          </a:p>
        </p:txBody>
      </p:sp>
      <p:sp>
        <p:nvSpPr>
          <p:cNvPr id="8" name="Title 1">
            <a:extLst>
              <a:ext uri="{FF2B5EF4-FFF2-40B4-BE49-F238E27FC236}">
                <a16:creationId xmlns:a16="http://schemas.microsoft.com/office/drawing/2014/main" id="{5F090927-59AD-FC1B-5B75-8561C818E783}"/>
              </a:ext>
            </a:extLst>
          </p:cNvPr>
          <p:cNvSpPr>
            <a:spLocks noGrp="1"/>
          </p:cNvSpPr>
          <p:nvPr>
            <p:ph type="title" hasCustomPrompt="1"/>
          </p:nvPr>
        </p:nvSpPr>
        <p:spPr>
          <a:xfrm>
            <a:off x="633633" y="722843"/>
            <a:ext cx="6283106" cy="338554"/>
          </a:xfrm>
          <a:prstGeom prst="rect">
            <a:avLst/>
          </a:prstGeom>
        </p:spPr>
        <p:txBody>
          <a:bodyPr/>
          <a:lstStyle>
            <a:lvl1pPr>
              <a:defRPr lang="en-US" sz="2200" b="1" i="0" kern="1200" spc="0" dirty="0">
                <a:solidFill>
                  <a:schemeClr val="bg1"/>
                </a:solidFill>
                <a:effectLst/>
                <a:latin typeface="+mj-lt"/>
                <a:ea typeface="Calibri" panose="020F0502020204030204" pitchFamily="34" charset="0"/>
                <a:cs typeface="Calibri" panose="020F0502020204030204" pitchFamily="34" charset="0"/>
              </a:defRPr>
            </a:lvl1pPr>
          </a:lstStyle>
          <a:p>
            <a:pPr marL="0" lvl="0" indent="0" algn="l" defTabSz="914400" rtl="0" eaLnBrk="1" latinLnBrk="0" hangingPunct="1">
              <a:lnSpc>
                <a:spcPct val="100000"/>
              </a:lnSpc>
              <a:spcBef>
                <a:spcPts val="0"/>
              </a:spcBef>
              <a:spcAft>
                <a:spcPts val="0"/>
              </a:spcAft>
              <a:buFont typeface="Arial" panose="020B0604020202020204" pitchFamily="34" charset="0"/>
              <a:buNone/>
            </a:pPr>
            <a:r>
              <a:rPr lang="en-US">
                <a:effectLst/>
              </a:rPr>
              <a:t>Title Goes Here</a:t>
            </a:r>
            <a:endParaRPr lang="en-US"/>
          </a:p>
        </p:txBody>
      </p:sp>
      <p:sp>
        <p:nvSpPr>
          <p:cNvPr id="9" name="Text Placeholder 10">
            <a:extLst>
              <a:ext uri="{FF2B5EF4-FFF2-40B4-BE49-F238E27FC236}">
                <a16:creationId xmlns:a16="http://schemas.microsoft.com/office/drawing/2014/main" id="{305DDE91-2B4D-84F1-987C-42BE8E145D92}"/>
              </a:ext>
            </a:extLst>
          </p:cNvPr>
          <p:cNvSpPr>
            <a:spLocks noGrp="1"/>
          </p:cNvSpPr>
          <p:nvPr>
            <p:ph type="body" sz="quarter" idx="28" hasCustomPrompt="1"/>
          </p:nvPr>
        </p:nvSpPr>
        <p:spPr>
          <a:xfrm>
            <a:off x="633632" y="419100"/>
            <a:ext cx="3611880" cy="225706"/>
          </a:xfrm>
          <a:prstGeom prst="rect">
            <a:avLst/>
          </a:prstGeom>
        </p:spPr>
        <p:txBody>
          <a:bodyPr/>
          <a:lstStyle>
            <a:lvl1pPr>
              <a:spcBef>
                <a:spcPts val="0"/>
              </a:spcBef>
              <a:defRPr lang="en-US" sz="1000" b="0" i="0" kern="1200" cap="all" spc="300" baseline="0" dirty="0">
                <a:solidFill>
                  <a:schemeClr val="bg1"/>
                </a:solidFill>
                <a:latin typeface="Calibri" panose="020F0502020204030204" pitchFamily="34" charset="0"/>
                <a:ea typeface="Calibri" panose="020F0502020204030204" pitchFamily="34" charset="0"/>
                <a:cs typeface="Calibri" panose="020F0502020204030204" pitchFamily="34" charset="0"/>
              </a:defRPr>
            </a:lvl1pPr>
          </a:lstStyle>
          <a:p>
            <a:pPr marL="0" lvl="0" indent="0" algn="l" defTabSz="914400" rtl="0" eaLnBrk="1" latinLnBrk="0" hangingPunct="1">
              <a:lnSpc>
                <a:spcPct val="100000"/>
              </a:lnSpc>
              <a:spcBef>
                <a:spcPts val="600"/>
              </a:spcBef>
              <a:spcAft>
                <a:spcPts val="0"/>
              </a:spcAft>
              <a:buFont typeface="Arial" panose="020B0604020202020204" pitchFamily="34" charset="0"/>
              <a:buNone/>
            </a:pPr>
            <a:r>
              <a:rPr lang="en-US"/>
              <a:t>Click to add section title</a:t>
            </a:r>
          </a:p>
        </p:txBody>
      </p:sp>
      <p:grpSp>
        <p:nvGrpSpPr>
          <p:cNvPr id="2" name="Group 1">
            <a:extLst>
              <a:ext uri="{FF2B5EF4-FFF2-40B4-BE49-F238E27FC236}">
                <a16:creationId xmlns:a16="http://schemas.microsoft.com/office/drawing/2014/main" id="{309C7AB2-C0E1-E4A5-331D-A2C2AD2D1CC2}"/>
              </a:ext>
            </a:extLst>
          </p:cNvPr>
          <p:cNvGrpSpPr/>
          <p:nvPr userDrawn="1"/>
        </p:nvGrpSpPr>
        <p:grpSpPr>
          <a:xfrm>
            <a:off x="610888" y="6472556"/>
            <a:ext cx="372834" cy="131175"/>
            <a:chOff x="14288" y="2035175"/>
            <a:chExt cx="10039350" cy="3532188"/>
          </a:xfrm>
          <a:solidFill>
            <a:schemeClr val="bg1"/>
          </a:solidFill>
        </p:grpSpPr>
        <p:sp>
          <p:nvSpPr>
            <p:cNvPr id="3" name="Freeform 1">
              <a:extLst>
                <a:ext uri="{FF2B5EF4-FFF2-40B4-BE49-F238E27FC236}">
                  <a16:creationId xmlns:a16="http://schemas.microsoft.com/office/drawing/2014/main" id="{15680953-F6AA-0170-836B-F2A93A8DDFE7}"/>
                </a:ext>
              </a:extLst>
            </p:cNvPr>
            <p:cNvSpPr>
              <a:spLocks noChangeArrowheads="1"/>
            </p:cNvSpPr>
            <p:nvPr/>
          </p:nvSpPr>
          <p:spPr bwMode="auto">
            <a:xfrm>
              <a:off x="1519238" y="2035175"/>
              <a:ext cx="1336675" cy="2836863"/>
            </a:xfrm>
            <a:custGeom>
              <a:avLst/>
              <a:gdLst>
                <a:gd name="T0" fmla="*/ 390493 w 3714"/>
                <a:gd name="T1" fmla="*/ 1200682 h 7882"/>
                <a:gd name="T2" fmla="*/ 945462 w 3714"/>
                <a:gd name="T3" fmla="*/ 1200682 h 7882"/>
                <a:gd name="T4" fmla="*/ 945462 w 3714"/>
                <a:gd name="T5" fmla="*/ 611498 h 7882"/>
                <a:gd name="T6" fmla="*/ 698929 w 3714"/>
                <a:gd name="T7" fmla="*/ 364596 h 7882"/>
                <a:gd name="T8" fmla="*/ 637386 w 3714"/>
                <a:gd name="T9" fmla="*/ 364596 h 7882"/>
                <a:gd name="T10" fmla="*/ 390493 w 3714"/>
                <a:gd name="T11" fmla="*/ 611498 h 7882"/>
                <a:gd name="T12" fmla="*/ 390493 w 3714"/>
                <a:gd name="T13" fmla="*/ 1200682 h 7882"/>
                <a:gd name="T14" fmla="*/ 389414 w 3714"/>
                <a:gd name="T15" fmla="*/ 1576795 h 7882"/>
                <a:gd name="T16" fmla="*/ 390493 w 3714"/>
                <a:gd name="T17" fmla="*/ 2224645 h 7882"/>
                <a:gd name="T18" fmla="*/ 637386 w 3714"/>
                <a:gd name="T19" fmla="*/ 2471548 h 7882"/>
                <a:gd name="T20" fmla="*/ 709366 w 3714"/>
                <a:gd name="T21" fmla="*/ 2471548 h 7882"/>
                <a:gd name="T22" fmla="*/ 955899 w 3714"/>
                <a:gd name="T23" fmla="*/ 2224645 h 7882"/>
                <a:gd name="T24" fmla="*/ 955899 w 3714"/>
                <a:gd name="T25" fmla="*/ 1906119 h 7882"/>
                <a:gd name="T26" fmla="*/ 1336315 w 3714"/>
                <a:gd name="T27" fmla="*/ 1906119 h 7882"/>
                <a:gd name="T28" fmla="*/ 1336315 w 3714"/>
                <a:gd name="T29" fmla="*/ 2209528 h 7882"/>
                <a:gd name="T30" fmla="*/ 709366 w 3714"/>
                <a:gd name="T31" fmla="*/ 2836503 h 7882"/>
                <a:gd name="T32" fmla="*/ 626949 w 3714"/>
                <a:gd name="T33" fmla="*/ 2836503 h 7882"/>
                <a:gd name="T34" fmla="*/ 0 w 3714"/>
                <a:gd name="T35" fmla="*/ 2258117 h 7882"/>
                <a:gd name="T36" fmla="*/ 0 w 3714"/>
                <a:gd name="T37" fmla="*/ 675564 h 7882"/>
                <a:gd name="T38" fmla="*/ 626949 w 3714"/>
                <a:gd name="T39" fmla="*/ 0 h 7882"/>
                <a:gd name="T40" fmla="*/ 709366 w 3714"/>
                <a:gd name="T41" fmla="*/ 0 h 7882"/>
                <a:gd name="T42" fmla="*/ 1336315 w 3714"/>
                <a:gd name="T43" fmla="*/ 626975 h 7882"/>
                <a:gd name="T44" fmla="*/ 1334875 w 3714"/>
                <a:gd name="T45" fmla="*/ 1576795 h 7882"/>
                <a:gd name="T46" fmla="*/ 389414 w 3714"/>
                <a:gd name="T47" fmla="*/ 1576795 h 7882"/>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3714" h="7882">
                  <a:moveTo>
                    <a:pt x="1085" y="3336"/>
                  </a:moveTo>
                  <a:lnTo>
                    <a:pt x="2627" y="3336"/>
                  </a:lnTo>
                  <a:lnTo>
                    <a:pt x="2627" y="1699"/>
                  </a:lnTo>
                  <a:cubicBezTo>
                    <a:pt x="2627" y="1242"/>
                    <a:pt x="2399" y="1013"/>
                    <a:pt x="1942" y="1013"/>
                  </a:cubicBezTo>
                  <a:lnTo>
                    <a:pt x="1771" y="1013"/>
                  </a:lnTo>
                  <a:cubicBezTo>
                    <a:pt x="1314" y="1013"/>
                    <a:pt x="1085" y="1242"/>
                    <a:pt x="1085" y="1699"/>
                  </a:cubicBezTo>
                  <a:lnTo>
                    <a:pt x="1085" y="3336"/>
                  </a:lnTo>
                  <a:close/>
                  <a:moveTo>
                    <a:pt x="1082" y="4381"/>
                  </a:moveTo>
                  <a:lnTo>
                    <a:pt x="1085" y="6181"/>
                  </a:lnTo>
                  <a:cubicBezTo>
                    <a:pt x="1085" y="6638"/>
                    <a:pt x="1314" y="6867"/>
                    <a:pt x="1771" y="6867"/>
                  </a:cubicBezTo>
                  <a:lnTo>
                    <a:pt x="1971" y="6867"/>
                  </a:lnTo>
                  <a:cubicBezTo>
                    <a:pt x="2428" y="6867"/>
                    <a:pt x="2656" y="6638"/>
                    <a:pt x="2656" y="6181"/>
                  </a:cubicBezTo>
                  <a:lnTo>
                    <a:pt x="2656" y="5296"/>
                  </a:lnTo>
                  <a:lnTo>
                    <a:pt x="3713" y="5296"/>
                  </a:lnTo>
                  <a:lnTo>
                    <a:pt x="3713" y="6139"/>
                  </a:lnTo>
                  <a:cubicBezTo>
                    <a:pt x="3713" y="7295"/>
                    <a:pt x="3127" y="7881"/>
                    <a:pt x="1971" y="7881"/>
                  </a:cubicBezTo>
                  <a:lnTo>
                    <a:pt x="1742" y="7881"/>
                  </a:lnTo>
                  <a:cubicBezTo>
                    <a:pt x="585" y="7881"/>
                    <a:pt x="0" y="7295"/>
                    <a:pt x="0" y="6274"/>
                  </a:cubicBezTo>
                  <a:lnTo>
                    <a:pt x="0" y="1877"/>
                  </a:lnTo>
                  <a:cubicBezTo>
                    <a:pt x="0" y="585"/>
                    <a:pt x="585" y="0"/>
                    <a:pt x="1742" y="0"/>
                  </a:cubicBezTo>
                  <a:lnTo>
                    <a:pt x="1971" y="0"/>
                  </a:lnTo>
                  <a:cubicBezTo>
                    <a:pt x="3127" y="0"/>
                    <a:pt x="3713" y="585"/>
                    <a:pt x="3713" y="1742"/>
                  </a:cubicBezTo>
                  <a:lnTo>
                    <a:pt x="3709" y="4381"/>
                  </a:lnTo>
                  <a:lnTo>
                    <a:pt x="1082" y="4381"/>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endParaRPr lang="en-US"/>
            </a:p>
          </p:txBody>
        </p:sp>
        <p:sp>
          <p:nvSpPr>
            <p:cNvPr id="4" name="Freeform 2">
              <a:extLst>
                <a:ext uri="{FF2B5EF4-FFF2-40B4-BE49-F238E27FC236}">
                  <a16:creationId xmlns:a16="http://schemas.microsoft.com/office/drawing/2014/main" id="{C7D26896-E049-153F-B200-4A8BD67E5A96}"/>
                </a:ext>
              </a:extLst>
            </p:cNvPr>
            <p:cNvSpPr>
              <a:spLocks noChangeArrowheads="1"/>
            </p:cNvSpPr>
            <p:nvPr/>
          </p:nvSpPr>
          <p:spPr bwMode="auto">
            <a:xfrm>
              <a:off x="3109913" y="2035175"/>
              <a:ext cx="1368425" cy="3532188"/>
            </a:xfrm>
            <a:custGeom>
              <a:avLst/>
              <a:gdLst>
                <a:gd name="T0" fmla="*/ 390721 w 3800"/>
                <a:gd name="T1" fmla="*/ 2322993 h 9812"/>
                <a:gd name="T2" fmla="*/ 750833 w 3800"/>
                <a:gd name="T3" fmla="*/ 2466628 h 9812"/>
                <a:gd name="T4" fmla="*/ 976983 w 3800"/>
                <a:gd name="T5" fmla="*/ 2240556 h 9812"/>
                <a:gd name="T6" fmla="*/ 976983 w 3800"/>
                <a:gd name="T7" fmla="*/ 596138 h 9812"/>
                <a:gd name="T8" fmla="*/ 750833 w 3800"/>
                <a:gd name="T9" fmla="*/ 370066 h 9812"/>
                <a:gd name="T10" fmla="*/ 390721 w 3800"/>
                <a:gd name="T11" fmla="*/ 514061 h 9812"/>
                <a:gd name="T12" fmla="*/ 390721 w 3800"/>
                <a:gd name="T13" fmla="*/ 2322993 h 9812"/>
                <a:gd name="T14" fmla="*/ 0 w 3800"/>
                <a:gd name="T15" fmla="*/ 30599 h 9812"/>
                <a:gd name="T16" fmla="*/ 390721 w 3800"/>
                <a:gd name="T17" fmla="*/ 30599 h 9812"/>
                <a:gd name="T18" fmla="*/ 390721 w 3800"/>
                <a:gd name="T19" fmla="*/ 210592 h 9812"/>
                <a:gd name="T20" fmla="*/ 868950 w 3800"/>
                <a:gd name="T21" fmla="*/ 0 h 9812"/>
                <a:gd name="T22" fmla="*/ 1368065 w 3800"/>
                <a:gd name="T23" fmla="*/ 549699 h 9812"/>
                <a:gd name="T24" fmla="*/ 1368065 w 3800"/>
                <a:gd name="T25" fmla="*/ 2286995 h 9812"/>
                <a:gd name="T26" fmla="*/ 868950 w 3800"/>
                <a:gd name="T27" fmla="*/ 2837054 h 9812"/>
                <a:gd name="T28" fmla="*/ 390721 w 3800"/>
                <a:gd name="T29" fmla="*/ 2636541 h 9812"/>
                <a:gd name="T30" fmla="*/ 390721 w 3800"/>
                <a:gd name="T31" fmla="*/ 3531828 h 9812"/>
                <a:gd name="T32" fmla="*/ 0 w 3800"/>
                <a:gd name="T33" fmla="*/ 3531828 h 9812"/>
                <a:gd name="T34" fmla="*/ 0 w 3800"/>
                <a:gd name="T35" fmla="*/ 30599 h 9812"/>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3800" h="9812">
                  <a:moveTo>
                    <a:pt x="1085" y="6453"/>
                  </a:moveTo>
                  <a:cubicBezTo>
                    <a:pt x="1385" y="6710"/>
                    <a:pt x="1728" y="6852"/>
                    <a:pt x="2085" y="6852"/>
                  </a:cubicBezTo>
                  <a:cubicBezTo>
                    <a:pt x="2485" y="6852"/>
                    <a:pt x="2713" y="6667"/>
                    <a:pt x="2713" y="6224"/>
                  </a:cubicBezTo>
                  <a:lnTo>
                    <a:pt x="2713" y="1656"/>
                  </a:lnTo>
                  <a:cubicBezTo>
                    <a:pt x="2713" y="1213"/>
                    <a:pt x="2485" y="1028"/>
                    <a:pt x="2085" y="1028"/>
                  </a:cubicBezTo>
                  <a:cubicBezTo>
                    <a:pt x="1728" y="1028"/>
                    <a:pt x="1385" y="1170"/>
                    <a:pt x="1085" y="1428"/>
                  </a:cubicBezTo>
                  <a:lnTo>
                    <a:pt x="1085" y="6453"/>
                  </a:lnTo>
                  <a:close/>
                  <a:moveTo>
                    <a:pt x="0" y="85"/>
                  </a:moveTo>
                  <a:lnTo>
                    <a:pt x="1085" y="85"/>
                  </a:lnTo>
                  <a:lnTo>
                    <a:pt x="1085" y="585"/>
                  </a:lnTo>
                  <a:cubicBezTo>
                    <a:pt x="1342" y="314"/>
                    <a:pt x="1785" y="0"/>
                    <a:pt x="2413" y="0"/>
                  </a:cubicBezTo>
                  <a:cubicBezTo>
                    <a:pt x="3342" y="0"/>
                    <a:pt x="3799" y="614"/>
                    <a:pt x="3799" y="1527"/>
                  </a:cubicBezTo>
                  <a:lnTo>
                    <a:pt x="3799" y="6353"/>
                  </a:lnTo>
                  <a:cubicBezTo>
                    <a:pt x="3799" y="7267"/>
                    <a:pt x="3342" y="7881"/>
                    <a:pt x="2413" y="7881"/>
                  </a:cubicBezTo>
                  <a:cubicBezTo>
                    <a:pt x="1785" y="7881"/>
                    <a:pt x="1342" y="7581"/>
                    <a:pt x="1085" y="7324"/>
                  </a:cubicBezTo>
                  <a:lnTo>
                    <a:pt x="1085" y="9811"/>
                  </a:lnTo>
                  <a:lnTo>
                    <a:pt x="0" y="9811"/>
                  </a:lnTo>
                  <a:lnTo>
                    <a:pt x="0" y="85"/>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endParaRPr lang="en-US"/>
            </a:p>
          </p:txBody>
        </p:sp>
        <p:sp>
          <p:nvSpPr>
            <p:cNvPr id="6" name="Freeform 3">
              <a:extLst>
                <a:ext uri="{FF2B5EF4-FFF2-40B4-BE49-F238E27FC236}">
                  <a16:creationId xmlns:a16="http://schemas.microsoft.com/office/drawing/2014/main" id="{BFC0D571-7CF5-9244-6762-353A53CFCDDB}"/>
                </a:ext>
              </a:extLst>
            </p:cNvPr>
            <p:cNvSpPr>
              <a:spLocks noChangeArrowheads="1"/>
            </p:cNvSpPr>
            <p:nvPr/>
          </p:nvSpPr>
          <p:spPr bwMode="auto">
            <a:xfrm>
              <a:off x="4711700" y="2035175"/>
              <a:ext cx="1328738" cy="2836863"/>
            </a:xfrm>
            <a:custGeom>
              <a:avLst/>
              <a:gdLst>
                <a:gd name="T0" fmla="*/ 937679 w 3690"/>
                <a:gd name="T1" fmla="*/ 2338019 h 7882"/>
                <a:gd name="T2" fmla="*/ 937679 w 3690"/>
                <a:gd name="T3" fmla="*/ 1422750 h 7882"/>
                <a:gd name="T4" fmla="*/ 582988 w 3690"/>
                <a:gd name="T5" fmla="*/ 1556999 h 7882"/>
                <a:gd name="T6" fmla="*/ 392500 w 3690"/>
                <a:gd name="T7" fmla="*/ 1844573 h 7882"/>
                <a:gd name="T8" fmla="*/ 392500 w 3690"/>
                <a:gd name="T9" fmla="*/ 2266035 h 7882"/>
                <a:gd name="T10" fmla="*/ 582988 w 3690"/>
                <a:gd name="T11" fmla="*/ 2466149 h 7882"/>
                <a:gd name="T12" fmla="*/ 937679 w 3690"/>
                <a:gd name="T13" fmla="*/ 2338019 h 7882"/>
                <a:gd name="T14" fmla="*/ 2161 w 3690"/>
                <a:gd name="T15" fmla="*/ 1839174 h 7882"/>
                <a:gd name="T16" fmla="*/ 413025 w 3690"/>
                <a:gd name="T17" fmla="*/ 1253950 h 7882"/>
                <a:gd name="T18" fmla="*/ 937679 w 3690"/>
                <a:gd name="T19" fmla="*/ 1073991 h 7882"/>
                <a:gd name="T20" fmla="*/ 937679 w 3690"/>
                <a:gd name="T21" fmla="*/ 611498 h 7882"/>
                <a:gd name="T22" fmla="*/ 690656 w 3690"/>
                <a:gd name="T23" fmla="*/ 359557 h 7882"/>
                <a:gd name="T24" fmla="*/ 627280 w 3690"/>
                <a:gd name="T25" fmla="*/ 359557 h 7882"/>
                <a:gd name="T26" fmla="*/ 380257 w 3690"/>
                <a:gd name="T27" fmla="*/ 611498 h 7882"/>
                <a:gd name="T28" fmla="*/ 380257 w 3690"/>
                <a:gd name="T29" fmla="*/ 1004527 h 7882"/>
                <a:gd name="T30" fmla="*/ 0 w 3690"/>
                <a:gd name="T31" fmla="*/ 1004527 h 7882"/>
                <a:gd name="T32" fmla="*/ 0 w 3690"/>
                <a:gd name="T33" fmla="*/ 626975 h 7882"/>
                <a:gd name="T34" fmla="*/ 627280 w 3690"/>
                <a:gd name="T35" fmla="*/ 0 h 7882"/>
                <a:gd name="T36" fmla="*/ 701098 w 3690"/>
                <a:gd name="T37" fmla="*/ 0 h 7882"/>
                <a:gd name="T38" fmla="*/ 1328378 w 3690"/>
                <a:gd name="T39" fmla="*/ 626975 h 7882"/>
                <a:gd name="T40" fmla="*/ 1328378 w 3690"/>
                <a:gd name="T41" fmla="*/ 2805550 h 7882"/>
                <a:gd name="T42" fmla="*/ 937679 w 3690"/>
                <a:gd name="T43" fmla="*/ 2805550 h 7882"/>
                <a:gd name="T44" fmla="*/ 937679 w 3690"/>
                <a:gd name="T45" fmla="*/ 2630631 h 7882"/>
                <a:gd name="T46" fmla="*/ 459477 w 3690"/>
                <a:gd name="T47" fmla="*/ 2836503 h 7882"/>
                <a:gd name="T48" fmla="*/ 2161 w 3690"/>
                <a:gd name="T49" fmla="*/ 2348096 h 7882"/>
                <a:gd name="T50" fmla="*/ 2161 w 3690"/>
                <a:gd name="T51" fmla="*/ 1839174 h 7882"/>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3690" h="7882">
                  <a:moveTo>
                    <a:pt x="2604" y="6496"/>
                  </a:moveTo>
                  <a:lnTo>
                    <a:pt x="2604" y="3953"/>
                  </a:lnTo>
                  <a:lnTo>
                    <a:pt x="1619" y="4326"/>
                  </a:lnTo>
                  <a:cubicBezTo>
                    <a:pt x="1219" y="4483"/>
                    <a:pt x="1090" y="4683"/>
                    <a:pt x="1090" y="5125"/>
                  </a:cubicBezTo>
                  <a:lnTo>
                    <a:pt x="1090" y="6296"/>
                  </a:lnTo>
                  <a:cubicBezTo>
                    <a:pt x="1090" y="6667"/>
                    <a:pt x="1276" y="6852"/>
                    <a:pt x="1619" y="6852"/>
                  </a:cubicBezTo>
                  <a:cubicBezTo>
                    <a:pt x="1947" y="6852"/>
                    <a:pt x="2247" y="6738"/>
                    <a:pt x="2604" y="6496"/>
                  </a:cubicBezTo>
                  <a:close/>
                  <a:moveTo>
                    <a:pt x="6" y="5110"/>
                  </a:moveTo>
                  <a:cubicBezTo>
                    <a:pt x="6" y="4155"/>
                    <a:pt x="320" y="3769"/>
                    <a:pt x="1147" y="3484"/>
                  </a:cubicBezTo>
                  <a:lnTo>
                    <a:pt x="2604" y="2984"/>
                  </a:lnTo>
                  <a:lnTo>
                    <a:pt x="2604" y="1699"/>
                  </a:lnTo>
                  <a:cubicBezTo>
                    <a:pt x="2604" y="1242"/>
                    <a:pt x="2375" y="999"/>
                    <a:pt x="1918" y="999"/>
                  </a:cubicBezTo>
                  <a:lnTo>
                    <a:pt x="1742" y="999"/>
                  </a:lnTo>
                  <a:cubicBezTo>
                    <a:pt x="1285" y="999"/>
                    <a:pt x="1056" y="1242"/>
                    <a:pt x="1056" y="1699"/>
                  </a:cubicBezTo>
                  <a:lnTo>
                    <a:pt x="1056" y="2791"/>
                  </a:lnTo>
                  <a:lnTo>
                    <a:pt x="0" y="2791"/>
                  </a:lnTo>
                  <a:lnTo>
                    <a:pt x="0" y="1742"/>
                  </a:lnTo>
                  <a:cubicBezTo>
                    <a:pt x="0" y="585"/>
                    <a:pt x="586" y="0"/>
                    <a:pt x="1742" y="0"/>
                  </a:cubicBezTo>
                  <a:lnTo>
                    <a:pt x="1947" y="0"/>
                  </a:lnTo>
                  <a:cubicBezTo>
                    <a:pt x="3104" y="0"/>
                    <a:pt x="3689" y="585"/>
                    <a:pt x="3689" y="1742"/>
                  </a:cubicBezTo>
                  <a:lnTo>
                    <a:pt x="3689" y="7795"/>
                  </a:lnTo>
                  <a:lnTo>
                    <a:pt x="2604" y="7795"/>
                  </a:lnTo>
                  <a:lnTo>
                    <a:pt x="2604" y="7309"/>
                  </a:lnTo>
                  <a:cubicBezTo>
                    <a:pt x="2304" y="7595"/>
                    <a:pt x="1904" y="7881"/>
                    <a:pt x="1276" y="7881"/>
                  </a:cubicBezTo>
                  <a:cubicBezTo>
                    <a:pt x="406" y="7881"/>
                    <a:pt x="6" y="7381"/>
                    <a:pt x="6" y="6524"/>
                  </a:cubicBezTo>
                  <a:lnTo>
                    <a:pt x="6" y="5110"/>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endParaRPr lang="en-US"/>
            </a:p>
          </p:txBody>
        </p:sp>
        <p:sp>
          <p:nvSpPr>
            <p:cNvPr id="7" name="Freeform 4">
              <a:extLst>
                <a:ext uri="{FF2B5EF4-FFF2-40B4-BE49-F238E27FC236}">
                  <a16:creationId xmlns:a16="http://schemas.microsoft.com/office/drawing/2014/main" id="{E9EB2120-3C44-C319-CE97-3B42C80C7327}"/>
                </a:ext>
              </a:extLst>
            </p:cNvPr>
            <p:cNvSpPr>
              <a:spLocks noChangeArrowheads="1"/>
            </p:cNvSpPr>
            <p:nvPr/>
          </p:nvSpPr>
          <p:spPr bwMode="auto">
            <a:xfrm>
              <a:off x="6292850" y="2035175"/>
              <a:ext cx="2262188" cy="2806700"/>
            </a:xfrm>
            <a:custGeom>
              <a:avLst/>
              <a:gdLst>
                <a:gd name="T0" fmla="*/ 1326358 w 6285"/>
                <a:gd name="T1" fmla="*/ 2806340 h 7796"/>
                <a:gd name="T2" fmla="*/ 935470 w 6285"/>
                <a:gd name="T3" fmla="*/ 2806340 h 7796"/>
                <a:gd name="T4" fmla="*/ 935470 w 6285"/>
                <a:gd name="T5" fmla="*/ 570628 h 7796"/>
                <a:gd name="T6" fmla="*/ 750463 w 6285"/>
                <a:gd name="T7" fmla="*/ 370098 h 7796"/>
                <a:gd name="T8" fmla="*/ 390889 w 6285"/>
                <a:gd name="T9" fmla="*/ 508705 h 7796"/>
                <a:gd name="T10" fmla="*/ 390889 w 6285"/>
                <a:gd name="T11" fmla="*/ 2806340 h 7796"/>
                <a:gd name="T12" fmla="*/ 0 w 6285"/>
                <a:gd name="T13" fmla="*/ 2806340 h 7796"/>
                <a:gd name="T14" fmla="*/ 0 w 6285"/>
                <a:gd name="T15" fmla="*/ 30602 h 7796"/>
                <a:gd name="T16" fmla="*/ 390889 w 6285"/>
                <a:gd name="T17" fmla="*/ 30602 h 7796"/>
                <a:gd name="T18" fmla="*/ 390889 w 6285"/>
                <a:gd name="T19" fmla="*/ 210611 h 7796"/>
                <a:gd name="T20" fmla="*/ 868882 w 6285"/>
                <a:gd name="T21" fmla="*/ 0 h 7796"/>
                <a:gd name="T22" fmla="*/ 1274888 w 6285"/>
                <a:gd name="T23" fmla="*/ 226091 h 7796"/>
                <a:gd name="T24" fmla="*/ 1804351 w 6285"/>
                <a:gd name="T25" fmla="*/ 0 h 7796"/>
                <a:gd name="T26" fmla="*/ 2261828 w 6285"/>
                <a:gd name="T27" fmla="*/ 488184 h 7796"/>
                <a:gd name="T28" fmla="*/ 2261828 w 6285"/>
                <a:gd name="T29" fmla="*/ 2806340 h 7796"/>
                <a:gd name="T30" fmla="*/ 1870939 w 6285"/>
                <a:gd name="T31" fmla="*/ 2806340 h 7796"/>
                <a:gd name="T32" fmla="*/ 1870939 w 6285"/>
                <a:gd name="T33" fmla="*/ 570628 h 7796"/>
                <a:gd name="T34" fmla="*/ 1685933 w 6285"/>
                <a:gd name="T35" fmla="*/ 370098 h 7796"/>
                <a:gd name="T36" fmla="*/ 1326358 w 6285"/>
                <a:gd name="T37" fmla="*/ 508705 h 7796"/>
                <a:gd name="T38" fmla="*/ 1326358 w 6285"/>
                <a:gd name="T39" fmla="*/ 2806340 h 779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6285" h="7796">
                  <a:moveTo>
                    <a:pt x="3685" y="7795"/>
                  </a:moveTo>
                  <a:lnTo>
                    <a:pt x="2599" y="7795"/>
                  </a:lnTo>
                  <a:lnTo>
                    <a:pt x="2599" y="1585"/>
                  </a:lnTo>
                  <a:cubicBezTo>
                    <a:pt x="2599" y="1199"/>
                    <a:pt x="2414" y="1028"/>
                    <a:pt x="2085" y="1028"/>
                  </a:cubicBezTo>
                  <a:cubicBezTo>
                    <a:pt x="1785" y="1028"/>
                    <a:pt x="1471" y="1142"/>
                    <a:pt x="1086" y="1413"/>
                  </a:cubicBezTo>
                  <a:lnTo>
                    <a:pt x="1086" y="7795"/>
                  </a:lnTo>
                  <a:lnTo>
                    <a:pt x="0" y="7795"/>
                  </a:lnTo>
                  <a:lnTo>
                    <a:pt x="0" y="85"/>
                  </a:lnTo>
                  <a:lnTo>
                    <a:pt x="1086" y="85"/>
                  </a:lnTo>
                  <a:lnTo>
                    <a:pt x="1086" y="585"/>
                  </a:lnTo>
                  <a:cubicBezTo>
                    <a:pt x="1400" y="285"/>
                    <a:pt x="1814" y="0"/>
                    <a:pt x="2414" y="0"/>
                  </a:cubicBezTo>
                  <a:cubicBezTo>
                    <a:pt x="2971" y="0"/>
                    <a:pt x="3342" y="228"/>
                    <a:pt x="3542" y="628"/>
                  </a:cubicBezTo>
                  <a:cubicBezTo>
                    <a:pt x="3928" y="299"/>
                    <a:pt x="4385" y="0"/>
                    <a:pt x="5013" y="0"/>
                  </a:cubicBezTo>
                  <a:cubicBezTo>
                    <a:pt x="5855" y="0"/>
                    <a:pt x="6284" y="514"/>
                    <a:pt x="6284" y="1356"/>
                  </a:cubicBezTo>
                  <a:lnTo>
                    <a:pt x="6284" y="7795"/>
                  </a:lnTo>
                  <a:lnTo>
                    <a:pt x="5198" y="7795"/>
                  </a:lnTo>
                  <a:lnTo>
                    <a:pt x="5198" y="1585"/>
                  </a:lnTo>
                  <a:cubicBezTo>
                    <a:pt x="5198" y="1199"/>
                    <a:pt x="5013" y="1028"/>
                    <a:pt x="4684" y="1028"/>
                  </a:cubicBezTo>
                  <a:cubicBezTo>
                    <a:pt x="4385" y="1028"/>
                    <a:pt x="4070" y="1142"/>
                    <a:pt x="3685" y="1413"/>
                  </a:cubicBezTo>
                  <a:lnTo>
                    <a:pt x="3685" y="7795"/>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endParaRPr lang="en-US"/>
            </a:p>
          </p:txBody>
        </p:sp>
        <p:sp>
          <p:nvSpPr>
            <p:cNvPr id="11" name="Freeform 5">
              <a:extLst>
                <a:ext uri="{FF2B5EF4-FFF2-40B4-BE49-F238E27FC236}">
                  <a16:creationId xmlns:a16="http://schemas.microsoft.com/office/drawing/2014/main" id="{FD09F79E-ABA0-0776-5E9E-A299B3FB00AF}"/>
                </a:ext>
              </a:extLst>
            </p:cNvPr>
            <p:cNvSpPr>
              <a:spLocks noChangeArrowheads="1"/>
            </p:cNvSpPr>
            <p:nvPr/>
          </p:nvSpPr>
          <p:spPr bwMode="auto">
            <a:xfrm>
              <a:off x="14288" y="2322513"/>
              <a:ext cx="1004887" cy="2274887"/>
            </a:xfrm>
            <a:custGeom>
              <a:avLst/>
              <a:gdLst>
                <a:gd name="T0" fmla="*/ 1004527 w 2790"/>
                <a:gd name="T1" fmla="*/ 0 h 6317"/>
                <a:gd name="T2" fmla="*/ 1004527 w 2790"/>
                <a:gd name="T3" fmla="*/ 510652 h 6317"/>
                <a:gd name="T4" fmla="*/ 346488 w 2790"/>
                <a:gd name="T5" fmla="*/ 1137624 h 6317"/>
                <a:gd name="T6" fmla="*/ 1004527 w 2790"/>
                <a:gd name="T7" fmla="*/ 1752711 h 6317"/>
                <a:gd name="T8" fmla="*/ 1004527 w 2790"/>
                <a:gd name="T9" fmla="*/ 2274527 h 6317"/>
                <a:gd name="T10" fmla="*/ 0 w 2790"/>
                <a:gd name="T11" fmla="*/ 1331009 h 6317"/>
                <a:gd name="T12" fmla="*/ 0 w 2790"/>
                <a:gd name="T13" fmla="*/ 955042 h 6317"/>
                <a:gd name="T14" fmla="*/ 1004527 w 2790"/>
                <a:gd name="T15" fmla="*/ 0 h 6317"/>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2790" h="6317">
                  <a:moveTo>
                    <a:pt x="2789" y="0"/>
                  </a:moveTo>
                  <a:lnTo>
                    <a:pt x="2789" y="1418"/>
                  </a:lnTo>
                  <a:lnTo>
                    <a:pt x="962" y="3159"/>
                  </a:lnTo>
                  <a:lnTo>
                    <a:pt x="2789" y="4867"/>
                  </a:lnTo>
                  <a:lnTo>
                    <a:pt x="2789" y="6316"/>
                  </a:lnTo>
                  <a:lnTo>
                    <a:pt x="0" y="3696"/>
                  </a:lnTo>
                  <a:lnTo>
                    <a:pt x="0" y="2652"/>
                  </a:lnTo>
                  <a:lnTo>
                    <a:pt x="2789"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endParaRPr lang="en-US"/>
            </a:p>
          </p:txBody>
        </p:sp>
        <p:sp>
          <p:nvSpPr>
            <p:cNvPr id="12" name="Freeform 6">
              <a:extLst>
                <a:ext uri="{FF2B5EF4-FFF2-40B4-BE49-F238E27FC236}">
                  <a16:creationId xmlns:a16="http://schemas.microsoft.com/office/drawing/2014/main" id="{454B6994-B5CE-E177-B4F3-28FFB74BEFAB}"/>
                </a:ext>
              </a:extLst>
            </p:cNvPr>
            <p:cNvSpPr>
              <a:spLocks noChangeArrowheads="1"/>
            </p:cNvSpPr>
            <p:nvPr/>
          </p:nvSpPr>
          <p:spPr bwMode="auto">
            <a:xfrm>
              <a:off x="9050338" y="2322513"/>
              <a:ext cx="1003300" cy="2274887"/>
            </a:xfrm>
            <a:custGeom>
              <a:avLst/>
              <a:gdLst>
                <a:gd name="T0" fmla="*/ 1002940 w 2789"/>
                <a:gd name="T1" fmla="*/ 955042 h 6317"/>
                <a:gd name="T2" fmla="*/ 1002940 w 2789"/>
                <a:gd name="T3" fmla="*/ 1331009 h 6317"/>
                <a:gd name="T4" fmla="*/ 0 w 2789"/>
                <a:gd name="T5" fmla="*/ 2274527 h 6317"/>
                <a:gd name="T6" fmla="*/ 0 w 2789"/>
                <a:gd name="T7" fmla="*/ 1752711 h 6317"/>
                <a:gd name="T8" fmla="*/ 656876 w 2789"/>
                <a:gd name="T9" fmla="*/ 1137624 h 6317"/>
                <a:gd name="T10" fmla="*/ 0 w 2789"/>
                <a:gd name="T11" fmla="*/ 510652 h 6317"/>
                <a:gd name="T12" fmla="*/ 0 w 2789"/>
                <a:gd name="T13" fmla="*/ 0 h 6317"/>
                <a:gd name="T14" fmla="*/ 1002940 w 2789"/>
                <a:gd name="T15" fmla="*/ 955042 h 6317"/>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2789" h="6317">
                  <a:moveTo>
                    <a:pt x="2788" y="2652"/>
                  </a:moveTo>
                  <a:lnTo>
                    <a:pt x="2788" y="3696"/>
                  </a:lnTo>
                  <a:lnTo>
                    <a:pt x="0" y="6316"/>
                  </a:lnTo>
                  <a:lnTo>
                    <a:pt x="0" y="4867"/>
                  </a:lnTo>
                  <a:lnTo>
                    <a:pt x="1826" y="3159"/>
                  </a:lnTo>
                  <a:lnTo>
                    <a:pt x="0" y="1418"/>
                  </a:lnTo>
                  <a:lnTo>
                    <a:pt x="0" y="0"/>
                  </a:lnTo>
                  <a:lnTo>
                    <a:pt x="2788" y="2652"/>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endParaRPr lang="en-US"/>
            </a:p>
          </p:txBody>
        </p:sp>
      </p:grpSp>
      <p:sp>
        <p:nvSpPr>
          <p:cNvPr id="13" name="Footer Placeholder 14">
            <a:extLst>
              <a:ext uri="{FF2B5EF4-FFF2-40B4-BE49-F238E27FC236}">
                <a16:creationId xmlns:a16="http://schemas.microsoft.com/office/drawing/2014/main" id="{929E0947-84CA-482C-AC16-3CB8B5C351E9}"/>
              </a:ext>
            </a:extLst>
          </p:cNvPr>
          <p:cNvSpPr txBox="1">
            <a:spLocks/>
          </p:cNvSpPr>
          <p:nvPr userDrawn="1"/>
        </p:nvSpPr>
        <p:spPr>
          <a:xfrm>
            <a:off x="1206203" y="6411603"/>
            <a:ext cx="2157779" cy="228599"/>
          </a:xfrm>
          <a:prstGeom prst="rect">
            <a:avLst/>
          </a:prstGeom>
        </p:spPr>
        <p:txBody>
          <a:bodyPr vert="horz" lIns="0" tIns="0" rIns="0" bIns="0" rtlCol="0" anchor="ctr"/>
          <a:lstStyle>
            <a:defPPr>
              <a:defRPr lang="en-US"/>
            </a:defPPr>
            <a:lvl1pPr marL="0" algn="r" defTabSz="914400" rtl="0" eaLnBrk="1" latinLnBrk="0" hangingPunct="1">
              <a:defRPr sz="600" b="0" i="0" kern="1200">
                <a:solidFill>
                  <a:schemeClr val="tx1"/>
                </a:solidFill>
                <a:latin typeface="+mn-lt"/>
                <a:ea typeface="Calibri" panose="020F0502020204030204" pitchFamily="34" charset="0"/>
                <a:cs typeface="Calibri" panose="020F050202020403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b="0" i="0">
                <a:solidFill>
                  <a:schemeClr val="bg1"/>
                </a:solidFill>
                <a:latin typeface="+mn-lt"/>
              </a:rPr>
              <a:t>EPAM Proprietary &amp; Confidential</a:t>
            </a:r>
            <a:r>
              <a:rPr lang="ru-RU" b="0" i="0">
                <a:solidFill>
                  <a:schemeClr val="bg1"/>
                </a:solidFill>
                <a:latin typeface="+mn-lt"/>
              </a:rPr>
              <a:t> </a:t>
            </a:r>
            <a:endParaRPr lang="en-US" b="0" i="0">
              <a:solidFill>
                <a:schemeClr val="bg1"/>
              </a:solidFill>
              <a:latin typeface="+mn-lt"/>
            </a:endParaRPr>
          </a:p>
        </p:txBody>
      </p:sp>
      <p:pic>
        <p:nvPicPr>
          <p:cNvPr id="5" name="Graphic 4">
            <a:extLst>
              <a:ext uri="{FF2B5EF4-FFF2-40B4-BE49-F238E27FC236}">
                <a16:creationId xmlns:a16="http://schemas.microsoft.com/office/drawing/2014/main" id="{DC875630-D749-8B0A-3A16-4B2547E75AEB}"/>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820266" y="6419060"/>
            <a:ext cx="762921" cy="205636"/>
          </a:xfrm>
          <a:prstGeom prst="rect">
            <a:avLst/>
          </a:prstGeom>
        </p:spPr>
      </p:pic>
    </p:spTree>
    <p:extLst>
      <p:ext uri="{BB962C8B-B14F-4D97-AF65-F5344CB8AC3E}">
        <p14:creationId xmlns:p14="http://schemas.microsoft.com/office/powerpoint/2010/main" val="2080985875"/>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itle + Small description - Dark">
    <p:bg>
      <p:bgPr>
        <a:solidFill>
          <a:schemeClr val="tx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263D721A-127A-4DBE-B738-ABA4893319BC}"/>
              </a:ext>
            </a:extLst>
          </p:cNvPr>
          <p:cNvSpPr/>
          <p:nvPr userDrawn="1"/>
        </p:nvSpPr>
        <p:spPr bwMode="auto">
          <a:xfrm flipH="1">
            <a:off x="6095999" y="0"/>
            <a:ext cx="6096000" cy="6858000"/>
          </a:xfrm>
          <a:prstGeom prst="rect">
            <a:avLst/>
          </a:prstGeom>
          <a:solidFill>
            <a:schemeClr val="accent1"/>
          </a:solidFill>
          <a:ln>
            <a:noFill/>
          </a:ln>
          <a:effectLst/>
        </p:spPr>
        <p:txBody>
          <a:bodyPr wrap="none" rtlCol="0" anchor="ctr"/>
          <a:lstStyle/>
          <a:p>
            <a:pPr algn="ctr"/>
            <a:endParaRPr lang="en-US" sz="2400" err="1">
              <a:solidFill>
                <a:schemeClr val="tx2"/>
              </a:solidFill>
              <a:latin typeface="Calibri Light" panose="020F0302020204030204" pitchFamily="34" charset="0"/>
              <a:ea typeface="Human Sans ExtraLight" charset="0"/>
              <a:cs typeface="Human Sans ExtraLight" charset="0"/>
            </a:endParaRPr>
          </a:p>
        </p:txBody>
      </p:sp>
      <p:sp>
        <p:nvSpPr>
          <p:cNvPr id="4" name="Title 1">
            <a:extLst>
              <a:ext uri="{FF2B5EF4-FFF2-40B4-BE49-F238E27FC236}">
                <a16:creationId xmlns:a16="http://schemas.microsoft.com/office/drawing/2014/main" id="{84506441-8274-B705-B947-1FDEB9C249C0}"/>
              </a:ext>
            </a:extLst>
          </p:cNvPr>
          <p:cNvSpPr>
            <a:spLocks noGrp="1"/>
          </p:cNvSpPr>
          <p:nvPr>
            <p:ph type="title" hasCustomPrompt="1"/>
          </p:nvPr>
        </p:nvSpPr>
        <p:spPr>
          <a:xfrm>
            <a:off x="633632" y="722843"/>
            <a:ext cx="4654331" cy="338554"/>
          </a:xfrm>
          <a:prstGeom prst="rect">
            <a:avLst/>
          </a:prstGeom>
        </p:spPr>
        <p:txBody>
          <a:bodyPr/>
          <a:lstStyle>
            <a:lvl1pPr>
              <a:defRPr lang="en-US" sz="2200" b="1" i="0" kern="1200" spc="0" dirty="0">
                <a:solidFill>
                  <a:schemeClr val="bg1"/>
                </a:solidFill>
                <a:effectLst/>
                <a:latin typeface="+mj-lt"/>
                <a:ea typeface="Calibri" panose="020F0502020204030204" pitchFamily="34" charset="0"/>
                <a:cs typeface="Calibri" panose="020F0502020204030204" pitchFamily="34" charset="0"/>
              </a:defRPr>
            </a:lvl1pPr>
          </a:lstStyle>
          <a:p>
            <a:pPr marL="0" lvl="0" indent="0" algn="l" defTabSz="914400" rtl="0" eaLnBrk="1" latinLnBrk="0" hangingPunct="1">
              <a:lnSpc>
                <a:spcPct val="100000"/>
              </a:lnSpc>
              <a:spcBef>
                <a:spcPts val="0"/>
              </a:spcBef>
              <a:spcAft>
                <a:spcPts val="0"/>
              </a:spcAft>
              <a:buFont typeface="Arial" panose="020B0604020202020204" pitchFamily="34" charset="0"/>
              <a:buNone/>
            </a:pPr>
            <a:r>
              <a:rPr lang="en-US">
                <a:effectLst/>
              </a:rPr>
              <a:t>Title Goes Here</a:t>
            </a:r>
            <a:endParaRPr lang="en-US"/>
          </a:p>
        </p:txBody>
      </p:sp>
      <p:sp>
        <p:nvSpPr>
          <p:cNvPr id="5" name="Text Placeholder 10">
            <a:extLst>
              <a:ext uri="{FF2B5EF4-FFF2-40B4-BE49-F238E27FC236}">
                <a16:creationId xmlns:a16="http://schemas.microsoft.com/office/drawing/2014/main" id="{79C77CF3-CB4A-9744-D0FB-71EAA09DD2E9}"/>
              </a:ext>
            </a:extLst>
          </p:cNvPr>
          <p:cNvSpPr>
            <a:spLocks noGrp="1"/>
          </p:cNvSpPr>
          <p:nvPr>
            <p:ph type="body" sz="quarter" idx="28" hasCustomPrompt="1"/>
          </p:nvPr>
        </p:nvSpPr>
        <p:spPr>
          <a:xfrm>
            <a:off x="633632" y="419100"/>
            <a:ext cx="3611880" cy="225706"/>
          </a:xfrm>
          <a:prstGeom prst="rect">
            <a:avLst/>
          </a:prstGeom>
        </p:spPr>
        <p:txBody>
          <a:bodyPr/>
          <a:lstStyle>
            <a:lvl1pPr>
              <a:spcBef>
                <a:spcPts val="0"/>
              </a:spcBef>
              <a:defRPr lang="en-US" sz="1000" b="0" i="0" kern="1200" cap="all" spc="300" baseline="0" dirty="0">
                <a:solidFill>
                  <a:schemeClr val="bg1"/>
                </a:solidFill>
                <a:latin typeface="Calibri" panose="020F0502020204030204" pitchFamily="34" charset="0"/>
                <a:ea typeface="Calibri" panose="020F0502020204030204" pitchFamily="34" charset="0"/>
                <a:cs typeface="Calibri" panose="020F0502020204030204" pitchFamily="34" charset="0"/>
              </a:defRPr>
            </a:lvl1pPr>
          </a:lstStyle>
          <a:p>
            <a:pPr marL="0" lvl="0" indent="0" algn="l" defTabSz="914400" rtl="0" eaLnBrk="1" latinLnBrk="0" hangingPunct="1">
              <a:lnSpc>
                <a:spcPct val="100000"/>
              </a:lnSpc>
              <a:spcBef>
                <a:spcPts val="600"/>
              </a:spcBef>
              <a:spcAft>
                <a:spcPts val="0"/>
              </a:spcAft>
              <a:buFont typeface="Arial" panose="020B0604020202020204" pitchFamily="34" charset="0"/>
              <a:buNone/>
            </a:pPr>
            <a:r>
              <a:rPr lang="en-US"/>
              <a:t>Click to add section title</a:t>
            </a:r>
          </a:p>
        </p:txBody>
      </p:sp>
      <p:grpSp>
        <p:nvGrpSpPr>
          <p:cNvPr id="6" name="Group 5">
            <a:extLst>
              <a:ext uri="{FF2B5EF4-FFF2-40B4-BE49-F238E27FC236}">
                <a16:creationId xmlns:a16="http://schemas.microsoft.com/office/drawing/2014/main" id="{3235A6C5-D15B-71E1-A0DC-BC5BAE5451B1}"/>
              </a:ext>
            </a:extLst>
          </p:cNvPr>
          <p:cNvGrpSpPr/>
          <p:nvPr userDrawn="1"/>
        </p:nvGrpSpPr>
        <p:grpSpPr>
          <a:xfrm>
            <a:off x="610888" y="6472556"/>
            <a:ext cx="372834" cy="131175"/>
            <a:chOff x="14288" y="2035175"/>
            <a:chExt cx="10039350" cy="3532188"/>
          </a:xfrm>
          <a:solidFill>
            <a:schemeClr val="bg1"/>
          </a:solidFill>
        </p:grpSpPr>
        <p:sp>
          <p:nvSpPr>
            <p:cNvPr id="7" name="Freeform 1">
              <a:extLst>
                <a:ext uri="{FF2B5EF4-FFF2-40B4-BE49-F238E27FC236}">
                  <a16:creationId xmlns:a16="http://schemas.microsoft.com/office/drawing/2014/main" id="{4380767D-1DDE-7346-A237-CD4B4C7CA271}"/>
                </a:ext>
              </a:extLst>
            </p:cNvPr>
            <p:cNvSpPr>
              <a:spLocks noChangeArrowheads="1"/>
            </p:cNvSpPr>
            <p:nvPr/>
          </p:nvSpPr>
          <p:spPr bwMode="auto">
            <a:xfrm>
              <a:off x="1519238" y="2035175"/>
              <a:ext cx="1336675" cy="2836863"/>
            </a:xfrm>
            <a:custGeom>
              <a:avLst/>
              <a:gdLst>
                <a:gd name="T0" fmla="*/ 390493 w 3714"/>
                <a:gd name="T1" fmla="*/ 1200682 h 7882"/>
                <a:gd name="T2" fmla="*/ 945462 w 3714"/>
                <a:gd name="T3" fmla="*/ 1200682 h 7882"/>
                <a:gd name="T4" fmla="*/ 945462 w 3714"/>
                <a:gd name="T5" fmla="*/ 611498 h 7882"/>
                <a:gd name="T6" fmla="*/ 698929 w 3714"/>
                <a:gd name="T7" fmla="*/ 364596 h 7882"/>
                <a:gd name="T8" fmla="*/ 637386 w 3714"/>
                <a:gd name="T9" fmla="*/ 364596 h 7882"/>
                <a:gd name="T10" fmla="*/ 390493 w 3714"/>
                <a:gd name="T11" fmla="*/ 611498 h 7882"/>
                <a:gd name="T12" fmla="*/ 390493 w 3714"/>
                <a:gd name="T13" fmla="*/ 1200682 h 7882"/>
                <a:gd name="T14" fmla="*/ 389414 w 3714"/>
                <a:gd name="T15" fmla="*/ 1576795 h 7882"/>
                <a:gd name="T16" fmla="*/ 390493 w 3714"/>
                <a:gd name="T17" fmla="*/ 2224645 h 7882"/>
                <a:gd name="T18" fmla="*/ 637386 w 3714"/>
                <a:gd name="T19" fmla="*/ 2471548 h 7882"/>
                <a:gd name="T20" fmla="*/ 709366 w 3714"/>
                <a:gd name="T21" fmla="*/ 2471548 h 7882"/>
                <a:gd name="T22" fmla="*/ 955899 w 3714"/>
                <a:gd name="T23" fmla="*/ 2224645 h 7882"/>
                <a:gd name="T24" fmla="*/ 955899 w 3714"/>
                <a:gd name="T25" fmla="*/ 1906119 h 7882"/>
                <a:gd name="T26" fmla="*/ 1336315 w 3714"/>
                <a:gd name="T27" fmla="*/ 1906119 h 7882"/>
                <a:gd name="T28" fmla="*/ 1336315 w 3714"/>
                <a:gd name="T29" fmla="*/ 2209528 h 7882"/>
                <a:gd name="T30" fmla="*/ 709366 w 3714"/>
                <a:gd name="T31" fmla="*/ 2836503 h 7882"/>
                <a:gd name="T32" fmla="*/ 626949 w 3714"/>
                <a:gd name="T33" fmla="*/ 2836503 h 7882"/>
                <a:gd name="T34" fmla="*/ 0 w 3714"/>
                <a:gd name="T35" fmla="*/ 2258117 h 7882"/>
                <a:gd name="T36" fmla="*/ 0 w 3714"/>
                <a:gd name="T37" fmla="*/ 675564 h 7882"/>
                <a:gd name="T38" fmla="*/ 626949 w 3714"/>
                <a:gd name="T39" fmla="*/ 0 h 7882"/>
                <a:gd name="T40" fmla="*/ 709366 w 3714"/>
                <a:gd name="T41" fmla="*/ 0 h 7882"/>
                <a:gd name="T42" fmla="*/ 1336315 w 3714"/>
                <a:gd name="T43" fmla="*/ 626975 h 7882"/>
                <a:gd name="T44" fmla="*/ 1334875 w 3714"/>
                <a:gd name="T45" fmla="*/ 1576795 h 7882"/>
                <a:gd name="T46" fmla="*/ 389414 w 3714"/>
                <a:gd name="T47" fmla="*/ 1576795 h 7882"/>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3714" h="7882">
                  <a:moveTo>
                    <a:pt x="1085" y="3336"/>
                  </a:moveTo>
                  <a:lnTo>
                    <a:pt x="2627" y="3336"/>
                  </a:lnTo>
                  <a:lnTo>
                    <a:pt x="2627" y="1699"/>
                  </a:lnTo>
                  <a:cubicBezTo>
                    <a:pt x="2627" y="1242"/>
                    <a:pt x="2399" y="1013"/>
                    <a:pt x="1942" y="1013"/>
                  </a:cubicBezTo>
                  <a:lnTo>
                    <a:pt x="1771" y="1013"/>
                  </a:lnTo>
                  <a:cubicBezTo>
                    <a:pt x="1314" y="1013"/>
                    <a:pt x="1085" y="1242"/>
                    <a:pt x="1085" y="1699"/>
                  </a:cubicBezTo>
                  <a:lnTo>
                    <a:pt x="1085" y="3336"/>
                  </a:lnTo>
                  <a:close/>
                  <a:moveTo>
                    <a:pt x="1082" y="4381"/>
                  </a:moveTo>
                  <a:lnTo>
                    <a:pt x="1085" y="6181"/>
                  </a:lnTo>
                  <a:cubicBezTo>
                    <a:pt x="1085" y="6638"/>
                    <a:pt x="1314" y="6867"/>
                    <a:pt x="1771" y="6867"/>
                  </a:cubicBezTo>
                  <a:lnTo>
                    <a:pt x="1971" y="6867"/>
                  </a:lnTo>
                  <a:cubicBezTo>
                    <a:pt x="2428" y="6867"/>
                    <a:pt x="2656" y="6638"/>
                    <a:pt x="2656" y="6181"/>
                  </a:cubicBezTo>
                  <a:lnTo>
                    <a:pt x="2656" y="5296"/>
                  </a:lnTo>
                  <a:lnTo>
                    <a:pt x="3713" y="5296"/>
                  </a:lnTo>
                  <a:lnTo>
                    <a:pt x="3713" y="6139"/>
                  </a:lnTo>
                  <a:cubicBezTo>
                    <a:pt x="3713" y="7295"/>
                    <a:pt x="3127" y="7881"/>
                    <a:pt x="1971" y="7881"/>
                  </a:cubicBezTo>
                  <a:lnTo>
                    <a:pt x="1742" y="7881"/>
                  </a:lnTo>
                  <a:cubicBezTo>
                    <a:pt x="585" y="7881"/>
                    <a:pt x="0" y="7295"/>
                    <a:pt x="0" y="6274"/>
                  </a:cubicBezTo>
                  <a:lnTo>
                    <a:pt x="0" y="1877"/>
                  </a:lnTo>
                  <a:cubicBezTo>
                    <a:pt x="0" y="585"/>
                    <a:pt x="585" y="0"/>
                    <a:pt x="1742" y="0"/>
                  </a:cubicBezTo>
                  <a:lnTo>
                    <a:pt x="1971" y="0"/>
                  </a:lnTo>
                  <a:cubicBezTo>
                    <a:pt x="3127" y="0"/>
                    <a:pt x="3713" y="585"/>
                    <a:pt x="3713" y="1742"/>
                  </a:cubicBezTo>
                  <a:lnTo>
                    <a:pt x="3709" y="4381"/>
                  </a:lnTo>
                  <a:lnTo>
                    <a:pt x="1082" y="4381"/>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endParaRPr lang="en-US"/>
            </a:p>
          </p:txBody>
        </p:sp>
        <p:sp>
          <p:nvSpPr>
            <p:cNvPr id="8" name="Freeform 2">
              <a:extLst>
                <a:ext uri="{FF2B5EF4-FFF2-40B4-BE49-F238E27FC236}">
                  <a16:creationId xmlns:a16="http://schemas.microsoft.com/office/drawing/2014/main" id="{7214E0FF-220F-D57C-45E2-7551EE871E7F}"/>
                </a:ext>
              </a:extLst>
            </p:cNvPr>
            <p:cNvSpPr>
              <a:spLocks noChangeArrowheads="1"/>
            </p:cNvSpPr>
            <p:nvPr/>
          </p:nvSpPr>
          <p:spPr bwMode="auto">
            <a:xfrm>
              <a:off x="3109913" y="2035175"/>
              <a:ext cx="1368425" cy="3532188"/>
            </a:xfrm>
            <a:custGeom>
              <a:avLst/>
              <a:gdLst>
                <a:gd name="T0" fmla="*/ 390721 w 3800"/>
                <a:gd name="T1" fmla="*/ 2322993 h 9812"/>
                <a:gd name="T2" fmla="*/ 750833 w 3800"/>
                <a:gd name="T3" fmla="*/ 2466628 h 9812"/>
                <a:gd name="T4" fmla="*/ 976983 w 3800"/>
                <a:gd name="T5" fmla="*/ 2240556 h 9812"/>
                <a:gd name="T6" fmla="*/ 976983 w 3800"/>
                <a:gd name="T7" fmla="*/ 596138 h 9812"/>
                <a:gd name="T8" fmla="*/ 750833 w 3800"/>
                <a:gd name="T9" fmla="*/ 370066 h 9812"/>
                <a:gd name="T10" fmla="*/ 390721 w 3800"/>
                <a:gd name="T11" fmla="*/ 514061 h 9812"/>
                <a:gd name="T12" fmla="*/ 390721 w 3800"/>
                <a:gd name="T13" fmla="*/ 2322993 h 9812"/>
                <a:gd name="T14" fmla="*/ 0 w 3800"/>
                <a:gd name="T15" fmla="*/ 30599 h 9812"/>
                <a:gd name="T16" fmla="*/ 390721 w 3800"/>
                <a:gd name="T17" fmla="*/ 30599 h 9812"/>
                <a:gd name="T18" fmla="*/ 390721 w 3800"/>
                <a:gd name="T19" fmla="*/ 210592 h 9812"/>
                <a:gd name="T20" fmla="*/ 868950 w 3800"/>
                <a:gd name="T21" fmla="*/ 0 h 9812"/>
                <a:gd name="T22" fmla="*/ 1368065 w 3800"/>
                <a:gd name="T23" fmla="*/ 549699 h 9812"/>
                <a:gd name="T24" fmla="*/ 1368065 w 3800"/>
                <a:gd name="T25" fmla="*/ 2286995 h 9812"/>
                <a:gd name="T26" fmla="*/ 868950 w 3800"/>
                <a:gd name="T27" fmla="*/ 2837054 h 9812"/>
                <a:gd name="T28" fmla="*/ 390721 w 3800"/>
                <a:gd name="T29" fmla="*/ 2636541 h 9812"/>
                <a:gd name="T30" fmla="*/ 390721 w 3800"/>
                <a:gd name="T31" fmla="*/ 3531828 h 9812"/>
                <a:gd name="T32" fmla="*/ 0 w 3800"/>
                <a:gd name="T33" fmla="*/ 3531828 h 9812"/>
                <a:gd name="T34" fmla="*/ 0 w 3800"/>
                <a:gd name="T35" fmla="*/ 30599 h 9812"/>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3800" h="9812">
                  <a:moveTo>
                    <a:pt x="1085" y="6453"/>
                  </a:moveTo>
                  <a:cubicBezTo>
                    <a:pt x="1385" y="6710"/>
                    <a:pt x="1728" y="6852"/>
                    <a:pt x="2085" y="6852"/>
                  </a:cubicBezTo>
                  <a:cubicBezTo>
                    <a:pt x="2485" y="6852"/>
                    <a:pt x="2713" y="6667"/>
                    <a:pt x="2713" y="6224"/>
                  </a:cubicBezTo>
                  <a:lnTo>
                    <a:pt x="2713" y="1656"/>
                  </a:lnTo>
                  <a:cubicBezTo>
                    <a:pt x="2713" y="1213"/>
                    <a:pt x="2485" y="1028"/>
                    <a:pt x="2085" y="1028"/>
                  </a:cubicBezTo>
                  <a:cubicBezTo>
                    <a:pt x="1728" y="1028"/>
                    <a:pt x="1385" y="1170"/>
                    <a:pt x="1085" y="1428"/>
                  </a:cubicBezTo>
                  <a:lnTo>
                    <a:pt x="1085" y="6453"/>
                  </a:lnTo>
                  <a:close/>
                  <a:moveTo>
                    <a:pt x="0" y="85"/>
                  </a:moveTo>
                  <a:lnTo>
                    <a:pt x="1085" y="85"/>
                  </a:lnTo>
                  <a:lnTo>
                    <a:pt x="1085" y="585"/>
                  </a:lnTo>
                  <a:cubicBezTo>
                    <a:pt x="1342" y="314"/>
                    <a:pt x="1785" y="0"/>
                    <a:pt x="2413" y="0"/>
                  </a:cubicBezTo>
                  <a:cubicBezTo>
                    <a:pt x="3342" y="0"/>
                    <a:pt x="3799" y="614"/>
                    <a:pt x="3799" y="1527"/>
                  </a:cubicBezTo>
                  <a:lnTo>
                    <a:pt x="3799" y="6353"/>
                  </a:lnTo>
                  <a:cubicBezTo>
                    <a:pt x="3799" y="7267"/>
                    <a:pt x="3342" y="7881"/>
                    <a:pt x="2413" y="7881"/>
                  </a:cubicBezTo>
                  <a:cubicBezTo>
                    <a:pt x="1785" y="7881"/>
                    <a:pt x="1342" y="7581"/>
                    <a:pt x="1085" y="7324"/>
                  </a:cubicBezTo>
                  <a:lnTo>
                    <a:pt x="1085" y="9811"/>
                  </a:lnTo>
                  <a:lnTo>
                    <a:pt x="0" y="9811"/>
                  </a:lnTo>
                  <a:lnTo>
                    <a:pt x="0" y="85"/>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endParaRPr lang="en-US"/>
            </a:p>
          </p:txBody>
        </p:sp>
        <p:sp>
          <p:nvSpPr>
            <p:cNvPr id="9" name="Freeform 3">
              <a:extLst>
                <a:ext uri="{FF2B5EF4-FFF2-40B4-BE49-F238E27FC236}">
                  <a16:creationId xmlns:a16="http://schemas.microsoft.com/office/drawing/2014/main" id="{D69F1031-CBC1-2AFD-7285-EF245268615F}"/>
                </a:ext>
              </a:extLst>
            </p:cNvPr>
            <p:cNvSpPr>
              <a:spLocks noChangeArrowheads="1"/>
            </p:cNvSpPr>
            <p:nvPr/>
          </p:nvSpPr>
          <p:spPr bwMode="auto">
            <a:xfrm>
              <a:off x="4711700" y="2035175"/>
              <a:ext cx="1328738" cy="2836863"/>
            </a:xfrm>
            <a:custGeom>
              <a:avLst/>
              <a:gdLst>
                <a:gd name="T0" fmla="*/ 937679 w 3690"/>
                <a:gd name="T1" fmla="*/ 2338019 h 7882"/>
                <a:gd name="T2" fmla="*/ 937679 w 3690"/>
                <a:gd name="T3" fmla="*/ 1422750 h 7882"/>
                <a:gd name="T4" fmla="*/ 582988 w 3690"/>
                <a:gd name="T5" fmla="*/ 1556999 h 7882"/>
                <a:gd name="T6" fmla="*/ 392500 w 3690"/>
                <a:gd name="T7" fmla="*/ 1844573 h 7882"/>
                <a:gd name="T8" fmla="*/ 392500 w 3690"/>
                <a:gd name="T9" fmla="*/ 2266035 h 7882"/>
                <a:gd name="T10" fmla="*/ 582988 w 3690"/>
                <a:gd name="T11" fmla="*/ 2466149 h 7882"/>
                <a:gd name="T12" fmla="*/ 937679 w 3690"/>
                <a:gd name="T13" fmla="*/ 2338019 h 7882"/>
                <a:gd name="T14" fmla="*/ 2161 w 3690"/>
                <a:gd name="T15" fmla="*/ 1839174 h 7882"/>
                <a:gd name="T16" fmla="*/ 413025 w 3690"/>
                <a:gd name="T17" fmla="*/ 1253950 h 7882"/>
                <a:gd name="T18" fmla="*/ 937679 w 3690"/>
                <a:gd name="T19" fmla="*/ 1073991 h 7882"/>
                <a:gd name="T20" fmla="*/ 937679 w 3690"/>
                <a:gd name="T21" fmla="*/ 611498 h 7882"/>
                <a:gd name="T22" fmla="*/ 690656 w 3690"/>
                <a:gd name="T23" fmla="*/ 359557 h 7882"/>
                <a:gd name="T24" fmla="*/ 627280 w 3690"/>
                <a:gd name="T25" fmla="*/ 359557 h 7882"/>
                <a:gd name="T26" fmla="*/ 380257 w 3690"/>
                <a:gd name="T27" fmla="*/ 611498 h 7882"/>
                <a:gd name="T28" fmla="*/ 380257 w 3690"/>
                <a:gd name="T29" fmla="*/ 1004527 h 7882"/>
                <a:gd name="T30" fmla="*/ 0 w 3690"/>
                <a:gd name="T31" fmla="*/ 1004527 h 7882"/>
                <a:gd name="T32" fmla="*/ 0 w 3690"/>
                <a:gd name="T33" fmla="*/ 626975 h 7882"/>
                <a:gd name="T34" fmla="*/ 627280 w 3690"/>
                <a:gd name="T35" fmla="*/ 0 h 7882"/>
                <a:gd name="T36" fmla="*/ 701098 w 3690"/>
                <a:gd name="T37" fmla="*/ 0 h 7882"/>
                <a:gd name="T38" fmla="*/ 1328378 w 3690"/>
                <a:gd name="T39" fmla="*/ 626975 h 7882"/>
                <a:gd name="T40" fmla="*/ 1328378 w 3690"/>
                <a:gd name="T41" fmla="*/ 2805550 h 7882"/>
                <a:gd name="T42" fmla="*/ 937679 w 3690"/>
                <a:gd name="T43" fmla="*/ 2805550 h 7882"/>
                <a:gd name="T44" fmla="*/ 937679 w 3690"/>
                <a:gd name="T45" fmla="*/ 2630631 h 7882"/>
                <a:gd name="T46" fmla="*/ 459477 w 3690"/>
                <a:gd name="T47" fmla="*/ 2836503 h 7882"/>
                <a:gd name="T48" fmla="*/ 2161 w 3690"/>
                <a:gd name="T49" fmla="*/ 2348096 h 7882"/>
                <a:gd name="T50" fmla="*/ 2161 w 3690"/>
                <a:gd name="T51" fmla="*/ 1839174 h 7882"/>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3690" h="7882">
                  <a:moveTo>
                    <a:pt x="2604" y="6496"/>
                  </a:moveTo>
                  <a:lnTo>
                    <a:pt x="2604" y="3953"/>
                  </a:lnTo>
                  <a:lnTo>
                    <a:pt x="1619" y="4326"/>
                  </a:lnTo>
                  <a:cubicBezTo>
                    <a:pt x="1219" y="4483"/>
                    <a:pt x="1090" y="4683"/>
                    <a:pt x="1090" y="5125"/>
                  </a:cubicBezTo>
                  <a:lnTo>
                    <a:pt x="1090" y="6296"/>
                  </a:lnTo>
                  <a:cubicBezTo>
                    <a:pt x="1090" y="6667"/>
                    <a:pt x="1276" y="6852"/>
                    <a:pt x="1619" y="6852"/>
                  </a:cubicBezTo>
                  <a:cubicBezTo>
                    <a:pt x="1947" y="6852"/>
                    <a:pt x="2247" y="6738"/>
                    <a:pt x="2604" y="6496"/>
                  </a:cubicBezTo>
                  <a:close/>
                  <a:moveTo>
                    <a:pt x="6" y="5110"/>
                  </a:moveTo>
                  <a:cubicBezTo>
                    <a:pt x="6" y="4155"/>
                    <a:pt x="320" y="3769"/>
                    <a:pt x="1147" y="3484"/>
                  </a:cubicBezTo>
                  <a:lnTo>
                    <a:pt x="2604" y="2984"/>
                  </a:lnTo>
                  <a:lnTo>
                    <a:pt x="2604" y="1699"/>
                  </a:lnTo>
                  <a:cubicBezTo>
                    <a:pt x="2604" y="1242"/>
                    <a:pt x="2375" y="999"/>
                    <a:pt x="1918" y="999"/>
                  </a:cubicBezTo>
                  <a:lnTo>
                    <a:pt x="1742" y="999"/>
                  </a:lnTo>
                  <a:cubicBezTo>
                    <a:pt x="1285" y="999"/>
                    <a:pt x="1056" y="1242"/>
                    <a:pt x="1056" y="1699"/>
                  </a:cubicBezTo>
                  <a:lnTo>
                    <a:pt x="1056" y="2791"/>
                  </a:lnTo>
                  <a:lnTo>
                    <a:pt x="0" y="2791"/>
                  </a:lnTo>
                  <a:lnTo>
                    <a:pt x="0" y="1742"/>
                  </a:lnTo>
                  <a:cubicBezTo>
                    <a:pt x="0" y="585"/>
                    <a:pt x="586" y="0"/>
                    <a:pt x="1742" y="0"/>
                  </a:cubicBezTo>
                  <a:lnTo>
                    <a:pt x="1947" y="0"/>
                  </a:lnTo>
                  <a:cubicBezTo>
                    <a:pt x="3104" y="0"/>
                    <a:pt x="3689" y="585"/>
                    <a:pt x="3689" y="1742"/>
                  </a:cubicBezTo>
                  <a:lnTo>
                    <a:pt x="3689" y="7795"/>
                  </a:lnTo>
                  <a:lnTo>
                    <a:pt x="2604" y="7795"/>
                  </a:lnTo>
                  <a:lnTo>
                    <a:pt x="2604" y="7309"/>
                  </a:lnTo>
                  <a:cubicBezTo>
                    <a:pt x="2304" y="7595"/>
                    <a:pt x="1904" y="7881"/>
                    <a:pt x="1276" y="7881"/>
                  </a:cubicBezTo>
                  <a:cubicBezTo>
                    <a:pt x="406" y="7881"/>
                    <a:pt x="6" y="7381"/>
                    <a:pt x="6" y="6524"/>
                  </a:cubicBezTo>
                  <a:lnTo>
                    <a:pt x="6" y="5110"/>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endParaRPr lang="en-US"/>
            </a:p>
          </p:txBody>
        </p:sp>
        <p:sp>
          <p:nvSpPr>
            <p:cNvPr id="12" name="Freeform 4">
              <a:extLst>
                <a:ext uri="{FF2B5EF4-FFF2-40B4-BE49-F238E27FC236}">
                  <a16:creationId xmlns:a16="http://schemas.microsoft.com/office/drawing/2014/main" id="{2AC82D0B-8AA2-917F-DA78-B7058591D998}"/>
                </a:ext>
              </a:extLst>
            </p:cNvPr>
            <p:cNvSpPr>
              <a:spLocks noChangeArrowheads="1"/>
            </p:cNvSpPr>
            <p:nvPr/>
          </p:nvSpPr>
          <p:spPr bwMode="auto">
            <a:xfrm>
              <a:off x="6292850" y="2035175"/>
              <a:ext cx="2262188" cy="2806700"/>
            </a:xfrm>
            <a:custGeom>
              <a:avLst/>
              <a:gdLst>
                <a:gd name="T0" fmla="*/ 1326358 w 6285"/>
                <a:gd name="T1" fmla="*/ 2806340 h 7796"/>
                <a:gd name="T2" fmla="*/ 935470 w 6285"/>
                <a:gd name="T3" fmla="*/ 2806340 h 7796"/>
                <a:gd name="T4" fmla="*/ 935470 w 6285"/>
                <a:gd name="T5" fmla="*/ 570628 h 7796"/>
                <a:gd name="T6" fmla="*/ 750463 w 6285"/>
                <a:gd name="T7" fmla="*/ 370098 h 7796"/>
                <a:gd name="T8" fmla="*/ 390889 w 6285"/>
                <a:gd name="T9" fmla="*/ 508705 h 7796"/>
                <a:gd name="T10" fmla="*/ 390889 w 6285"/>
                <a:gd name="T11" fmla="*/ 2806340 h 7796"/>
                <a:gd name="T12" fmla="*/ 0 w 6285"/>
                <a:gd name="T13" fmla="*/ 2806340 h 7796"/>
                <a:gd name="T14" fmla="*/ 0 w 6285"/>
                <a:gd name="T15" fmla="*/ 30602 h 7796"/>
                <a:gd name="T16" fmla="*/ 390889 w 6285"/>
                <a:gd name="T17" fmla="*/ 30602 h 7796"/>
                <a:gd name="T18" fmla="*/ 390889 w 6285"/>
                <a:gd name="T19" fmla="*/ 210611 h 7796"/>
                <a:gd name="T20" fmla="*/ 868882 w 6285"/>
                <a:gd name="T21" fmla="*/ 0 h 7796"/>
                <a:gd name="T22" fmla="*/ 1274888 w 6285"/>
                <a:gd name="T23" fmla="*/ 226091 h 7796"/>
                <a:gd name="T24" fmla="*/ 1804351 w 6285"/>
                <a:gd name="T25" fmla="*/ 0 h 7796"/>
                <a:gd name="T26" fmla="*/ 2261828 w 6285"/>
                <a:gd name="T27" fmla="*/ 488184 h 7796"/>
                <a:gd name="T28" fmla="*/ 2261828 w 6285"/>
                <a:gd name="T29" fmla="*/ 2806340 h 7796"/>
                <a:gd name="T30" fmla="*/ 1870939 w 6285"/>
                <a:gd name="T31" fmla="*/ 2806340 h 7796"/>
                <a:gd name="T32" fmla="*/ 1870939 w 6285"/>
                <a:gd name="T33" fmla="*/ 570628 h 7796"/>
                <a:gd name="T34" fmla="*/ 1685933 w 6285"/>
                <a:gd name="T35" fmla="*/ 370098 h 7796"/>
                <a:gd name="T36" fmla="*/ 1326358 w 6285"/>
                <a:gd name="T37" fmla="*/ 508705 h 7796"/>
                <a:gd name="T38" fmla="*/ 1326358 w 6285"/>
                <a:gd name="T39" fmla="*/ 2806340 h 779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6285" h="7796">
                  <a:moveTo>
                    <a:pt x="3685" y="7795"/>
                  </a:moveTo>
                  <a:lnTo>
                    <a:pt x="2599" y="7795"/>
                  </a:lnTo>
                  <a:lnTo>
                    <a:pt x="2599" y="1585"/>
                  </a:lnTo>
                  <a:cubicBezTo>
                    <a:pt x="2599" y="1199"/>
                    <a:pt x="2414" y="1028"/>
                    <a:pt x="2085" y="1028"/>
                  </a:cubicBezTo>
                  <a:cubicBezTo>
                    <a:pt x="1785" y="1028"/>
                    <a:pt x="1471" y="1142"/>
                    <a:pt x="1086" y="1413"/>
                  </a:cubicBezTo>
                  <a:lnTo>
                    <a:pt x="1086" y="7795"/>
                  </a:lnTo>
                  <a:lnTo>
                    <a:pt x="0" y="7795"/>
                  </a:lnTo>
                  <a:lnTo>
                    <a:pt x="0" y="85"/>
                  </a:lnTo>
                  <a:lnTo>
                    <a:pt x="1086" y="85"/>
                  </a:lnTo>
                  <a:lnTo>
                    <a:pt x="1086" y="585"/>
                  </a:lnTo>
                  <a:cubicBezTo>
                    <a:pt x="1400" y="285"/>
                    <a:pt x="1814" y="0"/>
                    <a:pt x="2414" y="0"/>
                  </a:cubicBezTo>
                  <a:cubicBezTo>
                    <a:pt x="2971" y="0"/>
                    <a:pt x="3342" y="228"/>
                    <a:pt x="3542" y="628"/>
                  </a:cubicBezTo>
                  <a:cubicBezTo>
                    <a:pt x="3928" y="299"/>
                    <a:pt x="4385" y="0"/>
                    <a:pt x="5013" y="0"/>
                  </a:cubicBezTo>
                  <a:cubicBezTo>
                    <a:pt x="5855" y="0"/>
                    <a:pt x="6284" y="514"/>
                    <a:pt x="6284" y="1356"/>
                  </a:cubicBezTo>
                  <a:lnTo>
                    <a:pt x="6284" y="7795"/>
                  </a:lnTo>
                  <a:lnTo>
                    <a:pt x="5198" y="7795"/>
                  </a:lnTo>
                  <a:lnTo>
                    <a:pt x="5198" y="1585"/>
                  </a:lnTo>
                  <a:cubicBezTo>
                    <a:pt x="5198" y="1199"/>
                    <a:pt x="5013" y="1028"/>
                    <a:pt x="4684" y="1028"/>
                  </a:cubicBezTo>
                  <a:cubicBezTo>
                    <a:pt x="4385" y="1028"/>
                    <a:pt x="4070" y="1142"/>
                    <a:pt x="3685" y="1413"/>
                  </a:cubicBezTo>
                  <a:lnTo>
                    <a:pt x="3685" y="7795"/>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endParaRPr lang="en-US"/>
            </a:p>
          </p:txBody>
        </p:sp>
        <p:sp>
          <p:nvSpPr>
            <p:cNvPr id="13" name="Freeform 5">
              <a:extLst>
                <a:ext uri="{FF2B5EF4-FFF2-40B4-BE49-F238E27FC236}">
                  <a16:creationId xmlns:a16="http://schemas.microsoft.com/office/drawing/2014/main" id="{FF32CFB9-48D7-F988-E3F7-A2B11530F193}"/>
                </a:ext>
              </a:extLst>
            </p:cNvPr>
            <p:cNvSpPr>
              <a:spLocks noChangeArrowheads="1"/>
            </p:cNvSpPr>
            <p:nvPr/>
          </p:nvSpPr>
          <p:spPr bwMode="auto">
            <a:xfrm>
              <a:off x="14288" y="2322513"/>
              <a:ext cx="1004887" cy="2274887"/>
            </a:xfrm>
            <a:custGeom>
              <a:avLst/>
              <a:gdLst>
                <a:gd name="T0" fmla="*/ 1004527 w 2790"/>
                <a:gd name="T1" fmla="*/ 0 h 6317"/>
                <a:gd name="T2" fmla="*/ 1004527 w 2790"/>
                <a:gd name="T3" fmla="*/ 510652 h 6317"/>
                <a:gd name="T4" fmla="*/ 346488 w 2790"/>
                <a:gd name="T5" fmla="*/ 1137624 h 6317"/>
                <a:gd name="T6" fmla="*/ 1004527 w 2790"/>
                <a:gd name="T7" fmla="*/ 1752711 h 6317"/>
                <a:gd name="T8" fmla="*/ 1004527 w 2790"/>
                <a:gd name="T9" fmla="*/ 2274527 h 6317"/>
                <a:gd name="T10" fmla="*/ 0 w 2790"/>
                <a:gd name="T11" fmla="*/ 1331009 h 6317"/>
                <a:gd name="T12" fmla="*/ 0 w 2790"/>
                <a:gd name="T13" fmla="*/ 955042 h 6317"/>
                <a:gd name="T14" fmla="*/ 1004527 w 2790"/>
                <a:gd name="T15" fmla="*/ 0 h 6317"/>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2790" h="6317">
                  <a:moveTo>
                    <a:pt x="2789" y="0"/>
                  </a:moveTo>
                  <a:lnTo>
                    <a:pt x="2789" y="1418"/>
                  </a:lnTo>
                  <a:lnTo>
                    <a:pt x="962" y="3159"/>
                  </a:lnTo>
                  <a:lnTo>
                    <a:pt x="2789" y="4867"/>
                  </a:lnTo>
                  <a:lnTo>
                    <a:pt x="2789" y="6316"/>
                  </a:lnTo>
                  <a:lnTo>
                    <a:pt x="0" y="3696"/>
                  </a:lnTo>
                  <a:lnTo>
                    <a:pt x="0" y="2652"/>
                  </a:lnTo>
                  <a:lnTo>
                    <a:pt x="2789"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endParaRPr lang="en-US"/>
            </a:p>
          </p:txBody>
        </p:sp>
        <p:sp>
          <p:nvSpPr>
            <p:cNvPr id="14" name="Freeform 6">
              <a:extLst>
                <a:ext uri="{FF2B5EF4-FFF2-40B4-BE49-F238E27FC236}">
                  <a16:creationId xmlns:a16="http://schemas.microsoft.com/office/drawing/2014/main" id="{FB0C7BE8-3D95-3B92-464A-2F07819DCB74}"/>
                </a:ext>
              </a:extLst>
            </p:cNvPr>
            <p:cNvSpPr>
              <a:spLocks noChangeArrowheads="1"/>
            </p:cNvSpPr>
            <p:nvPr/>
          </p:nvSpPr>
          <p:spPr bwMode="auto">
            <a:xfrm>
              <a:off x="9050338" y="2322513"/>
              <a:ext cx="1003300" cy="2274887"/>
            </a:xfrm>
            <a:custGeom>
              <a:avLst/>
              <a:gdLst>
                <a:gd name="T0" fmla="*/ 1002940 w 2789"/>
                <a:gd name="T1" fmla="*/ 955042 h 6317"/>
                <a:gd name="T2" fmla="*/ 1002940 w 2789"/>
                <a:gd name="T3" fmla="*/ 1331009 h 6317"/>
                <a:gd name="T4" fmla="*/ 0 w 2789"/>
                <a:gd name="T5" fmla="*/ 2274527 h 6317"/>
                <a:gd name="T6" fmla="*/ 0 w 2789"/>
                <a:gd name="T7" fmla="*/ 1752711 h 6317"/>
                <a:gd name="T8" fmla="*/ 656876 w 2789"/>
                <a:gd name="T9" fmla="*/ 1137624 h 6317"/>
                <a:gd name="T10" fmla="*/ 0 w 2789"/>
                <a:gd name="T11" fmla="*/ 510652 h 6317"/>
                <a:gd name="T12" fmla="*/ 0 w 2789"/>
                <a:gd name="T13" fmla="*/ 0 h 6317"/>
                <a:gd name="T14" fmla="*/ 1002940 w 2789"/>
                <a:gd name="T15" fmla="*/ 955042 h 6317"/>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2789" h="6317">
                  <a:moveTo>
                    <a:pt x="2788" y="2652"/>
                  </a:moveTo>
                  <a:lnTo>
                    <a:pt x="2788" y="3696"/>
                  </a:lnTo>
                  <a:lnTo>
                    <a:pt x="0" y="6316"/>
                  </a:lnTo>
                  <a:lnTo>
                    <a:pt x="0" y="4867"/>
                  </a:lnTo>
                  <a:lnTo>
                    <a:pt x="1826" y="3159"/>
                  </a:lnTo>
                  <a:lnTo>
                    <a:pt x="0" y="1418"/>
                  </a:lnTo>
                  <a:lnTo>
                    <a:pt x="0" y="0"/>
                  </a:lnTo>
                  <a:lnTo>
                    <a:pt x="2788" y="2652"/>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endParaRPr lang="en-US"/>
            </a:p>
          </p:txBody>
        </p:sp>
      </p:grpSp>
      <p:sp>
        <p:nvSpPr>
          <p:cNvPr id="15" name="Footer Placeholder 14">
            <a:extLst>
              <a:ext uri="{FF2B5EF4-FFF2-40B4-BE49-F238E27FC236}">
                <a16:creationId xmlns:a16="http://schemas.microsoft.com/office/drawing/2014/main" id="{DC2FC6D0-831B-DABC-0C59-1DD4BD72AB0F}"/>
              </a:ext>
            </a:extLst>
          </p:cNvPr>
          <p:cNvSpPr txBox="1">
            <a:spLocks/>
          </p:cNvSpPr>
          <p:nvPr userDrawn="1"/>
        </p:nvSpPr>
        <p:spPr>
          <a:xfrm>
            <a:off x="1206203" y="6411603"/>
            <a:ext cx="2157779" cy="228599"/>
          </a:xfrm>
          <a:prstGeom prst="rect">
            <a:avLst/>
          </a:prstGeom>
        </p:spPr>
        <p:txBody>
          <a:bodyPr vert="horz" lIns="0" tIns="0" rIns="0" bIns="0" rtlCol="0" anchor="ctr"/>
          <a:lstStyle>
            <a:defPPr>
              <a:defRPr lang="en-US"/>
            </a:defPPr>
            <a:lvl1pPr marL="0" algn="r" defTabSz="914400" rtl="0" eaLnBrk="1" latinLnBrk="0" hangingPunct="1">
              <a:defRPr sz="600" b="0" i="0" kern="1200">
                <a:solidFill>
                  <a:schemeClr val="tx1"/>
                </a:solidFill>
                <a:latin typeface="+mn-lt"/>
                <a:ea typeface="Calibri" panose="020F0502020204030204" pitchFamily="34" charset="0"/>
                <a:cs typeface="Calibri" panose="020F050202020403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b="0" i="0">
                <a:solidFill>
                  <a:schemeClr val="bg1"/>
                </a:solidFill>
                <a:latin typeface="+mn-lt"/>
              </a:rPr>
              <a:t>EPAM Proprietary &amp; Confidential</a:t>
            </a:r>
            <a:r>
              <a:rPr lang="ru-RU" b="0" i="0">
                <a:solidFill>
                  <a:schemeClr val="bg1"/>
                </a:solidFill>
                <a:latin typeface="+mn-lt"/>
              </a:rPr>
              <a:t> </a:t>
            </a:r>
            <a:endParaRPr lang="en-US" b="0" i="0">
              <a:solidFill>
                <a:schemeClr val="bg1"/>
              </a:solidFill>
              <a:latin typeface="+mn-lt"/>
            </a:endParaRPr>
          </a:p>
        </p:txBody>
      </p:sp>
      <p:pic>
        <p:nvPicPr>
          <p:cNvPr id="3" name="Graphic 2">
            <a:extLst>
              <a:ext uri="{FF2B5EF4-FFF2-40B4-BE49-F238E27FC236}">
                <a16:creationId xmlns:a16="http://schemas.microsoft.com/office/drawing/2014/main" id="{83840F61-8179-4AFE-37AE-E91B1B46DD93}"/>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820266" y="6419060"/>
            <a:ext cx="762921" cy="205636"/>
          </a:xfrm>
          <a:prstGeom prst="rect">
            <a:avLst/>
          </a:prstGeom>
        </p:spPr>
      </p:pic>
    </p:spTree>
    <p:extLst>
      <p:ext uri="{BB962C8B-B14F-4D97-AF65-F5344CB8AC3E}">
        <p14:creationId xmlns:p14="http://schemas.microsoft.com/office/powerpoint/2010/main" val="1236178342"/>
      </p:ext>
    </p:extLst>
  </p:cSld>
  <p:clrMapOvr>
    <a:masterClrMapping/>
  </p:clrMapOvr>
  <p:extLst>
    <p:ext uri="{DCECCB84-F9BA-43D5-87BE-67443E8EF086}">
      <p15:sldGuideLst xmlns:p15="http://schemas.microsoft.com/office/powerpoint/2012/main"/>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itle + Text - Dark_Right_1/3">
    <p:bg>
      <p:bgPr>
        <a:solidFill>
          <a:schemeClr val="tx1"/>
        </a:soli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99B22695-8560-29A7-6983-15688BAD9CFE}"/>
              </a:ext>
            </a:extLst>
          </p:cNvPr>
          <p:cNvSpPr/>
          <p:nvPr userDrawn="1"/>
        </p:nvSpPr>
        <p:spPr bwMode="auto">
          <a:xfrm>
            <a:off x="7856538" y="0"/>
            <a:ext cx="4340322" cy="6858000"/>
          </a:xfrm>
          <a:prstGeom prst="rect">
            <a:avLst/>
          </a:prstGeom>
          <a:solidFill>
            <a:schemeClr val="accent1"/>
          </a:solidFill>
          <a:ln>
            <a:noFill/>
          </a:ln>
          <a:effectLst/>
        </p:spPr>
        <p:txBody>
          <a:bodyPr wrap="none" rtlCol="0" anchor="ctr"/>
          <a:lstStyle/>
          <a:p>
            <a:pPr algn="ctr"/>
            <a:endParaRPr lang="en-US" sz="2400" err="1">
              <a:solidFill>
                <a:schemeClr val="bg1"/>
              </a:solidFill>
              <a:latin typeface="Calibri Light" panose="020F0302020204030204" pitchFamily="34" charset="0"/>
              <a:ea typeface="Human Sans ExtraLight" charset="0"/>
              <a:cs typeface="Human Sans ExtraLight" charset="0"/>
            </a:endParaRPr>
          </a:p>
        </p:txBody>
      </p:sp>
      <p:sp>
        <p:nvSpPr>
          <p:cNvPr id="6" name="Title 1">
            <a:extLst>
              <a:ext uri="{FF2B5EF4-FFF2-40B4-BE49-F238E27FC236}">
                <a16:creationId xmlns:a16="http://schemas.microsoft.com/office/drawing/2014/main" id="{9EE44A30-1227-E561-E85C-0898AB89FF75}"/>
              </a:ext>
            </a:extLst>
          </p:cNvPr>
          <p:cNvSpPr>
            <a:spLocks noGrp="1"/>
          </p:cNvSpPr>
          <p:nvPr>
            <p:ph type="title" hasCustomPrompt="1"/>
          </p:nvPr>
        </p:nvSpPr>
        <p:spPr>
          <a:xfrm>
            <a:off x="633632" y="722843"/>
            <a:ext cx="6522818" cy="338554"/>
          </a:xfrm>
          <a:prstGeom prst="rect">
            <a:avLst/>
          </a:prstGeom>
        </p:spPr>
        <p:txBody>
          <a:bodyPr/>
          <a:lstStyle>
            <a:lvl1pPr>
              <a:defRPr lang="en-US" sz="2200" b="1" i="0" kern="1200" spc="0" dirty="0">
                <a:solidFill>
                  <a:schemeClr val="bg1"/>
                </a:solidFill>
                <a:effectLst/>
                <a:latin typeface="+mj-lt"/>
                <a:ea typeface="Calibri" panose="020F0502020204030204" pitchFamily="34" charset="0"/>
                <a:cs typeface="Calibri" panose="020F0502020204030204" pitchFamily="34" charset="0"/>
              </a:defRPr>
            </a:lvl1pPr>
          </a:lstStyle>
          <a:p>
            <a:pPr marL="0" lvl="0" indent="0" algn="l" defTabSz="914400" rtl="0" eaLnBrk="1" latinLnBrk="0" hangingPunct="1">
              <a:lnSpc>
                <a:spcPct val="100000"/>
              </a:lnSpc>
              <a:spcBef>
                <a:spcPts val="0"/>
              </a:spcBef>
              <a:spcAft>
                <a:spcPts val="0"/>
              </a:spcAft>
              <a:buFont typeface="Arial" panose="020B0604020202020204" pitchFamily="34" charset="0"/>
              <a:buNone/>
            </a:pPr>
            <a:r>
              <a:rPr lang="en-US">
                <a:effectLst/>
              </a:rPr>
              <a:t>Title Goes Here</a:t>
            </a:r>
            <a:endParaRPr lang="en-US"/>
          </a:p>
        </p:txBody>
      </p:sp>
      <p:sp>
        <p:nvSpPr>
          <p:cNvPr id="7" name="Text Placeholder 10">
            <a:extLst>
              <a:ext uri="{FF2B5EF4-FFF2-40B4-BE49-F238E27FC236}">
                <a16:creationId xmlns:a16="http://schemas.microsoft.com/office/drawing/2014/main" id="{23FC0684-9279-4C89-6950-9DAFE8BBEE83}"/>
              </a:ext>
            </a:extLst>
          </p:cNvPr>
          <p:cNvSpPr>
            <a:spLocks noGrp="1"/>
          </p:cNvSpPr>
          <p:nvPr>
            <p:ph type="body" sz="quarter" idx="28" hasCustomPrompt="1"/>
          </p:nvPr>
        </p:nvSpPr>
        <p:spPr>
          <a:xfrm>
            <a:off x="633632" y="419100"/>
            <a:ext cx="3611880" cy="225706"/>
          </a:xfrm>
          <a:prstGeom prst="rect">
            <a:avLst/>
          </a:prstGeom>
        </p:spPr>
        <p:txBody>
          <a:bodyPr/>
          <a:lstStyle>
            <a:lvl1pPr>
              <a:spcBef>
                <a:spcPts val="0"/>
              </a:spcBef>
              <a:defRPr lang="en-US" sz="1000" b="0" i="0" kern="1200" cap="all" spc="300" baseline="0" dirty="0">
                <a:solidFill>
                  <a:schemeClr val="bg1"/>
                </a:solidFill>
                <a:latin typeface="Calibri" panose="020F0502020204030204" pitchFamily="34" charset="0"/>
                <a:ea typeface="Calibri" panose="020F0502020204030204" pitchFamily="34" charset="0"/>
                <a:cs typeface="Calibri" panose="020F0502020204030204" pitchFamily="34" charset="0"/>
              </a:defRPr>
            </a:lvl1pPr>
          </a:lstStyle>
          <a:p>
            <a:pPr marL="0" lvl="0" indent="0" algn="l" defTabSz="914400" rtl="0" eaLnBrk="1" latinLnBrk="0" hangingPunct="1">
              <a:lnSpc>
                <a:spcPct val="100000"/>
              </a:lnSpc>
              <a:spcBef>
                <a:spcPts val="600"/>
              </a:spcBef>
              <a:spcAft>
                <a:spcPts val="0"/>
              </a:spcAft>
              <a:buFont typeface="Arial" panose="020B0604020202020204" pitchFamily="34" charset="0"/>
              <a:buNone/>
            </a:pPr>
            <a:r>
              <a:rPr lang="en-US"/>
              <a:t>Click to add section title</a:t>
            </a:r>
          </a:p>
        </p:txBody>
      </p:sp>
      <p:grpSp>
        <p:nvGrpSpPr>
          <p:cNvPr id="8" name="Group 7">
            <a:extLst>
              <a:ext uri="{FF2B5EF4-FFF2-40B4-BE49-F238E27FC236}">
                <a16:creationId xmlns:a16="http://schemas.microsoft.com/office/drawing/2014/main" id="{549E870F-70FE-63E4-6202-1C7EE173EEF0}"/>
              </a:ext>
            </a:extLst>
          </p:cNvPr>
          <p:cNvGrpSpPr/>
          <p:nvPr userDrawn="1"/>
        </p:nvGrpSpPr>
        <p:grpSpPr>
          <a:xfrm>
            <a:off x="610888" y="6472556"/>
            <a:ext cx="372834" cy="131175"/>
            <a:chOff x="14288" y="2035175"/>
            <a:chExt cx="10039350" cy="3532188"/>
          </a:xfrm>
          <a:solidFill>
            <a:schemeClr val="bg1"/>
          </a:solidFill>
        </p:grpSpPr>
        <p:sp>
          <p:nvSpPr>
            <p:cNvPr id="9" name="Freeform 1">
              <a:extLst>
                <a:ext uri="{FF2B5EF4-FFF2-40B4-BE49-F238E27FC236}">
                  <a16:creationId xmlns:a16="http://schemas.microsoft.com/office/drawing/2014/main" id="{6BA35DD0-CABE-9186-6280-B28DCAB4A690}"/>
                </a:ext>
              </a:extLst>
            </p:cNvPr>
            <p:cNvSpPr>
              <a:spLocks noChangeArrowheads="1"/>
            </p:cNvSpPr>
            <p:nvPr/>
          </p:nvSpPr>
          <p:spPr bwMode="auto">
            <a:xfrm>
              <a:off x="1519238" y="2035175"/>
              <a:ext cx="1336675" cy="2836863"/>
            </a:xfrm>
            <a:custGeom>
              <a:avLst/>
              <a:gdLst>
                <a:gd name="T0" fmla="*/ 390493 w 3714"/>
                <a:gd name="T1" fmla="*/ 1200682 h 7882"/>
                <a:gd name="T2" fmla="*/ 945462 w 3714"/>
                <a:gd name="T3" fmla="*/ 1200682 h 7882"/>
                <a:gd name="T4" fmla="*/ 945462 w 3714"/>
                <a:gd name="T5" fmla="*/ 611498 h 7882"/>
                <a:gd name="T6" fmla="*/ 698929 w 3714"/>
                <a:gd name="T7" fmla="*/ 364596 h 7882"/>
                <a:gd name="T8" fmla="*/ 637386 w 3714"/>
                <a:gd name="T9" fmla="*/ 364596 h 7882"/>
                <a:gd name="T10" fmla="*/ 390493 w 3714"/>
                <a:gd name="T11" fmla="*/ 611498 h 7882"/>
                <a:gd name="T12" fmla="*/ 390493 w 3714"/>
                <a:gd name="T13" fmla="*/ 1200682 h 7882"/>
                <a:gd name="T14" fmla="*/ 389414 w 3714"/>
                <a:gd name="T15" fmla="*/ 1576795 h 7882"/>
                <a:gd name="T16" fmla="*/ 390493 w 3714"/>
                <a:gd name="T17" fmla="*/ 2224645 h 7882"/>
                <a:gd name="T18" fmla="*/ 637386 w 3714"/>
                <a:gd name="T19" fmla="*/ 2471548 h 7882"/>
                <a:gd name="T20" fmla="*/ 709366 w 3714"/>
                <a:gd name="T21" fmla="*/ 2471548 h 7882"/>
                <a:gd name="T22" fmla="*/ 955899 w 3714"/>
                <a:gd name="T23" fmla="*/ 2224645 h 7882"/>
                <a:gd name="T24" fmla="*/ 955899 w 3714"/>
                <a:gd name="T25" fmla="*/ 1906119 h 7882"/>
                <a:gd name="T26" fmla="*/ 1336315 w 3714"/>
                <a:gd name="T27" fmla="*/ 1906119 h 7882"/>
                <a:gd name="T28" fmla="*/ 1336315 w 3714"/>
                <a:gd name="T29" fmla="*/ 2209528 h 7882"/>
                <a:gd name="T30" fmla="*/ 709366 w 3714"/>
                <a:gd name="T31" fmla="*/ 2836503 h 7882"/>
                <a:gd name="T32" fmla="*/ 626949 w 3714"/>
                <a:gd name="T33" fmla="*/ 2836503 h 7882"/>
                <a:gd name="T34" fmla="*/ 0 w 3714"/>
                <a:gd name="T35" fmla="*/ 2258117 h 7882"/>
                <a:gd name="T36" fmla="*/ 0 w 3714"/>
                <a:gd name="T37" fmla="*/ 675564 h 7882"/>
                <a:gd name="T38" fmla="*/ 626949 w 3714"/>
                <a:gd name="T39" fmla="*/ 0 h 7882"/>
                <a:gd name="T40" fmla="*/ 709366 w 3714"/>
                <a:gd name="T41" fmla="*/ 0 h 7882"/>
                <a:gd name="T42" fmla="*/ 1336315 w 3714"/>
                <a:gd name="T43" fmla="*/ 626975 h 7882"/>
                <a:gd name="T44" fmla="*/ 1334875 w 3714"/>
                <a:gd name="T45" fmla="*/ 1576795 h 7882"/>
                <a:gd name="T46" fmla="*/ 389414 w 3714"/>
                <a:gd name="T47" fmla="*/ 1576795 h 7882"/>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3714" h="7882">
                  <a:moveTo>
                    <a:pt x="1085" y="3336"/>
                  </a:moveTo>
                  <a:lnTo>
                    <a:pt x="2627" y="3336"/>
                  </a:lnTo>
                  <a:lnTo>
                    <a:pt x="2627" y="1699"/>
                  </a:lnTo>
                  <a:cubicBezTo>
                    <a:pt x="2627" y="1242"/>
                    <a:pt x="2399" y="1013"/>
                    <a:pt x="1942" y="1013"/>
                  </a:cubicBezTo>
                  <a:lnTo>
                    <a:pt x="1771" y="1013"/>
                  </a:lnTo>
                  <a:cubicBezTo>
                    <a:pt x="1314" y="1013"/>
                    <a:pt x="1085" y="1242"/>
                    <a:pt x="1085" y="1699"/>
                  </a:cubicBezTo>
                  <a:lnTo>
                    <a:pt x="1085" y="3336"/>
                  </a:lnTo>
                  <a:close/>
                  <a:moveTo>
                    <a:pt x="1082" y="4381"/>
                  </a:moveTo>
                  <a:lnTo>
                    <a:pt x="1085" y="6181"/>
                  </a:lnTo>
                  <a:cubicBezTo>
                    <a:pt x="1085" y="6638"/>
                    <a:pt x="1314" y="6867"/>
                    <a:pt x="1771" y="6867"/>
                  </a:cubicBezTo>
                  <a:lnTo>
                    <a:pt x="1971" y="6867"/>
                  </a:lnTo>
                  <a:cubicBezTo>
                    <a:pt x="2428" y="6867"/>
                    <a:pt x="2656" y="6638"/>
                    <a:pt x="2656" y="6181"/>
                  </a:cubicBezTo>
                  <a:lnTo>
                    <a:pt x="2656" y="5296"/>
                  </a:lnTo>
                  <a:lnTo>
                    <a:pt x="3713" y="5296"/>
                  </a:lnTo>
                  <a:lnTo>
                    <a:pt x="3713" y="6139"/>
                  </a:lnTo>
                  <a:cubicBezTo>
                    <a:pt x="3713" y="7295"/>
                    <a:pt x="3127" y="7881"/>
                    <a:pt x="1971" y="7881"/>
                  </a:cubicBezTo>
                  <a:lnTo>
                    <a:pt x="1742" y="7881"/>
                  </a:lnTo>
                  <a:cubicBezTo>
                    <a:pt x="585" y="7881"/>
                    <a:pt x="0" y="7295"/>
                    <a:pt x="0" y="6274"/>
                  </a:cubicBezTo>
                  <a:lnTo>
                    <a:pt x="0" y="1877"/>
                  </a:lnTo>
                  <a:cubicBezTo>
                    <a:pt x="0" y="585"/>
                    <a:pt x="585" y="0"/>
                    <a:pt x="1742" y="0"/>
                  </a:cubicBezTo>
                  <a:lnTo>
                    <a:pt x="1971" y="0"/>
                  </a:lnTo>
                  <a:cubicBezTo>
                    <a:pt x="3127" y="0"/>
                    <a:pt x="3713" y="585"/>
                    <a:pt x="3713" y="1742"/>
                  </a:cubicBezTo>
                  <a:lnTo>
                    <a:pt x="3709" y="4381"/>
                  </a:lnTo>
                  <a:lnTo>
                    <a:pt x="1082" y="4381"/>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endParaRPr lang="en-US"/>
            </a:p>
          </p:txBody>
        </p:sp>
        <p:sp>
          <p:nvSpPr>
            <p:cNvPr id="10" name="Freeform 2">
              <a:extLst>
                <a:ext uri="{FF2B5EF4-FFF2-40B4-BE49-F238E27FC236}">
                  <a16:creationId xmlns:a16="http://schemas.microsoft.com/office/drawing/2014/main" id="{B8695064-42CE-5ACC-AD51-D46E3E5884F4}"/>
                </a:ext>
              </a:extLst>
            </p:cNvPr>
            <p:cNvSpPr>
              <a:spLocks noChangeArrowheads="1"/>
            </p:cNvSpPr>
            <p:nvPr/>
          </p:nvSpPr>
          <p:spPr bwMode="auto">
            <a:xfrm>
              <a:off x="3109913" y="2035175"/>
              <a:ext cx="1368425" cy="3532188"/>
            </a:xfrm>
            <a:custGeom>
              <a:avLst/>
              <a:gdLst>
                <a:gd name="T0" fmla="*/ 390721 w 3800"/>
                <a:gd name="T1" fmla="*/ 2322993 h 9812"/>
                <a:gd name="T2" fmla="*/ 750833 w 3800"/>
                <a:gd name="T3" fmla="*/ 2466628 h 9812"/>
                <a:gd name="T4" fmla="*/ 976983 w 3800"/>
                <a:gd name="T5" fmla="*/ 2240556 h 9812"/>
                <a:gd name="T6" fmla="*/ 976983 w 3800"/>
                <a:gd name="T7" fmla="*/ 596138 h 9812"/>
                <a:gd name="T8" fmla="*/ 750833 w 3800"/>
                <a:gd name="T9" fmla="*/ 370066 h 9812"/>
                <a:gd name="T10" fmla="*/ 390721 w 3800"/>
                <a:gd name="T11" fmla="*/ 514061 h 9812"/>
                <a:gd name="T12" fmla="*/ 390721 w 3800"/>
                <a:gd name="T13" fmla="*/ 2322993 h 9812"/>
                <a:gd name="T14" fmla="*/ 0 w 3800"/>
                <a:gd name="T15" fmla="*/ 30599 h 9812"/>
                <a:gd name="T16" fmla="*/ 390721 w 3800"/>
                <a:gd name="T17" fmla="*/ 30599 h 9812"/>
                <a:gd name="T18" fmla="*/ 390721 w 3800"/>
                <a:gd name="T19" fmla="*/ 210592 h 9812"/>
                <a:gd name="T20" fmla="*/ 868950 w 3800"/>
                <a:gd name="T21" fmla="*/ 0 h 9812"/>
                <a:gd name="T22" fmla="*/ 1368065 w 3800"/>
                <a:gd name="T23" fmla="*/ 549699 h 9812"/>
                <a:gd name="T24" fmla="*/ 1368065 w 3800"/>
                <a:gd name="T25" fmla="*/ 2286995 h 9812"/>
                <a:gd name="T26" fmla="*/ 868950 w 3800"/>
                <a:gd name="T27" fmla="*/ 2837054 h 9812"/>
                <a:gd name="T28" fmla="*/ 390721 w 3800"/>
                <a:gd name="T29" fmla="*/ 2636541 h 9812"/>
                <a:gd name="T30" fmla="*/ 390721 w 3800"/>
                <a:gd name="T31" fmla="*/ 3531828 h 9812"/>
                <a:gd name="T32" fmla="*/ 0 w 3800"/>
                <a:gd name="T33" fmla="*/ 3531828 h 9812"/>
                <a:gd name="T34" fmla="*/ 0 w 3800"/>
                <a:gd name="T35" fmla="*/ 30599 h 9812"/>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3800" h="9812">
                  <a:moveTo>
                    <a:pt x="1085" y="6453"/>
                  </a:moveTo>
                  <a:cubicBezTo>
                    <a:pt x="1385" y="6710"/>
                    <a:pt x="1728" y="6852"/>
                    <a:pt x="2085" y="6852"/>
                  </a:cubicBezTo>
                  <a:cubicBezTo>
                    <a:pt x="2485" y="6852"/>
                    <a:pt x="2713" y="6667"/>
                    <a:pt x="2713" y="6224"/>
                  </a:cubicBezTo>
                  <a:lnTo>
                    <a:pt x="2713" y="1656"/>
                  </a:lnTo>
                  <a:cubicBezTo>
                    <a:pt x="2713" y="1213"/>
                    <a:pt x="2485" y="1028"/>
                    <a:pt x="2085" y="1028"/>
                  </a:cubicBezTo>
                  <a:cubicBezTo>
                    <a:pt x="1728" y="1028"/>
                    <a:pt x="1385" y="1170"/>
                    <a:pt x="1085" y="1428"/>
                  </a:cubicBezTo>
                  <a:lnTo>
                    <a:pt x="1085" y="6453"/>
                  </a:lnTo>
                  <a:close/>
                  <a:moveTo>
                    <a:pt x="0" y="85"/>
                  </a:moveTo>
                  <a:lnTo>
                    <a:pt x="1085" y="85"/>
                  </a:lnTo>
                  <a:lnTo>
                    <a:pt x="1085" y="585"/>
                  </a:lnTo>
                  <a:cubicBezTo>
                    <a:pt x="1342" y="314"/>
                    <a:pt x="1785" y="0"/>
                    <a:pt x="2413" y="0"/>
                  </a:cubicBezTo>
                  <a:cubicBezTo>
                    <a:pt x="3342" y="0"/>
                    <a:pt x="3799" y="614"/>
                    <a:pt x="3799" y="1527"/>
                  </a:cubicBezTo>
                  <a:lnTo>
                    <a:pt x="3799" y="6353"/>
                  </a:lnTo>
                  <a:cubicBezTo>
                    <a:pt x="3799" y="7267"/>
                    <a:pt x="3342" y="7881"/>
                    <a:pt x="2413" y="7881"/>
                  </a:cubicBezTo>
                  <a:cubicBezTo>
                    <a:pt x="1785" y="7881"/>
                    <a:pt x="1342" y="7581"/>
                    <a:pt x="1085" y="7324"/>
                  </a:cubicBezTo>
                  <a:lnTo>
                    <a:pt x="1085" y="9811"/>
                  </a:lnTo>
                  <a:lnTo>
                    <a:pt x="0" y="9811"/>
                  </a:lnTo>
                  <a:lnTo>
                    <a:pt x="0" y="85"/>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endParaRPr lang="en-US"/>
            </a:p>
          </p:txBody>
        </p:sp>
        <p:sp>
          <p:nvSpPr>
            <p:cNvPr id="11" name="Freeform 3">
              <a:extLst>
                <a:ext uri="{FF2B5EF4-FFF2-40B4-BE49-F238E27FC236}">
                  <a16:creationId xmlns:a16="http://schemas.microsoft.com/office/drawing/2014/main" id="{48BB0FA1-02DA-9164-9F5B-39C39CB77820}"/>
                </a:ext>
              </a:extLst>
            </p:cNvPr>
            <p:cNvSpPr>
              <a:spLocks noChangeArrowheads="1"/>
            </p:cNvSpPr>
            <p:nvPr/>
          </p:nvSpPr>
          <p:spPr bwMode="auto">
            <a:xfrm>
              <a:off x="4711700" y="2035175"/>
              <a:ext cx="1328738" cy="2836863"/>
            </a:xfrm>
            <a:custGeom>
              <a:avLst/>
              <a:gdLst>
                <a:gd name="T0" fmla="*/ 937679 w 3690"/>
                <a:gd name="T1" fmla="*/ 2338019 h 7882"/>
                <a:gd name="T2" fmla="*/ 937679 w 3690"/>
                <a:gd name="T3" fmla="*/ 1422750 h 7882"/>
                <a:gd name="T4" fmla="*/ 582988 w 3690"/>
                <a:gd name="T5" fmla="*/ 1556999 h 7882"/>
                <a:gd name="T6" fmla="*/ 392500 w 3690"/>
                <a:gd name="T7" fmla="*/ 1844573 h 7882"/>
                <a:gd name="T8" fmla="*/ 392500 w 3690"/>
                <a:gd name="T9" fmla="*/ 2266035 h 7882"/>
                <a:gd name="T10" fmla="*/ 582988 w 3690"/>
                <a:gd name="T11" fmla="*/ 2466149 h 7882"/>
                <a:gd name="T12" fmla="*/ 937679 w 3690"/>
                <a:gd name="T13" fmla="*/ 2338019 h 7882"/>
                <a:gd name="T14" fmla="*/ 2161 w 3690"/>
                <a:gd name="T15" fmla="*/ 1839174 h 7882"/>
                <a:gd name="T16" fmla="*/ 413025 w 3690"/>
                <a:gd name="T17" fmla="*/ 1253950 h 7882"/>
                <a:gd name="T18" fmla="*/ 937679 w 3690"/>
                <a:gd name="T19" fmla="*/ 1073991 h 7882"/>
                <a:gd name="T20" fmla="*/ 937679 w 3690"/>
                <a:gd name="T21" fmla="*/ 611498 h 7882"/>
                <a:gd name="T22" fmla="*/ 690656 w 3690"/>
                <a:gd name="T23" fmla="*/ 359557 h 7882"/>
                <a:gd name="T24" fmla="*/ 627280 w 3690"/>
                <a:gd name="T25" fmla="*/ 359557 h 7882"/>
                <a:gd name="T26" fmla="*/ 380257 w 3690"/>
                <a:gd name="T27" fmla="*/ 611498 h 7882"/>
                <a:gd name="T28" fmla="*/ 380257 w 3690"/>
                <a:gd name="T29" fmla="*/ 1004527 h 7882"/>
                <a:gd name="T30" fmla="*/ 0 w 3690"/>
                <a:gd name="T31" fmla="*/ 1004527 h 7882"/>
                <a:gd name="T32" fmla="*/ 0 w 3690"/>
                <a:gd name="T33" fmla="*/ 626975 h 7882"/>
                <a:gd name="T34" fmla="*/ 627280 w 3690"/>
                <a:gd name="T35" fmla="*/ 0 h 7882"/>
                <a:gd name="T36" fmla="*/ 701098 w 3690"/>
                <a:gd name="T37" fmla="*/ 0 h 7882"/>
                <a:gd name="T38" fmla="*/ 1328378 w 3690"/>
                <a:gd name="T39" fmla="*/ 626975 h 7882"/>
                <a:gd name="T40" fmla="*/ 1328378 w 3690"/>
                <a:gd name="T41" fmla="*/ 2805550 h 7882"/>
                <a:gd name="T42" fmla="*/ 937679 w 3690"/>
                <a:gd name="T43" fmla="*/ 2805550 h 7882"/>
                <a:gd name="T44" fmla="*/ 937679 w 3690"/>
                <a:gd name="T45" fmla="*/ 2630631 h 7882"/>
                <a:gd name="T46" fmla="*/ 459477 w 3690"/>
                <a:gd name="T47" fmla="*/ 2836503 h 7882"/>
                <a:gd name="T48" fmla="*/ 2161 w 3690"/>
                <a:gd name="T49" fmla="*/ 2348096 h 7882"/>
                <a:gd name="T50" fmla="*/ 2161 w 3690"/>
                <a:gd name="T51" fmla="*/ 1839174 h 7882"/>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3690" h="7882">
                  <a:moveTo>
                    <a:pt x="2604" y="6496"/>
                  </a:moveTo>
                  <a:lnTo>
                    <a:pt x="2604" y="3953"/>
                  </a:lnTo>
                  <a:lnTo>
                    <a:pt x="1619" y="4326"/>
                  </a:lnTo>
                  <a:cubicBezTo>
                    <a:pt x="1219" y="4483"/>
                    <a:pt x="1090" y="4683"/>
                    <a:pt x="1090" y="5125"/>
                  </a:cubicBezTo>
                  <a:lnTo>
                    <a:pt x="1090" y="6296"/>
                  </a:lnTo>
                  <a:cubicBezTo>
                    <a:pt x="1090" y="6667"/>
                    <a:pt x="1276" y="6852"/>
                    <a:pt x="1619" y="6852"/>
                  </a:cubicBezTo>
                  <a:cubicBezTo>
                    <a:pt x="1947" y="6852"/>
                    <a:pt x="2247" y="6738"/>
                    <a:pt x="2604" y="6496"/>
                  </a:cubicBezTo>
                  <a:close/>
                  <a:moveTo>
                    <a:pt x="6" y="5110"/>
                  </a:moveTo>
                  <a:cubicBezTo>
                    <a:pt x="6" y="4155"/>
                    <a:pt x="320" y="3769"/>
                    <a:pt x="1147" y="3484"/>
                  </a:cubicBezTo>
                  <a:lnTo>
                    <a:pt x="2604" y="2984"/>
                  </a:lnTo>
                  <a:lnTo>
                    <a:pt x="2604" y="1699"/>
                  </a:lnTo>
                  <a:cubicBezTo>
                    <a:pt x="2604" y="1242"/>
                    <a:pt x="2375" y="999"/>
                    <a:pt x="1918" y="999"/>
                  </a:cubicBezTo>
                  <a:lnTo>
                    <a:pt x="1742" y="999"/>
                  </a:lnTo>
                  <a:cubicBezTo>
                    <a:pt x="1285" y="999"/>
                    <a:pt x="1056" y="1242"/>
                    <a:pt x="1056" y="1699"/>
                  </a:cubicBezTo>
                  <a:lnTo>
                    <a:pt x="1056" y="2791"/>
                  </a:lnTo>
                  <a:lnTo>
                    <a:pt x="0" y="2791"/>
                  </a:lnTo>
                  <a:lnTo>
                    <a:pt x="0" y="1742"/>
                  </a:lnTo>
                  <a:cubicBezTo>
                    <a:pt x="0" y="585"/>
                    <a:pt x="586" y="0"/>
                    <a:pt x="1742" y="0"/>
                  </a:cubicBezTo>
                  <a:lnTo>
                    <a:pt x="1947" y="0"/>
                  </a:lnTo>
                  <a:cubicBezTo>
                    <a:pt x="3104" y="0"/>
                    <a:pt x="3689" y="585"/>
                    <a:pt x="3689" y="1742"/>
                  </a:cubicBezTo>
                  <a:lnTo>
                    <a:pt x="3689" y="7795"/>
                  </a:lnTo>
                  <a:lnTo>
                    <a:pt x="2604" y="7795"/>
                  </a:lnTo>
                  <a:lnTo>
                    <a:pt x="2604" y="7309"/>
                  </a:lnTo>
                  <a:cubicBezTo>
                    <a:pt x="2304" y="7595"/>
                    <a:pt x="1904" y="7881"/>
                    <a:pt x="1276" y="7881"/>
                  </a:cubicBezTo>
                  <a:cubicBezTo>
                    <a:pt x="406" y="7881"/>
                    <a:pt x="6" y="7381"/>
                    <a:pt x="6" y="6524"/>
                  </a:cubicBezTo>
                  <a:lnTo>
                    <a:pt x="6" y="5110"/>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endParaRPr lang="en-US"/>
            </a:p>
          </p:txBody>
        </p:sp>
        <p:sp>
          <p:nvSpPr>
            <p:cNvPr id="12" name="Freeform 4">
              <a:extLst>
                <a:ext uri="{FF2B5EF4-FFF2-40B4-BE49-F238E27FC236}">
                  <a16:creationId xmlns:a16="http://schemas.microsoft.com/office/drawing/2014/main" id="{3A3D4BE0-351B-3D33-9B08-5CA3911F28A2}"/>
                </a:ext>
              </a:extLst>
            </p:cNvPr>
            <p:cNvSpPr>
              <a:spLocks noChangeArrowheads="1"/>
            </p:cNvSpPr>
            <p:nvPr/>
          </p:nvSpPr>
          <p:spPr bwMode="auto">
            <a:xfrm>
              <a:off x="6292850" y="2035175"/>
              <a:ext cx="2262188" cy="2806700"/>
            </a:xfrm>
            <a:custGeom>
              <a:avLst/>
              <a:gdLst>
                <a:gd name="T0" fmla="*/ 1326358 w 6285"/>
                <a:gd name="T1" fmla="*/ 2806340 h 7796"/>
                <a:gd name="T2" fmla="*/ 935470 w 6285"/>
                <a:gd name="T3" fmla="*/ 2806340 h 7796"/>
                <a:gd name="T4" fmla="*/ 935470 w 6285"/>
                <a:gd name="T5" fmla="*/ 570628 h 7796"/>
                <a:gd name="T6" fmla="*/ 750463 w 6285"/>
                <a:gd name="T7" fmla="*/ 370098 h 7796"/>
                <a:gd name="T8" fmla="*/ 390889 w 6285"/>
                <a:gd name="T9" fmla="*/ 508705 h 7796"/>
                <a:gd name="T10" fmla="*/ 390889 w 6285"/>
                <a:gd name="T11" fmla="*/ 2806340 h 7796"/>
                <a:gd name="T12" fmla="*/ 0 w 6285"/>
                <a:gd name="T13" fmla="*/ 2806340 h 7796"/>
                <a:gd name="T14" fmla="*/ 0 w 6285"/>
                <a:gd name="T15" fmla="*/ 30602 h 7796"/>
                <a:gd name="T16" fmla="*/ 390889 w 6285"/>
                <a:gd name="T17" fmla="*/ 30602 h 7796"/>
                <a:gd name="T18" fmla="*/ 390889 w 6285"/>
                <a:gd name="T19" fmla="*/ 210611 h 7796"/>
                <a:gd name="T20" fmla="*/ 868882 w 6285"/>
                <a:gd name="T21" fmla="*/ 0 h 7796"/>
                <a:gd name="T22" fmla="*/ 1274888 w 6285"/>
                <a:gd name="T23" fmla="*/ 226091 h 7796"/>
                <a:gd name="T24" fmla="*/ 1804351 w 6285"/>
                <a:gd name="T25" fmla="*/ 0 h 7796"/>
                <a:gd name="T26" fmla="*/ 2261828 w 6285"/>
                <a:gd name="T27" fmla="*/ 488184 h 7796"/>
                <a:gd name="T28" fmla="*/ 2261828 w 6285"/>
                <a:gd name="T29" fmla="*/ 2806340 h 7796"/>
                <a:gd name="T30" fmla="*/ 1870939 w 6285"/>
                <a:gd name="T31" fmla="*/ 2806340 h 7796"/>
                <a:gd name="T32" fmla="*/ 1870939 w 6285"/>
                <a:gd name="T33" fmla="*/ 570628 h 7796"/>
                <a:gd name="T34" fmla="*/ 1685933 w 6285"/>
                <a:gd name="T35" fmla="*/ 370098 h 7796"/>
                <a:gd name="T36" fmla="*/ 1326358 w 6285"/>
                <a:gd name="T37" fmla="*/ 508705 h 7796"/>
                <a:gd name="T38" fmla="*/ 1326358 w 6285"/>
                <a:gd name="T39" fmla="*/ 2806340 h 779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6285" h="7796">
                  <a:moveTo>
                    <a:pt x="3685" y="7795"/>
                  </a:moveTo>
                  <a:lnTo>
                    <a:pt x="2599" y="7795"/>
                  </a:lnTo>
                  <a:lnTo>
                    <a:pt x="2599" y="1585"/>
                  </a:lnTo>
                  <a:cubicBezTo>
                    <a:pt x="2599" y="1199"/>
                    <a:pt x="2414" y="1028"/>
                    <a:pt x="2085" y="1028"/>
                  </a:cubicBezTo>
                  <a:cubicBezTo>
                    <a:pt x="1785" y="1028"/>
                    <a:pt x="1471" y="1142"/>
                    <a:pt x="1086" y="1413"/>
                  </a:cubicBezTo>
                  <a:lnTo>
                    <a:pt x="1086" y="7795"/>
                  </a:lnTo>
                  <a:lnTo>
                    <a:pt x="0" y="7795"/>
                  </a:lnTo>
                  <a:lnTo>
                    <a:pt x="0" y="85"/>
                  </a:lnTo>
                  <a:lnTo>
                    <a:pt x="1086" y="85"/>
                  </a:lnTo>
                  <a:lnTo>
                    <a:pt x="1086" y="585"/>
                  </a:lnTo>
                  <a:cubicBezTo>
                    <a:pt x="1400" y="285"/>
                    <a:pt x="1814" y="0"/>
                    <a:pt x="2414" y="0"/>
                  </a:cubicBezTo>
                  <a:cubicBezTo>
                    <a:pt x="2971" y="0"/>
                    <a:pt x="3342" y="228"/>
                    <a:pt x="3542" y="628"/>
                  </a:cubicBezTo>
                  <a:cubicBezTo>
                    <a:pt x="3928" y="299"/>
                    <a:pt x="4385" y="0"/>
                    <a:pt x="5013" y="0"/>
                  </a:cubicBezTo>
                  <a:cubicBezTo>
                    <a:pt x="5855" y="0"/>
                    <a:pt x="6284" y="514"/>
                    <a:pt x="6284" y="1356"/>
                  </a:cubicBezTo>
                  <a:lnTo>
                    <a:pt x="6284" y="7795"/>
                  </a:lnTo>
                  <a:lnTo>
                    <a:pt x="5198" y="7795"/>
                  </a:lnTo>
                  <a:lnTo>
                    <a:pt x="5198" y="1585"/>
                  </a:lnTo>
                  <a:cubicBezTo>
                    <a:pt x="5198" y="1199"/>
                    <a:pt x="5013" y="1028"/>
                    <a:pt x="4684" y="1028"/>
                  </a:cubicBezTo>
                  <a:cubicBezTo>
                    <a:pt x="4385" y="1028"/>
                    <a:pt x="4070" y="1142"/>
                    <a:pt x="3685" y="1413"/>
                  </a:cubicBezTo>
                  <a:lnTo>
                    <a:pt x="3685" y="7795"/>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endParaRPr lang="en-US"/>
            </a:p>
          </p:txBody>
        </p:sp>
        <p:sp>
          <p:nvSpPr>
            <p:cNvPr id="13" name="Freeform 5">
              <a:extLst>
                <a:ext uri="{FF2B5EF4-FFF2-40B4-BE49-F238E27FC236}">
                  <a16:creationId xmlns:a16="http://schemas.microsoft.com/office/drawing/2014/main" id="{A2F2B53C-11A4-9D11-BBDE-12181DFDEA68}"/>
                </a:ext>
              </a:extLst>
            </p:cNvPr>
            <p:cNvSpPr>
              <a:spLocks noChangeArrowheads="1"/>
            </p:cNvSpPr>
            <p:nvPr/>
          </p:nvSpPr>
          <p:spPr bwMode="auto">
            <a:xfrm>
              <a:off x="14288" y="2322513"/>
              <a:ext cx="1004887" cy="2274887"/>
            </a:xfrm>
            <a:custGeom>
              <a:avLst/>
              <a:gdLst>
                <a:gd name="T0" fmla="*/ 1004527 w 2790"/>
                <a:gd name="T1" fmla="*/ 0 h 6317"/>
                <a:gd name="T2" fmla="*/ 1004527 w 2790"/>
                <a:gd name="T3" fmla="*/ 510652 h 6317"/>
                <a:gd name="T4" fmla="*/ 346488 w 2790"/>
                <a:gd name="T5" fmla="*/ 1137624 h 6317"/>
                <a:gd name="T6" fmla="*/ 1004527 w 2790"/>
                <a:gd name="T7" fmla="*/ 1752711 h 6317"/>
                <a:gd name="T8" fmla="*/ 1004527 w 2790"/>
                <a:gd name="T9" fmla="*/ 2274527 h 6317"/>
                <a:gd name="T10" fmla="*/ 0 w 2790"/>
                <a:gd name="T11" fmla="*/ 1331009 h 6317"/>
                <a:gd name="T12" fmla="*/ 0 w 2790"/>
                <a:gd name="T13" fmla="*/ 955042 h 6317"/>
                <a:gd name="T14" fmla="*/ 1004527 w 2790"/>
                <a:gd name="T15" fmla="*/ 0 h 6317"/>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2790" h="6317">
                  <a:moveTo>
                    <a:pt x="2789" y="0"/>
                  </a:moveTo>
                  <a:lnTo>
                    <a:pt x="2789" y="1418"/>
                  </a:lnTo>
                  <a:lnTo>
                    <a:pt x="962" y="3159"/>
                  </a:lnTo>
                  <a:lnTo>
                    <a:pt x="2789" y="4867"/>
                  </a:lnTo>
                  <a:lnTo>
                    <a:pt x="2789" y="6316"/>
                  </a:lnTo>
                  <a:lnTo>
                    <a:pt x="0" y="3696"/>
                  </a:lnTo>
                  <a:lnTo>
                    <a:pt x="0" y="2652"/>
                  </a:lnTo>
                  <a:lnTo>
                    <a:pt x="2789"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endParaRPr lang="en-US"/>
            </a:p>
          </p:txBody>
        </p:sp>
        <p:sp>
          <p:nvSpPr>
            <p:cNvPr id="15" name="Freeform 6">
              <a:extLst>
                <a:ext uri="{FF2B5EF4-FFF2-40B4-BE49-F238E27FC236}">
                  <a16:creationId xmlns:a16="http://schemas.microsoft.com/office/drawing/2014/main" id="{5BFDC304-75D7-C9C2-B197-328CE0E908AD}"/>
                </a:ext>
              </a:extLst>
            </p:cNvPr>
            <p:cNvSpPr>
              <a:spLocks noChangeArrowheads="1"/>
            </p:cNvSpPr>
            <p:nvPr/>
          </p:nvSpPr>
          <p:spPr bwMode="auto">
            <a:xfrm>
              <a:off x="9050338" y="2322513"/>
              <a:ext cx="1003300" cy="2274887"/>
            </a:xfrm>
            <a:custGeom>
              <a:avLst/>
              <a:gdLst>
                <a:gd name="T0" fmla="*/ 1002940 w 2789"/>
                <a:gd name="T1" fmla="*/ 955042 h 6317"/>
                <a:gd name="T2" fmla="*/ 1002940 w 2789"/>
                <a:gd name="T3" fmla="*/ 1331009 h 6317"/>
                <a:gd name="T4" fmla="*/ 0 w 2789"/>
                <a:gd name="T5" fmla="*/ 2274527 h 6317"/>
                <a:gd name="T6" fmla="*/ 0 w 2789"/>
                <a:gd name="T7" fmla="*/ 1752711 h 6317"/>
                <a:gd name="T8" fmla="*/ 656876 w 2789"/>
                <a:gd name="T9" fmla="*/ 1137624 h 6317"/>
                <a:gd name="T10" fmla="*/ 0 w 2789"/>
                <a:gd name="T11" fmla="*/ 510652 h 6317"/>
                <a:gd name="T12" fmla="*/ 0 w 2789"/>
                <a:gd name="T13" fmla="*/ 0 h 6317"/>
                <a:gd name="T14" fmla="*/ 1002940 w 2789"/>
                <a:gd name="T15" fmla="*/ 955042 h 6317"/>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2789" h="6317">
                  <a:moveTo>
                    <a:pt x="2788" y="2652"/>
                  </a:moveTo>
                  <a:lnTo>
                    <a:pt x="2788" y="3696"/>
                  </a:lnTo>
                  <a:lnTo>
                    <a:pt x="0" y="6316"/>
                  </a:lnTo>
                  <a:lnTo>
                    <a:pt x="0" y="4867"/>
                  </a:lnTo>
                  <a:lnTo>
                    <a:pt x="1826" y="3159"/>
                  </a:lnTo>
                  <a:lnTo>
                    <a:pt x="0" y="1418"/>
                  </a:lnTo>
                  <a:lnTo>
                    <a:pt x="0" y="0"/>
                  </a:lnTo>
                  <a:lnTo>
                    <a:pt x="2788" y="2652"/>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endParaRPr lang="en-US"/>
            </a:p>
          </p:txBody>
        </p:sp>
      </p:grpSp>
      <p:sp>
        <p:nvSpPr>
          <p:cNvPr id="17" name="Footer Placeholder 14">
            <a:extLst>
              <a:ext uri="{FF2B5EF4-FFF2-40B4-BE49-F238E27FC236}">
                <a16:creationId xmlns:a16="http://schemas.microsoft.com/office/drawing/2014/main" id="{2EDDDEB7-A6B6-68BA-F09E-290E357BBA66}"/>
              </a:ext>
            </a:extLst>
          </p:cNvPr>
          <p:cNvSpPr txBox="1">
            <a:spLocks/>
          </p:cNvSpPr>
          <p:nvPr userDrawn="1"/>
        </p:nvSpPr>
        <p:spPr>
          <a:xfrm>
            <a:off x="1206203" y="6411603"/>
            <a:ext cx="2157779" cy="228599"/>
          </a:xfrm>
          <a:prstGeom prst="rect">
            <a:avLst/>
          </a:prstGeom>
        </p:spPr>
        <p:txBody>
          <a:bodyPr vert="horz" lIns="0" tIns="0" rIns="0" bIns="0" rtlCol="0" anchor="ctr"/>
          <a:lstStyle>
            <a:defPPr>
              <a:defRPr lang="en-US"/>
            </a:defPPr>
            <a:lvl1pPr marL="0" algn="r" defTabSz="914400" rtl="0" eaLnBrk="1" latinLnBrk="0" hangingPunct="1">
              <a:defRPr sz="600" b="0" i="0" kern="1200">
                <a:solidFill>
                  <a:schemeClr val="tx1"/>
                </a:solidFill>
                <a:latin typeface="+mn-lt"/>
                <a:ea typeface="Calibri" panose="020F0502020204030204" pitchFamily="34" charset="0"/>
                <a:cs typeface="Calibri" panose="020F050202020403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b="0" i="0">
                <a:solidFill>
                  <a:schemeClr val="bg1"/>
                </a:solidFill>
                <a:latin typeface="+mn-lt"/>
              </a:rPr>
              <a:t>EPAM Proprietary &amp; Confidential</a:t>
            </a:r>
            <a:r>
              <a:rPr lang="ru-RU" b="0" i="0">
                <a:solidFill>
                  <a:schemeClr val="bg1"/>
                </a:solidFill>
                <a:latin typeface="+mn-lt"/>
              </a:rPr>
              <a:t> </a:t>
            </a:r>
            <a:endParaRPr lang="en-US" b="0" i="0">
              <a:solidFill>
                <a:schemeClr val="bg1"/>
              </a:solidFill>
              <a:latin typeface="+mn-lt"/>
            </a:endParaRPr>
          </a:p>
        </p:txBody>
      </p:sp>
      <p:pic>
        <p:nvPicPr>
          <p:cNvPr id="2" name="Graphic 1">
            <a:extLst>
              <a:ext uri="{FF2B5EF4-FFF2-40B4-BE49-F238E27FC236}">
                <a16:creationId xmlns:a16="http://schemas.microsoft.com/office/drawing/2014/main" id="{8F37AA4A-0368-EC75-4662-A138EC6FF77D}"/>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820266" y="6419060"/>
            <a:ext cx="762921" cy="205636"/>
          </a:xfrm>
          <a:prstGeom prst="rect">
            <a:avLst/>
          </a:prstGeom>
        </p:spPr>
      </p:pic>
    </p:spTree>
    <p:extLst>
      <p:ext uri="{BB962C8B-B14F-4D97-AF65-F5344CB8AC3E}">
        <p14:creationId xmlns:p14="http://schemas.microsoft.com/office/powerpoint/2010/main" val="296307744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Agenda">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2CC2842-970F-4D83-A7C9-C111F3E9E8F4}"/>
              </a:ext>
            </a:extLst>
          </p:cNvPr>
          <p:cNvSpPr>
            <a:spLocks noGrp="1"/>
          </p:cNvSpPr>
          <p:nvPr>
            <p:ph type="title" hasCustomPrompt="1"/>
          </p:nvPr>
        </p:nvSpPr>
        <p:spPr>
          <a:xfrm>
            <a:off x="639074" y="1353882"/>
            <a:ext cx="3475727" cy="923330"/>
          </a:xfrm>
          <a:prstGeom prst="rect">
            <a:avLst/>
          </a:prstGeom>
        </p:spPr>
        <p:txBody>
          <a:bodyPr wrap="square" lIns="0" tIns="0" rIns="0" bIns="0">
            <a:spAutoFit/>
          </a:bodyPr>
          <a:lstStyle>
            <a:lvl1pPr>
              <a:defRPr lang="en-US" sz="6000" b="0">
                <a:solidFill>
                  <a:schemeClr val="accent6"/>
                </a:solidFill>
                <a:latin typeface="Calibri" panose="020F0502020204030204" pitchFamily="34" charset="0"/>
              </a:defRPr>
            </a:lvl1pPr>
          </a:lstStyle>
          <a:p>
            <a:pPr lvl="0"/>
            <a:r>
              <a:rPr lang="en-US"/>
              <a:t>Agenda</a:t>
            </a:r>
          </a:p>
        </p:txBody>
      </p:sp>
      <p:cxnSp>
        <p:nvCxnSpPr>
          <p:cNvPr id="29" name="Straight Connector 28">
            <a:extLst>
              <a:ext uri="{FF2B5EF4-FFF2-40B4-BE49-F238E27FC236}">
                <a16:creationId xmlns:a16="http://schemas.microsoft.com/office/drawing/2014/main" id="{49F9CE8E-C61D-47C9-7C92-80C8B9BE9261}"/>
              </a:ext>
            </a:extLst>
          </p:cNvPr>
          <p:cNvCxnSpPr>
            <a:cxnSpLocks/>
          </p:cNvCxnSpPr>
          <p:nvPr userDrawn="1"/>
        </p:nvCxnSpPr>
        <p:spPr>
          <a:xfrm>
            <a:off x="4597093" y="4127679"/>
            <a:ext cx="694944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B202BA3F-B120-FB36-1C74-89FF4B905719}"/>
              </a:ext>
            </a:extLst>
          </p:cNvPr>
          <p:cNvCxnSpPr>
            <a:cxnSpLocks/>
          </p:cNvCxnSpPr>
          <p:nvPr userDrawn="1"/>
        </p:nvCxnSpPr>
        <p:spPr>
          <a:xfrm>
            <a:off x="4597093" y="4821255"/>
            <a:ext cx="694944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5E237AFC-258A-A0AE-B66B-CB1C869A2032}"/>
              </a:ext>
            </a:extLst>
          </p:cNvPr>
          <p:cNvCxnSpPr>
            <a:cxnSpLocks/>
          </p:cNvCxnSpPr>
          <p:nvPr userDrawn="1"/>
        </p:nvCxnSpPr>
        <p:spPr>
          <a:xfrm>
            <a:off x="4597093" y="5514831"/>
            <a:ext cx="6949440" cy="0"/>
          </a:xfrm>
          <a:prstGeom prst="line">
            <a:avLst/>
          </a:prstGeom>
          <a:ln w="6350">
            <a:solidFill>
              <a:schemeClr val="bg1">
                <a:alpha val="65123"/>
              </a:schemeClr>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EF38260B-0DC8-F1D9-0A04-B34FD9548DDE}"/>
              </a:ext>
            </a:extLst>
          </p:cNvPr>
          <p:cNvCxnSpPr>
            <a:cxnSpLocks/>
          </p:cNvCxnSpPr>
          <p:nvPr userDrawn="1"/>
        </p:nvCxnSpPr>
        <p:spPr>
          <a:xfrm>
            <a:off x="4597093" y="3434103"/>
            <a:ext cx="694944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Text Placeholder 4">
            <a:extLst>
              <a:ext uri="{FF2B5EF4-FFF2-40B4-BE49-F238E27FC236}">
                <a16:creationId xmlns:a16="http://schemas.microsoft.com/office/drawing/2014/main" id="{34323139-2B65-F98E-4BA6-26EBD4E0ADE2}"/>
              </a:ext>
            </a:extLst>
          </p:cNvPr>
          <p:cNvSpPr>
            <a:spLocks noGrp="1"/>
          </p:cNvSpPr>
          <p:nvPr>
            <p:ph type="body" sz="quarter" idx="10" hasCustomPrompt="1"/>
          </p:nvPr>
        </p:nvSpPr>
        <p:spPr>
          <a:xfrm>
            <a:off x="4114801" y="1544424"/>
            <a:ext cx="1866900" cy="321627"/>
          </a:xfrm>
          <a:prstGeom prst="rect">
            <a:avLst/>
          </a:prstGeom>
        </p:spPr>
        <p:txBody>
          <a:bodyPr wrap="square" anchor="t" anchorCtr="0">
            <a:spAutoFit/>
          </a:bodyPr>
          <a:lstStyle>
            <a:lvl1pPr algn="r">
              <a:defRPr sz="2000" b="1" i="0">
                <a:solidFill>
                  <a:schemeClr val="accent6"/>
                </a:solidFill>
                <a:latin typeface="Calibri" panose="020F0502020204030204" pitchFamily="34" charset="0"/>
                <a:cs typeface="Calibri" panose="020F0502020204030204" pitchFamily="34" charset="0"/>
              </a:defRPr>
            </a:lvl1pPr>
          </a:lstStyle>
          <a:p>
            <a:pPr lvl="0"/>
            <a:r>
              <a:rPr lang="en-US"/>
              <a:t>00:00 – 00:00</a:t>
            </a:r>
          </a:p>
        </p:txBody>
      </p:sp>
      <p:sp>
        <p:nvSpPr>
          <p:cNvPr id="23" name="Text Placeholder 4">
            <a:extLst>
              <a:ext uri="{FF2B5EF4-FFF2-40B4-BE49-F238E27FC236}">
                <a16:creationId xmlns:a16="http://schemas.microsoft.com/office/drawing/2014/main" id="{4203F9BF-BF5F-6A91-5F78-9E13CFB34688}"/>
              </a:ext>
            </a:extLst>
          </p:cNvPr>
          <p:cNvSpPr>
            <a:spLocks noGrp="1"/>
          </p:cNvSpPr>
          <p:nvPr>
            <p:ph type="body" sz="quarter" idx="16" hasCustomPrompt="1"/>
          </p:nvPr>
        </p:nvSpPr>
        <p:spPr>
          <a:xfrm>
            <a:off x="6248400" y="1544424"/>
            <a:ext cx="5295900" cy="307777"/>
          </a:xfrm>
          <a:prstGeom prst="rect">
            <a:avLst/>
          </a:prstGeom>
        </p:spPr>
        <p:txBody>
          <a:bodyPr wrap="square" anchor="t" anchorCtr="0">
            <a:spAutoFit/>
          </a:bodyPr>
          <a:lstStyle>
            <a:lvl1pPr>
              <a:defRPr sz="2000" b="0" i="0">
                <a:latin typeface="Calibri Light" panose="020F0302020204030204" pitchFamily="34" charset="0"/>
                <a:cs typeface="Calibri Light" panose="020F0302020204030204" pitchFamily="34" charset="0"/>
              </a:defRPr>
            </a:lvl1pPr>
          </a:lstStyle>
          <a:p>
            <a:pPr lvl="0"/>
            <a:r>
              <a:rPr lang="en-US"/>
              <a:t>Agenda item here</a:t>
            </a:r>
          </a:p>
        </p:txBody>
      </p:sp>
      <p:sp>
        <p:nvSpPr>
          <p:cNvPr id="24" name="Text Placeholder 4">
            <a:extLst>
              <a:ext uri="{FF2B5EF4-FFF2-40B4-BE49-F238E27FC236}">
                <a16:creationId xmlns:a16="http://schemas.microsoft.com/office/drawing/2014/main" id="{876CC08A-4820-35BC-92E1-8230BD9D360A}"/>
              </a:ext>
            </a:extLst>
          </p:cNvPr>
          <p:cNvSpPr>
            <a:spLocks noGrp="1"/>
          </p:cNvSpPr>
          <p:nvPr>
            <p:ph type="body" sz="quarter" idx="24" hasCustomPrompt="1"/>
          </p:nvPr>
        </p:nvSpPr>
        <p:spPr>
          <a:xfrm>
            <a:off x="4114801" y="2237970"/>
            <a:ext cx="1866900" cy="321627"/>
          </a:xfrm>
          <a:prstGeom prst="rect">
            <a:avLst/>
          </a:prstGeom>
        </p:spPr>
        <p:txBody>
          <a:bodyPr wrap="square" anchor="t" anchorCtr="0">
            <a:spAutoFit/>
          </a:bodyPr>
          <a:lstStyle>
            <a:lvl1pPr algn="r">
              <a:defRPr sz="2000" b="1" i="0">
                <a:solidFill>
                  <a:schemeClr val="accent6"/>
                </a:solidFill>
                <a:latin typeface="Calibri" panose="020F0502020204030204" pitchFamily="34" charset="0"/>
                <a:cs typeface="Calibri" panose="020F0502020204030204" pitchFamily="34" charset="0"/>
              </a:defRPr>
            </a:lvl1pPr>
          </a:lstStyle>
          <a:p>
            <a:pPr lvl="0"/>
            <a:r>
              <a:rPr lang="en-US"/>
              <a:t>00:00 – 00:00</a:t>
            </a:r>
          </a:p>
        </p:txBody>
      </p:sp>
      <p:sp>
        <p:nvSpPr>
          <p:cNvPr id="25" name="Text Placeholder 4">
            <a:extLst>
              <a:ext uri="{FF2B5EF4-FFF2-40B4-BE49-F238E27FC236}">
                <a16:creationId xmlns:a16="http://schemas.microsoft.com/office/drawing/2014/main" id="{F7291D4C-4D95-8F05-0F5C-BA39164C8277}"/>
              </a:ext>
            </a:extLst>
          </p:cNvPr>
          <p:cNvSpPr>
            <a:spLocks noGrp="1"/>
          </p:cNvSpPr>
          <p:nvPr>
            <p:ph type="body" sz="quarter" idx="25" hasCustomPrompt="1"/>
          </p:nvPr>
        </p:nvSpPr>
        <p:spPr>
          <a:xfrm>
            <a:off x="6248400" y="2237970"/>
            <a:ext cx="5295900" cy="307777"/>
          </a:xfrm>
          <a:prstGeom prst="rect">
            <a:avLst/>
          </a:prstGeom>
        </p:spPr>
        <p:txBody>
          <a:bodyPr wrap="square" anchor="t" anchorCtr="0">
            <a:spAutoFit/>
          </a:bodyPr>
          <a:lstStyle>
            <a:lvl1pPr>
              <a:defRPr sz="2000" b="0" i="0">
                <a:latin typeface="Calibri Light" panose="020F0302020204030204" pitchFamily="34" charset="0"/>
                <a:cs typeface="Calibri Light" panose="020F0302020204030204" pitchFamily="34" charset="0"/>
              </a:defRPr>
            </a:lvl1pPr>
          </a:lstStyle>
          <a:p>
            <a:pPr lvl="0"/>
            <a:r>
              <a:rPr lang="en-US"/>
              <a:t>Agenda item here</a:t>
            </a:r>
          </a:p>
        </p:txBody>
      </p:sp>
      <p:sp>
        <p:nvSpPr>
          <p:cNvPr id="26" name="Text Placeholder 4">
            <a:extLst>
              <a:ext uri="{FF2B5EF4-FFF2-40B4-BE49-F238E27FC236}">
                <a16:creationId xmlns:a16="http://schemas.microsoft.com/office/drawing/2014/main" id="{B6CEF688-2334-22F4-39C4-5CC9525BC52D}"/>
              </a:ext>
            </a:extLst>
          </p:cNvPr>
          <p:cNvSpPr>
            <a:spLocks noGrp="1"/>
          </p:cNvSpPr>
          <p:nvPr>
            <p:ph type="body" sz="quarter" idx="26" hasCustomPrompt="1"/>
          </p:nvPr>
        </p:nvSpPr>
        <p:spPr>
          <a:xfrm>
            <a:off x="4114801" y="2931516"/>
            <a:ext cx="1866900" cy="321627"/>
          </a:xfrm>
          <a:prstGeom prst="rect">
            <a:avLst/>
          </a:prstGeom>
        </p:spPr>
        <p:txBody>
          <a:bodyPr wrap="square" anchor="t" anchorCtr="0">
            <a:spAutoFit/>
          </a:bodyPr>
          <a:lstStyle>
            <a:lvl1pPr algn="r">
              <a:defRPr sz="2000" b="1" i="0">
                <a:solidFill>
                  <a:schemeClr val="accent6"/>
                </a:solidFill>
                <a:latin typeface="Calibri" panose="020F0502020204030204" pitchFamily="34" charset="0"/>
                <a:cs typeface="Calibri" panose="020F0502020204030204" pitchFamily="34" charset="0"/>
              </a:defRPr>
            </a:lvl1pPr>
          </a:lstStyle>
          <a:p>
            <a:pPr lvl="0"/>
            <a:r>
              <a:rPr lang="en-US"/>
              <a:t>00:00 – 00:00</a:t>
            </a:r>
          </a:p>
        </p:txBody>
      </p:sp>
      <p:sp>
        <p:nvSpPr>
          <p:cNvPr id="31" name="Text Placeholder 4">
            <a:extLst>
              <a:ext uri="{FF2B5EF4-FFF2-40B4-BE49-F238E27FC236}">
                <a16:creationId xmlns:a16="http://schemas.microsoft.com/office/drawing/2014/main" id="{6C7F5B96-F4B8-B78A-06A1-1387CE2660EF}"/>
              </a:ext>
            </a:extLst>
          </p:cNvPr>
          <p:cNvSpPr>
            <a:spLocks noGrp="1"/>
          </p:cNvSpPr>
          <p:nvPr>
            <p:ph type="body" sz="quarter" idx="27" hasCustomPrompt="1"/>
          </p:nvPr>
        </p:nvSpPr>
        <p:spPr>
          <a:xfrm>
            <a:off x="6248400" y="2931516"/>
            <a:ext cx="5295900" cy="307777"/>
          </a:xfrm>
          <a:prstGeom prst="rect">
            <a:avLst/>
          </a:prstGeom>
        </p:spPr>
        <p:txBody>
          <a:bodyPr wrap="square" anchor="t" anchorCtr="0">
            <a:spAutoFit/>
          </a:bodyPr>
          <a:lstStyle>
            <a:lvl1pPr>
              <a:defRPr sz="2000" b="0" i="0">
                <a:latin typeface="Calibri Light" panose="020F0302020204030204" pitchFamily="34" charset="0"/>
                <a:cs typeface="Calibri Light" panose="020F0302020204030204" pitchFamily="34" charset="0"/>
              </a:defRPr>
            </a:lvl1pPr>
          </a:lstStyle>
          <a:p>
            <a:pPr lvl="0"/>
            <a:r>
              <a:rPr lang="en-US"/>
              <a:t>Agenda item here</a:t>
            </a:r>
          </a:p>
        </p:txBody>
      </p:sp>
      <p:sp>
        <p:nvSpPr>
          <p:cNvPr id="32" name="Text Placeholder 4">
            <a:extLst>
              <a:ext uri="{FF2B5EF4-FFF2-40B4-BE49-F238E27FC236}">
                <a16:creationId xmlns:a16="http://schemas.microsoft.com/office/drawing/2014/main" id="{F2D20F35-3DAA-AC00-0D89-CD5517054A4A}"/>
              </a:ext>
            </a:extLst>
          </p:cNvPr>
          <p:cNvSpPr>
            <a:spLocks noGrp="1"/>
          </p:cNvSpPr>
          <p:nvPr>
            <p:ph type="body" sz="quarter" idx="28" hasCustomPrompt="1"/>
          </p:nvPr>
        </p:nvSpPr>
        <p:spPr>
          <a:xfrm>
            <a:off x="4114801" y="3625062"/>
            <a:ext cx="1866900" cy="321627"/>
          </a:xfrm>
          <a:prstGeom prst="rect">
            <a:avLst/>
          </a:prstGeom>
        </p:spPr>
        <p:txBody>
          <a:bodyPr wrap="square" anchor="t" anchorCtr="0">
            <a:spAutoFit/>
          </a:bodyPr>
          <a:lstStyle>
            <a:lvl1pPr algn="r">
              <a:defRPr sz="2000" b="1" i="0">
                <a:solidFill>
                  <a:schemeClr val="accent6"/>
                </a:solidFill>
                <a:latin typeface="Calibri" panose="020F0502020204030204" pitchFamily="34" charset="0"/>
                <a:cs typeface="Calibri" panose="020F0502020204030204" pitchFamily="34" charset="0"/>
              </a:defRPr>
            </a:lvl1pPr>
          </a:lstStyle>
          <a:p>
            <a:pPr lvl="0"/>
            <a:r>
              <a:rPr lang="en-US"/>
              <a:t>00:00 – 00:00</a:t>
            </a:r>
          </a:p>
        </p:txBody>
      </p:sp>
      <p:sp>
        <p:nvSpPr>
          <p:cNvPr id="34" name="Text Placeholder 4">
            <a:extLst>
              <a:ext uri="{FF2B5EF4-FFF2-40B4-BE49-F238E27FC236}">
                <a16:creationId xmlns:a16="http://schemas.microsoft.com/office/drawing/2014/main" id="{7CEC68D4-F109-8967-2138-7755BCDA7F53}"/>
              </a:ext>
            </a:extLst>
          </p:cNvPr>
          <p:cNvSpPr>
            <a:spLocks noGrp="1"/>
          </p:cNvSpPr>
          <p:nvPr>
            <p:ph type="body" sz="quarter" idx="29" hasCustomPrompt="1"/>
          </p:nvPr>
        </p:nvSpPr>
        <p:spPr>
          <a:xfrm>
            <a:off x="6248400" y="3625062"/>
            <a:ext cx="5295900" cy="307777"/>
          </a:xfrm>
          <a:prstGeom prst="rect">
            <a:avLst/>
          </a:prstGeom>
        </p:spPr>
        <p:txBody>
          <a:bodyPr wrap="square" anchor="t" anchorCtr="0">
            <a:spAutoFit/>
          </a:bodyPr>
          <a:lstStyle>
            <a:lvl1pPr>
              <a:defRPr sz="2000" b="0" i="0">
                <a:latin typeface="Calibri Light" panose="020F0302020204030204" pitchFamily="34" charset="0"/>
                <a:cs typeface="Calibri Light" panose="020F0302020204030204" pitchFamily="34" charset="0"/>
              </a:defRPr>
            </a:lvl1pPr>
          </a:lstStyle>
          <a:p>
            <a:pPr lvl="0"/>
            <a:r>
              <a:rPr lang="en-US"/>
              <a:t>Agenda item here</a:t>
            </a:r>
          </a:p>
        </p:txBody>
      </p:sp>
      <p:sp>
        <p:nvSpPr>
          <p:cNvPr id="35" name="Text Placeholder 4">
            <a:extLst>
              <a:ext uri="{FF2B5EF4-FFF2-40B4-BE49-F238E27FC236}">
                <a16:creationId xmlns:a16="http://schemas.microsoft.com/office/drawing/2014/main" id="{9D31E2A1-E7D9-C6E2-1CAD-132E8FC15028}"/>
              </a:ext>
            </a:extLst>
          </p:cNvPr>
          <p:cNvSpPr>
            <a:spLocks noGrp="1"/>
          </p:cNvSpPr>
          <p:nvPr>
            <p:ph type="body" sz="quarter" idx="30" hasCustomPrompt="1"/>
          </p:nvPr>
        </p:nvSpPr>
        <p:spPr>
          <a:xfrm>
            <a:off x="4114801" y="4318608"/>
            <a:ext cx="1866900" cy="321627"/>
          </a:xfrm>
          <a:prstGeom prst="rect">
            <a:avLst/>
          </a:prstGeom>
        </p:spPr>
        <p:txBody>
          <a:bodyPr wrap="square" anchor="t" anchorCtr="0">
            <a:spAutoFit/>
          </a:bodyPr>
          <a:lstStyle>
            <a:lvl1pPr algn="r">
              <a:defRPr sz="2000" b="1" i="0">
                <a:solidFill>
                  <a:schemeClr val="accent6"/>
                </a:solidFill>
                <a:latin typeface="Calibri" panose="020F0502020204030204" pitchFamily="34" charset="0"/>
                <a:cs typeface="Calibri" panose="020F0502020204030204" pitchFamily="34" charset="0"/>
              </a:defRPr>
            </a:lvl1pPr>
          </a:lstStyle>
          <a:p>
            <a:pPr lvl="0"/>
            <a:r>
              <a:rPr lang="en-US"/>
              <a:t>00:00 – 00:00</a:t>
            </a:r>
          </a:p>
        </p:txBody>
      </p:sp>
      <p:sp>
        <p:nvSpPr>
          <p:cNvPr id="36" name="Text Placeholder 4">
            <a:extLst>
              <a:ext uri="{FF2B5EF4-FFF2-40B4-BE49-F238E27FC236}">
                <a16:creationId xmlns:a16="http://schemas.microsoft.com/office/drawing/2014/main" id="{9FFDA3CA-2B8B-D638-20E4-71AC7A34D736}"/>
              </a:ext>
            </a:extLst>
          </p:cNvPr>
          <p:cNvSpPr>
            <a:spLocks noGrp="1"/>
          </p:cNvSpPr>
          <p:nvPr>
            <p:ph type="body" sz="quarter" idx="31" hasCustomPrompt="1"/>
          </p:nvPr>
        </p:nvSpPr>
        <p:spPr>
          <a:xfrm>
            <a:off x="6248400" y="4318608"/>
            <a:ext cx="5295900" cy="307777"/>
          </a:xfrm>
          <a:prstGeom prst="rect">
            <a:avLst/>
          </a:prstGeom>
        </p:spPr>
        <p:txBody>
          <a:bodyPr wrap="square" anchor="t" anchorCtr="0">
            <a:spAutoFit/>
          </a:bodyPr>
          <a:lstStyle>
            <a:lvl1pPr>
              <a:defRPr sz="2000" b="0" i="0">
                <a:latin typeface="Calibri Light" panose="020F0302020204030204" pitchFamily="34" charset="0"/>
                <a:cs typeface="Calibri Light" panose="020F0302020204030204" pitchFamily="34" charset="0"/>
              </a:defRPr>
            </a:lvl1pPr>
          </a:lstStyle>
          <a:p>
            <a:pPr lvl="0"/>
            <a:r>
              <a:rPr lang="en-US"/>
              <a:t>Agenda item here</a:t>
            </a:r>
          </a:p>
        </p:txBody>
      </p:sp>
      <p:sp>
        <p:nvSpPr>
          <p:cNvPr id="37" name="Text Placeholder 4">
            <a:extLst>
              <a:ext uri="{FF2B5EF4-FFF2-40B4-BE49-F238E27FC236}">
                <a16:creationId xmlns:a16="http://schemas.microsoft.com/office/drawing/2014/main" id="{557F9336-F799-453A-9AE4-57BF009F4E49}"/>
              </a:ext>
            </a:extLst>
          </p:cNvPr>
          <p:cNvSpPr>
            <a:spLocks noGrp="1"/>
          </p:cNvSpPr>
          <p:nvPr>
            <p:ph type="body" sz="quarter" idx="32" hasCustomPrompt="1"/>
          </p:nvPr>
        </p:nvSpPr>
        <p:spPr>
          <a:xfrm>
            <a:off x="4114801" y="5012153"/>
            <a:ext cx="1866900" cy="321627"/>
          </a:xfrm>
          <a:prstGeom prst="rect">
            <a:avLst/>
          </a:prstGeom>
        </p:spPr>
        <p:txBody>
          <a:bodyPr wrap="square" anchor="t" anchorCtr="0">
            <a:spAutoFit/>
          </a:bodyPr>
          <a:lstStyle>
            <a:lvl1pPr algn="r">
              <a:defRPr sz="2000" b="1" i="0">
                <a:solidFill>
                  <a:schemeClr val="accent6"/>
                </a:solidFill>
                <a:latin typeface="Calibri" panose="020F0502020204030204" pitchFamily="34" charset="0"/>
                <a:cs typeface="Calibri" panose="020F0502020204030204" pitchFamily="34" charset="0"/>
              </a:defRPr>
            </a:lvl1pPr>
          </a:lstStyle>
          <a:p>
            <a:pPr lvl="0"/>
            <a:r>
              <a:rPr lang="en-US"/>
              <a:t>00:00 – 00:00</a:t>
            </a:r>
          </a:p>
        </p:txBody>
      </p:sp>
      <p:sp>
        <p:nvSpPr>
          <p:cNvPr id="38" name="Text Placeholder 4">
            <a:extLst>
              <a:ext uri="{FF2B5EF4-FFF2-40B4-BE49-F238E27FC236}">
                <a16:creationId xmlns:a16="http://schemas.microsoft.com/office/drawing/2014/main" id="{3ACF06D8-4539-871E-68C7-607E7092437D}"/>
              </a:ext>
            </a:extLst>
          </p:cNvPr>
          <p:cNvSpPr>
            <a:spLocks noGrp="1"/>
          </p:cNvSpPr>
          <p:nvPr>
            <p:ph type="body" sz="quarter" idx="33" hasCustomPrompt="1"/>
          </p:nvPr>
        </p:nvSpPr>
        <p:spPr>
          <a:xfrm>
            <a:off x="6248400" y="5012153"/>
            <a:ext cx="5295900" cy="307777"/>
          </a:xfrm>
          <a:prstGeom prst="rect">
            <a:avLst/>
          </a:prstGeom>
        </p:spPr>
        <p:txBody>
          <a:bodyPr wrap="square" anchor="t" anchorCtr="0">
            <a:spAutoFit/>
          </a:bodyPr>
          <a:lstStyle>
            <a:lvl1pPr>
              <a:defRPr sz="2000" b="0" i="0">
                <a:latin typeface="Calibri Light" panose="020F0302020204030204" pitchFamily="34" charset="0"/>
                <a:cs typeface="Calibri Light" panose="020F0302020204030204" pitchFamily="34" charset="0"/>
              </a:defRPr>
            </a:lvl1pPr>
          </a:lstStyle>
          <a:p>
            <a:pPr lvl="0"/>
            <a:r>
              <a:rPr lang="en-US"/>
              <a:t>Agenda item here</a:t>
            </a:r>
          </a:p>
        </p:txBody>
      </p:sp>
      <p:cxnSp>
        <p:nvCxnSpPr>
          <p:cNvPr id="41" name="Straight Connector 40">
            <a:extLst>
              <a:ext uri="{FF2B5EF4-FFF2-40B4-BE49-F238E27FC236}">
                <a16:creationId xmlns:a16="http://schemas.microsoft.com/office/drawing/2014/main" id="{A040C191-15FC-CC2A-76C6-F51F8764B2F0}"/>
              </a:ext>
            </a:extLst>
          </p:cNvPr>
          <p:cNvCxnSpPr>
            <a:cxnSpLocks/>
          </p:cNvCxnSpPr>
          <p:nvPr userDrawn="1"/>
        </p:nvCxnSpPr>
        <p:spPr>
          <a:xfrm>
            <a:off x="4597093" y="2740527"/>
            <a:ext cx="694944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92D121A1-59B7-61ED-F9B5-D7F3CF3FA035}"/>
              </a:ext>
            </a:extLst>
          </p:cNvPr>
          <p:cNvCxnSpPr>
            <a:cxnSpLocks/>
          </p:cNvCxnSpPr>
          <p:nvPr userDrawn="1"/>
        </p:nvCxnSpPr>
        <p:spPr>
          <a:xfrm>
            <a:off x="4597094" y="2046951"/>
            <a:ext cx="694944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34849478"/>
      </p:ext>
    </p:extLst>
  </p:cSld>
  <p:clrMapOvr>
    <a:masterClrMapping/>
  </p:clrMapOvr>
  <p:extLst>
    <p:ext uri="{DCECCB84-F9BA-43D5-87BE-67443E8EF086}">
      <p15:sldGuideLst xmlns:p15="http://schemas.microsoft.com/office/powerpoint/2012/main"/>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itle + Small Text - Dark_BG">
    <p:bg>
      <p:bgPr>
        <a:solidFill>
          <a:schemeClr val="tx1"/>
        </a:solidFill>
        <a:effectLst/>
      </p:bgPr>
    </p:bg>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1143AD08-7200-43C1-759F-ECBF3FD2C1D2}"/>
              </a:ext>
            </a:extLst>
          </p:cNvPr>
          <p:cNvSpPr>
            <a:spLocks noGrp="1"/>
          </p:cNvSpPr>
          <p:nvPr>
            <p:ph type="title" hasCustomPrompt="1"/>
          </p:nvPr>
        </p:nvSpPr>
        <p:spPr>
          <a:xfrm>
            <a:off x="633632" y="722843"/>
            <a:ext cx="4654331" cy="338554"/>
          </a:xfrm>
          <a:prstGeom prst="rect">
            <a:avLst/>
          </a:prstGeom>
        </p:spPr>
        <p:txBody>
          <a:bodyPr/>
          <a:lstStyle>
            <a:lvl1pPr>
              <a:defRPr lang="en-US" sz="2200" b="1" i="0" kern="1200" spc="0" dirty="0">
                <a:solidFill>
                  <a:schemeClr val="bg1"/>
                </a:solidFill>
                <a:effectLst/>
                <a:latin typeface="+mj-lt"/>
                <a:ea typeface="Calibri" panose="020F0502020204030204" pitchFamily="34" charset="0"/>
                <a:cs typeface="Calibri" panose="020F0502020204030204" pitchFamily="34" charset="0"/>
              </a:defRPr>
            </a:lvl1pPr>
          </a:lstStyle>
          <a:p>
            <a:pPr marL="0" lvl="0" indent="0" algn="l" defTabSz="914400" rtl="0" eaLnBrk="1" latinLnBrk="0" hangingPunct="1">
              <a:lnSpc>
                <a:spcPct val="100000"/>
              </a:lnSpc>
              <a:spcBef>
                <a:spcPts val="0"/>
              </a:spcBef>
              <a:spcAft>
                <a:spcPts val="0"/>
              </a:spcAft>
              <a:buFont typeface="Arial" panose="020B0604020202020204" pitchFamily="34" charset="0"/>
              <a:buNone/>
            </a:pPr>
            <a:r>
              <a:rPr lang="en-US">
                <a:effectLst/>
              </a:rPr>
              <a:t>Title Goes Here</a:t>
            </a:r>
            <a:endParaRPr lang="en-US"/>
          </a:p>
        </p:txBody>
      </p:sp>
      <p:sp>
        <p:nvSpPr>
          <p:cNvPr id="5" name="Text Placeholder 10">
            <a:extLst>
              <a:ext uri="{FF2B5EF4-FFF2-40B4-BE49-F238E27FC236}">
                <a16:creationId xmlns:a16="http://schemas.microsoft.com/office/drawing/2014/main" id="{9215F0D0-AF54-2FDD-2340-6772D1837C63}"/>
              </a:ext>
            </a:extLst>
          </p:cNvPr>
          <p:cNvSpPr>
            <a:spLocks noGrp="1"/>
          </p:cNvSpPr>
          <p:nvPr>
            <p:ph type="body" sz="quarter" idx="28" hasCustomPrompt="1"/>
          </p:nvPr>
        </p:nvSpPr>
        <p:spPr>
          <a:xfrm>
            <a:off x="633632" y="419100"/>
            <a:ext cx="3611880" cy="225706"/>
          </a:xfrm>
          <a:prstGeom prst="rect">
            <a:avLst/>
          </a:prstGeom>
        </p:spPr>
        <p:txBody>
          <a:bodyPr/>
          <a:lstStyle>
            <a:lvl1pPr>
              <a:spcBef>
                <a:spcPts val="0"/>
              </a:spcBef>
              <a:defRPr lang="en-US" sz="1000" b="0" i="0" kern="1200" cap="all" spc="300" baseline="0" dirty="0">
                <a:solidFill>
                  <a:schemeClr val="bg1"/>
                </a:solidFill>
                <a:latin typeface="Calibri" panose="020F0502020204030204" pitchFamily="34" charset="0"/>
                <a:ea typeface="Calibri" panose="020F0502020204030204" pitchFamily="34" charset="0"/>
                <a:cs typeface="Calibri" panose="020F0502020204030204" pitchFamily="34" charset="0"/>
              </a:defRPr>
            </a:lvl1pPr>
          </a:lstStyle>
          <a:p>
            <a:pPr marL="0" lvl="0" indent="0" algn="l" defTabSz="914400" rtl="0" eaLnBrk="1" latinLnBrk="0" hangingPunct="1">
              <a:lnSpc>
                <a:spcPct val="100000"/>
              </a:lnSpc>
              <a:spcBef>
                <a:spcPts val="600"/>
              </a:spcBef>
              <a:spcAft>
                <a:spcPts val="0"/>
              </a:spcAft>
              <a:buFont typeface="Arial" panose="020B0604020202020204" pitchFamily="34" charset="0"/>
              <a:buNone/>
            </a:pPr>
            <a:r>
              <a:rPr lang="en-US"/>
              <a:t>Click to add section title</a:t>
            </a:r>
          </a:p>
        </p:txBody>
      </p:sp>
      <p:grpSp>
        <p:nvGrpSpPr>
          <p:cNvPr id="24" name="Group 23">
            <a:extLst>
              <a:ext uri="{FF2B5EF4-FFF2-40B4-BE49-F238E27FC236}">
                <a16:creationId xmlns:a16="http://schemas.microsoft.com/office/drawing/2014/main" id="{718CF8F6-315E-F1DE-F982-A689F840B3DE}"/>
              </a:ext>
            </a:extLst>
          </p:cNvPr>
          <p:cNvGrpSpPr/>
          <p:nvPr userDrawn="1"/>
        </p:nvGrpSpPr>
        <p:grpSpPr>
          <a:xfrm>
            <a:off x="610888" y="6472556"/>
            <a:ext cx="372834" cy="131175"/>
            <a:chOff x="14288" y="2035175"/>
            <a:chExt cx="10039350" cy="3532188"/>
          </a:xfrm>
          <a:solidFill>
            <a:schemeClr val="bg1"/>
          </a:solidFill>
        </p:grpSpPr>
        <p:sp>
          <p:nvSpPr>
            <p:cNvPr id="25" name="Freeform 1">
              <a:extLst>
                <a:ext uri="{FF2B5EF4-FFF2-40B4-BE49-F238E27FC236}">
                  <a16:creationId xmlns:a16="http://schemas.microsoft.com/office/drawing/2014/main" id="{0C41D0B7-A970-8F24-6DD8-95C52776B2D9}"/>
                </a:ext>
              </a:extLst>
            </p:cNvPr>
            <p:cNvSpPr>
              <a:spLocks noChangeArrowheads="1"/>
            </p:cNvSpPr>
            <p:nvPr/>
          </p:nvSpPr>
          <p:spPr bwMode="auto">
            <a:xfrm>
              <a:off x="1519238" y="2035175"/>
              <a:ext cx="1336675" cy="2836863"/>
            </a:xfrm>
            <a:custGeom>
              <a:avLst/>
              <a:gdLst>
                <a:gd name="T0" fmla="*/ 390493 w 3714"/>
                <a:gd name="T1" fmla="*/ 1200682 h 7882"/>
                <a:gd name="T2" fmla="*/ 945462 w 3714"/>
                <a:gd name="T3" fmla="*/ 1200682 h 7882"/>
                <a:gd name="T4" fmla="*/ 945462 w 3714"/>
                <a:gd name="T5" fmla="*/ 611498 h 7882"/>
                <a:gd name="T6" fmla="*/ 698929 w 3714"/>
                <a:gd name="T7" fmla="*/ 364596 h 7882"/>
                <a:gd name="T8" fmla="*/ 637386 w 3714"/>
                <a:gd name="T9" fmla="*/ 364596 h 7882"/>
                <a:gd name="T10" fmla="*/ 390493 w 3714"/>
                <a:gd name="T11" fmla="*/ 611498 h 7882"/>
                <a:gd name="T12" fmla="*/ 390493 w 3714"/>
                <a:gd name="T13" fmla="*/ 1200682 h 7882"/>
                <a:gd name="T14" fmla="*/ 389414 w 3714"/>
                <a:gd name="T15" fmla="*/ 1576795 h 7882"/>
                <a:gd name="T16" fmla="*/ 390493 w 3714"/>
                <a:gd name="T17" fmla="*/ 2224645 h 7882"/>
                <a:gd name="T18" fmla="*/ 637386 w 3714"/>
                <a:gd name="T19" fmla="*/ 2471548 h 7882"/>
                <a:gd name="T20" fmla="*/ 709366 w 3714"/>
                <a:gd name="T21" fmla="*/ 2471548 h 7882"/>
                <a:gd name="T22" fmla="*/ 955899 w 3714"/>
                <a:gd name="T23" fmla="*/ 2224645 h 7882"/>
                <a:gd name="T24" fmla="*/ 955899 w 3714"/>
                <a:gd name="T25" fmla="*/ 1906119 h 7882"/>
                <a:gd name="T26" fmla="*/ 1336315 w 3714"/>
                <a:gd name="T27" fmla="*/ 1906119 h 7882"/>
                <a:gd name="T28" fmla="*/ 1336315 w 3714"/>
                <a:gd name="T29" fmla="*/ 2209528 h 7882"/>
                <a:gd name="T30" fmla="*/ 709366 w 3714"/>
                <a:gd name="T31" fmla="*/ 2836503 h 7882"/>
                <a:gd name="T32" fmla="*/ 626949 w 3714"/>
                <a:gd name="T33" fmla="*/ 2836503 h 7882"/>
                <a:gd name="T34" fmla="*/ 0 w 3714"/>
                <a:gd name="T35" fmla="*/ 2258117 h 7882"/>
                <a:gd name="T36" fmla="*/ 0 w 3714"/>
                <a:gd name="T37" fmla="*/ 675564 h 7882"/>
                <a:gd name="T38" fmla="*/ 626949 w 3714"/>
                <a:gd name="T39" fmla="*/ 0 h 7882"/>
                <a:gd name="T40" fmla="*/ 709366 w 3714"/>
                <a:gd name="T41" fmla="*/ 0 h 7882"/>
                <a:gd name="T42" fmla="*/ 1336315 w 3714"/>
                <a:gd name="T43" fmla="*/ 626975 h 7882"/>
                <a:gd name="T44" fmla="*/ 1334875 w 3714"/>
                <a:gd name="T45" fmla="*/ 1576795 h 7882"/>
                <a:gd name="T46" fmla="*/ 389414 w 3714"/>
                <a:gd name="T47" fmla="*/ 1576795 h 7882"/>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3714" h="7882">
                  <a:moveTo>
                    <a:pt x="1085" y="3336"/>
                  </a:moveTo>
                  <a:lnTo>
                    <a:pt x="2627" y="3336"/>
                  </a:lnTo>
                  <a:lnTo>
                    <a:pt x="2627" y="1699"/>
                  </a:lnTo>
                  <a:cubicBezTo>
                    <a:pt x="2627" y="1242"/>
                    <a:pt x="2399" y="1013"/>
                    <a:pt x="1942" y="1013"/>
                  </a:cubicBezTo>
                  <a:lnTo>
                    <a:pt x="1771" y="1013"/>
                  </a:lnTo>
                  <a:cubicBezTo>
                    <a:pt x="1314" y="1013"/>
                    <a:pt x="1085" y="1242"/>
                    <a:pt x="1085" y="1699"/>
                  </a:cubicBezTo>
                  <a:lnTo>
                    <a:pt x="1085" y="3336"/>
                  </a:lnTo>
                  <a:close/>
                  <a:moveTo>
                    <a:pt x="1082" y="4381"/>
                  </a:moveTo>
                  <a:lnTo>
                    <a:pt x="1085" y="6181"/>
                  </a:lnTo>
                  <a:cubicBezTo>
                    <a:pt x="1085" y="6638"/>
                    <a:pt x="1314" y="6867"/>
                    <a:pt x="1771" y="6867"/>
                  </a:cubicBezTo>
                  <a:lnTo>
                    <a:pt x="1971" y="6867"/>
                  </a:lnTo>
                  <a:cubicBezTo>
                    <a:pt x="2428" y="6867"/>
                    <a:pt x="2656" y="6638"/>
                    <a:pt x="2656" y="6181"/>
                  </a:cubicBezTo>
                  <a:lnTo>
                    <a:pt x="2656" y="5296"/>
                  </a:lnTo>
                  <a:lnTo>
                    <a:pt x="3713" y="5296"/>
                  </a:lnTo>
                  <a:lnTo>
                    <a:pt x="3713" y="6139"/>
                  </a:lnTo>
                  <a:cubicBezTo>
                    <a:pt x="3713" y="7295"/>
                    <a:pt x="3127" y="7881"/>
                    <a:pt x="1971" y="7881"/>
                  </a:cubicBezTo>
                  <a:lnTo>
                    <a:pt x="1742" y="7881"/>
                  </a:lnTo>
                  <a:cubicBezTo>
                    <a:pt x="585" y="7881"/>
                    <a:pt x="0" y="7295"/>
                    <a:pt x="0" y="6274"/>
                  </a:cubicBezTo>
                  <a:lnTo>
                    <a:pt x="0" y="1877"/>
                  </a:lnTo>
                  <a:cubicBezTo>
                    <a:pt x="0" y="585"/>
                    <a:pt x="585" y="0"/>
                    <a:pt x="1742" y="0"/>
                  </a:cubicBezTo>
                  <a:lnTo>
                    <a:pt x="1971" y="0"/>
                  </a:lnTo>
                  <a:cubicBezTo>
                    <a:pt x="3127" y="0"/>
                    <a:pt x="3713" y="585"/>
                    <a:pt x="3713" y="1742"/>
                  </a:cubicBezTo>
                  <a:lnTo>
                    <a:pt x="3709" y="4381"/>
                  </a:lnTo>
                  <a:lnTo>
                    <a:pt x="1082" y="4381"/>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endParaRPr lang="en-US"/>
            </a:p>
          </p:txBody>
        </p:sp>
        <p:sp>
          <p:nvSpPr>
            <p:cNvPr id="26" name="Freeform 2">
              <a:extLst>
                <a:ext uri="{FF2B5EF4-FFF2-40B4-BE49-F238E27FC236}">
                  <a16:creationId xmlns:a16="http://schemas.microsoft.com/office/drawing/2014/main" id="{85A1A193-AFEA-9707-24C9-C97B0A85FE2C}"/>
                </a:ext>
              </a:extLst>
            </p:cNvPr>
            <p:cNvSpPr>
              <a:spLocks noChangeArrowheads="1"/>
            </p:cNvSpPr>
            <p:nvPr/>
          </p:nvSpPr>
          <p:spPr bwMode="auto">
            <a:xfrm>
              <a:off x="3109913" y="2035175"/>
              <a:ext cx="1368425" cy="3532188"/>
            </a:xfrm>
            <a:custGeom>
              <a:avLst/>
              <a:gdLst>
                <a:gd name="T0" fmla="*/ 390721 w 3800"/>
                <a:gd name="T1" fmla="*/ 2322993 h 9812"/>
                <a:gd name="T2" fmla="*/ 750833 w 3800"/>
                <a:gd name="T3" fmla="*/ 2466628 h 9812"/>
                <a:gd name="T4" fmla="*/ 976983 w 3800"/>
                <a:gd name="T5" fmla="*/ 2240556 h 9812"/>
                <a:gd name="T6" fmla="*/ 976983 w 3800"/>
                <a:gd name="T7" fmla="*/ 596138 h 9812"/>
                <a:gd name="T8" fmla="*/ 750833 w 3800"/>
                <a:gd name="T9" fmla="*/ 370066 h 9812"/>
                <a:gd name="T10" fmla="*/ 390721 w 3800"/>
                <a:gd name="T11" fmla="*/ 514061 h 9812"/>
                <a:gd name="T12" fmla="*/ 390721 w 3800"/>
                <a:gd name="T13" fmla="*/ 2322993 h 9812"/>
                <a:gd name="T14" fmla="*/ 0 w 3800"/>
                <a:gd name="T15" fmla="*/ 30599 h 9812"/>
                <a:gd name="T16" fmla="*/ 390721 w 3800"/>
                <a:gd name="T17" fmla="*/ 30599 h 9812"/>
                <a:gd name="T18" fmla="*/ 390721 w 3800"/>
                <a:gd name="T19" fmla="*/ 210592 h 9812"/>
                <a:gd name="T20" fmla="*/ 868950 w 3800"/>
                <a:gd name="T21" fmla="*/ 0 h 9812"/>
                <a:gd name="T22" fmla="*/ 1368065 w 3800"/>
                <a:gd name="T23" fmla="*/ 549699 h 9812"/>
                <a:gd name="T24" fmla="*/ 1368065 w 3800"/>
                <a:gd name="T25" fmla="*/ 2286995 h 9812"/>
                <a:gd name="T26" fmla="*/ 868950 w 3800"/>
                <a:gd name="T27" fmla="*/ 2837054 h 9812"/>
                <a:gd name="T28" fmla="*/ 390721 w 3800"/>
                <a:gd name="T29" fmla="*/ 2636541 h 9812"/>
                <a:gd name="T30" fmla="*/ 390721 w 3800"/>
                <a:gd name="T31" fmla="*/ 3531828 h 9812"/>
                <a:gd name="T32" fmla="*/ 0 w 3800"/>
                <a:gd name="T33" fmla="*/ 3531828 h 9812"/>
                <a:gd name="T34" fmla="*/ 0 w 3800"/>
                <a:gd name="T35" fmla="*/ 30599 h 9812"/>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3800" h="9812">
                  <a:moveTo>
                    <a:pt x="1085" y="6453"/>
                  </a:moveTo>
                  <a:cubicBezTo>
                    <a:pt x="1385" y="6710"/>
                    <a:pt x="1728" y="6852"/>
                    <a:pt x="2085" y="6852"/>
                  </a:cubicBezTo>
                  <a:cubicBezTo>
                    <a:pt x="2485" y="6852"/>
                    <a:pt x="2713" y="6667"/>
                    <a:pt x="2713" y="6224"/>
                  </a:cubicBezTo>
                  <a:lnTo>
                    <a:pt x="2713" y="1656"/>
                  </a:lnTo>
                  <a:cubicBezTo>
                    <a:pt x="2713" y="1213"/>
                    <a:pt x="2485" y="1028"/>
                    <a:pt x="2085" y="1028"/>
                  </a:cubicBezTo>
                  <a:cubicBezTo>
                    <a:pt x="1728" y="1028"/>
                    <a:pt x="1385" y="1170"/>
                    <a:pt x="1085" y="1428"/>
                  </a:cubicBezTo>
                  <a:lnTo>
                    <a:pt x="1085" y="6453"/>
                  </a:lnTo>
                  <a:close/>
                  <a:moveTo>
                    <a:pt x="0" y="85"/>
                  </a:moveTo>
                  <a:lnTo>
                    <a:pt x="1085" y="85"/>
                  </a:lnTo>
                  <a:lnTo>
                    <a:pt x="1085" y="585"/>
                  </a:lnTo>
                  <a:cubicBezTo>
                    <a:pt x="1342" y="314"/>
                    <a:pt x="1785" y="0"/>
                    <a:pt x="2413" y="0"/>
                  </a:cubicBezTo>
                  <a:cubicBezTo>
                    <a:pt x="3342" y="0"/>
                    <a:pt x="3799" y="614"/>
                    <a:pt x="3799" y="1527"/>
                  </a:cubicBezTo>
                  <a:lnTo>
                    <a:pt x="3799" y="6353"/>
                  </a:lnTo>
                  <a:cubicBezTo>
                    <a:pt x="3799" y="7267"/>
                    <a:pt x="3342" y="7881"/>
                    <a:pt x="2413" y="7881"/>
                  </a:cubicBezTo>
                  <a:cubicBezTo>
                    <a:pt x="1785" y="7881"/>
                    <a:pt x="1342" y="7581"/>
                    <a:pt x="1085" y="7324"/>
                  </a:cubicBezTo>
                  <a:lnTo>
                    <a:pt x="1085" y="9811"/>
                  </a:lnTo>
                  <a:lnTo>
                    <a:pt x="0" y="9811"/>
                  </a:lnTo>
                  <a:lnTo>
                    <a:pt x="0" y="85"/>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endParaRPr lang="en-US"/>
            </a:p>
          </p:txBody>
        </p:sp>
        <p:sp>
          <p:nvSpPr>
            <p:cNvPr id="27" name="Freeform 3">
              <a:extLst>
                <a:ext uri="{FF2B5EF4-FFF2-40B4-BE49-F238E27FC236}">
                  <a16:creationId xmlns:a16="http://schemas.microsoft.com/office/drawing/2014/main" id="{47B71725-C69A-2460-6CFE-D6171771F844}"/>
                </a:ext>
              </a:extLst>
            </p:cNvPr>
            <p:cNvSpPr>
              <a:spLocks noChangeArrowheads="1"/>
            </p:cNvSpPr>
            <p:nvPr/>
          </p:nvSpPr>
          <p:spPr bwMode="auto">
            <a:xfrm>
              <a:off x="4711700" y="2035175"/>
              <a:ext cx="1328738" cy="2836863"/>
            </a:xfrm>
            <a:custGeom>
              <a:avLst/>
              <a:gdLst>
                <a:gd name="T0" fmla="*/ 937679 w 3690"/>
                <a:gd name="T1" fmla="*/ 2338019 h 7882"/>
                <a:gd name="T2" fmla="*/ 937679 w 3690"/>
                <a:gd name="T3" fmla="*/ 1422750 h 7882"/>
                <a:gd name="T4" fmla="*/ 582988 w 3690"/>
                <a:gd name="T5" fmla="*/ 1556999 h 7882"/>
                <a:gd name="T6" fmla="*/ 392500 w 3690"/>
                <a:gd name="T7" fmla="*/ 1844573 h 7882"/>
                <a:gd name="T8" fmla="*/ 392500 w 3690"/>
                <a:gd name="T9" fmla="*/ 2266035 h 7882"/>
                <a:gd name="T10" fmla="*/ 582988 w 3690"/>
                <a:gd name="T11" fmla="*/ 2466149 h 7882"/>
                <a:gd name="T12" fmla="*/ 937679 w 3690"/>
                <a:gd name="T13" fmla="*/ 2338019 h 7882"/>
                <a:gd name="T14" fmla="*/ 2161 w 3690"/>
                <a:gd name="T15" fmla="*/ 1839174 h 7882"/>
                <a:gd name="T16" fmla="*/ 413025 w 3690"/>
                <a:gd name="T17" fmla="*/ 1253950 h 7882"/>
                <a:gd name="T18" fmla="*/ 937679 w 3690"/>
                <a:gd name="T19" fmla="*/ 1073991 h 7882"/>
                <a:gd name="T20" fmla="*/ 937679 w 3690"/>
                <a:gd name="T21" fmla="*/ 611498 h 7882"/>
                <a:gd name="T22" fmla="*/ 690656 w 3690"/>
                <a:gd name="T23" fmla="*/ 359557 h 7882"/>
                <a:gd name="T24" fmla="*/ 627280 w 3690"/>
                <a:gd name="T25" fmla="*/ 359557 h 7882"/>
                <a:gd name="T26" fmla="*/ 380257 w 3690"/>
                <a:gd name="T27" fmla="*/ 611498 h 7882"/>
                <a:gd name="T28" fmla="*/ 380257 w 3690"/>
                <a:gd name="T29" fmla="*/ 1004527 h 7882"/>
                <a:gd name="T30" fmla="*/ 0 w 3690"/>
                <a:gd name="T31" fmla="*/ 1004527 h 7882"/>
                <a:gd name="T32" fmla="*/ 0 w 3690"/>
                <a:gd name="T33" fmla="*/ 626975 h 7882"/>
                <a:gd name="T34" fmla="*/ 627280 w 3690"/>
                <a:gd name="T35" fmla="*/ 0 h 7882"/>
                <a:gd name="T36" fmla="*/ 701098 w 3690"/>
                <a:gd name="T37" fmla="*/ 0 h 7882"/>
                <a:gd name="T38" fmla="*/ 1328378 w 3690"/>
                <a:gd name="T39" fmla="*/ 626975 h 7882"/>
                <a:gd name="T40" fmla="*/ 1328378 w 3690"/>
                <a:gd name="T41" fmla="*/ 2805550 h 7882"/>
                <a:gd name="T42" fmla="*/ 937679 w 3690"/>
                <a:gd name="T43" fmla="*/ 2805550 h 7882"/>
                <a:gd name="T44" fmla="*/ 937679 w 3690"/>
                <a:gd name="T45" fmla="*/ 2630631 h 7882"/>
                <a:gd name="T46" fmla="*/ 459477 w 3690"/>
                <a:gd name="T47" fmla="*/ 2836503 h 7882"/>
                <a:gd name="T48" fmla="*/ 2161 w 3690"/>
                <a:gd name="T49" fmla="*/ 2348096 h 7882"/>
                <a:gd name="T50" fmla="*/ 2161 w 3690"/>
                <a:gd name="T51" fmla="*/ 1839174 h 7882"/>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3690" h="7882">
                  <a:moveTo>
                    <a:pt x="2604" y="6496"/>
                  </a:moveTo>
                  <a:lnTo>
                    <a:pt x="2604" y="3953"/>
                  </a:lnTo>
                  <a:lnTo>
                    <a:pt x="1619" y="4326"/>
                  </a:lnTo>
                  <a:cubicBezTo>
                    <a:pt x="1219" y="4483"/>
                    <a:pt x="1090" y="4683"/>
                    <a:pt x="1090" y="5125"/>
                  </a:cubicBezTo>
                  <a:lnTo>
                    <a:pt x="1090" y="6296"/>
                  </a:lnTo>
                  <a:cubicBezTo>
                    <a:pt x="1090" y="6667"/>
                    <a:pt x="1276" y="6852"/>
                    <a:pt x="1619" y="6852"/>
                  </a:cubicBezTo>
                  <a:cubicBezTo>
                    <a:pt x="1947" y="6852"/>
                    <a:pt x="2247" y="6738"/>
                    <a:pt x="2604" y="6496"/>
                  </a:cubicBezTo>
                  <a:close/>
                  <a:moveTo>
                    <a:pt x="6" y="5110"/>
                  </a:moveTo>
                  <a:cubicBezTo>
                    <a:pt x="6" y="4155"/>
                    <a:pt x="320" y="3769"/>
                    <a:pt x="1147" y="3484"/>
                  </a:cubicBezTo>
                  <a:lnTo>
                    <a:pt x="2604" y="2984"/>
                  </a:lnTo>
                  <a:lnTo>
                    <a:pt x="2604" y="1699"/>
                  </a:lnTo>
                  <a:cubicBezTo>
                    <a:pt x="2604" y="1242"/>
                    <a:pt x="2375" y="999"/>
                    <a:pt x="1918" y="999"/>
                  </a:cubicBezTo>
                  <a:lnTo>
                    <a:pt x="1742" y="999"/>
                  </a:lnTo>
                  <a:cubicBezTo>
                    <a:pt x="1285" y="999"/>
                    <a:pt x="1056" y="1242"/>
                    <a:pt x="1056" y="1699"/>
                  </a:cubicBezTo>
                  <a:lnTo>
                    <a:pt x="1056" y="2791"/>
                  </a:lnTo>
                  <a:lnTo>
                    <a:pt x="0" y="2791"/>
                  </a:lnTo>
                  <a:lnTo>
                    <a:pt x="0" y="1742"/>
                  </a:lnTo>
                  <a:cubicBezTo>
                    <a:pt x="0" y="585"/>
                    <a:pt x="586" y="0"/>
                    <a:pt x="1742" y="0"/>
                  </a:cubicBezTo>
                  <a:lnTo>
                    <a:pt x="1947" y="0"/>
                  </a:lnTo>
                  <a:cubicBezTo>
                    <a:pt x="3104" y="0"/>
                    <a:pt x="3689" y="585"/>
                    <a:pt x="3689" y="1742"/>
                  </a:cubicBezTo>
                  <a:lnTo>
                    <a:pt x="3689" y="7795"/>
                  </a:lnTo>
                  <a:lnTo>
                    <a:pt x="2604" y="7795"/>
                  </a:lnTo>
                  <a:lnTo>
                    <a:pt x="2604" y="7309"/>
                  </a:lnTo>
                  <a:cubicBezTo>
                    <a:pt x="2304" y="7595"/>
                    <a:pt x="1904" y="7881"/>
                    <a:pt x="1276" y="7881"/>
                  </a:cubicBezTo>
                  <a:cubicBezTo>
                    <a:pt x="406" y="7881"/>
                    <a:pt x="6" y="7381"/>
                    <a:pt x="6" y="6524"/>
                  </a:cubicBezTo>
                  <a:lnTo>
                    <a:pt x="6" y="5110"/>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endParaRPr lang="en-US"/>
            </a:p>
          </p:txBody>
        </p:sp>
        <p:sp>
          <p:nvSpPr>
            <p:cNvPr id="28" name="Freeform 4">
              <a:extLst>
                <a:ext uri="{FF2B5EF4-FFF2-40B4-BE49-F238E27FC236}">
                  <a16:creationId xmlns:a16="http://schemas.microsoft.com/office/drawing/2014/main" id="{0B2355A8-8A49-1E72-0F02-8D57FB8FECEF}"/>
                </a:ext>
              </a:extLst>
            </p:cNvPr>
            <p:cNvSpPr>
              <a:spLocks noChangeArrowheads="1"/>
            </p:cNvSpPr>
            <p:nvPr/>
          </p:nvSpPr>
          <p:spPr bwMode="auto">
            <a:xfrm>
              <a:off x="6292850" y="2035175"/>
              <a:ext cx="2262188" cy="2806700"/>
            </a:xfrm>
            <a:custGeom>
              <a:avLst/>
              <a:gdLst>
                <a:gd name="T0" fmla="*/ 1326358 w 6285"/>
                <a:gd name="T1" fmla="*/ 2806340 h 7796"/>
                <a:gd name="T2" fmla="*/ 935470 w 6285"/>
                <a:gd name="T3" fmla="*/ 2806340 h 7796"/>
                <a:gd name="T4" fmla="*/ 935470 w 6285"/>
                <a:gd name="T5" fmla="*/ 570628 h 7796"/>
                <a:gd name="T6" fmla="*/ 750463 w 6285"/>
                <a:gd name="T7" fmla="*/ 370098 h 7796"/>
                <a:gd name="T8" fmla="*/ 390889 w 6285"/>
                <a:gd name="T9" fmla="*/ 508705 h 7796"/>
                <a:gd name="T10" fmla="*/ 390889 w 6285"/>
                <a:gd name="T11" fmla="*/ 2806340 h 7796"/>
                <a:gd name="T12" fmla="*/ 0 w 6285"/>
                <a:gd name="T13" fmla="*/ 2806340 h 7796"/>
                <a:gd name="T14" fmla="*/ 0 w 6285"/>
                <a:gd name="T15" fmla="*/ 30602 h 7796"/>
                <a:gd name="T16" fmla="*/ 390889 w 6285"/>
                <a:gd name="T17" fmla="*/ 30602 h 7796"/>
                <a:gd name="T18" fmla="*/ 390889 w 6285"/>
                <a:gd name="T19" fmla="*/ 210611 h 7796"/>
                <a:gd name="T20" fmla="*/ 868882 w 6285"/>
                <a:gd name="T21" fmla="*/ 0 h 7796"/>
                <a:gd name="T22" fmla="*/ 1274888 w 6285"/>
                <a:gd name="T23" fmla="*/ 226091 h 7796"/>
                <a:gd name="T24" fmla="*/ 1804351 w 6285"/>
                <a:gd name="T25" fmla="*/ 0 h 7796"/>
                <a:gd name="T26" fmla="*/ 2261828 w 6285"/>
                <a:gd name="T27" fmla="*/ 488184 h 7796"/>
                <a:gd name="T28" fmla="*/ 2261828 w 6285"/>
                <a:gd name="T29" fmla="*/ 2806340 h 7796"/>
                <a:gd name="T30" fmla="*/ 1870939 w 6285"/>
                <a:gd name="T31" fmla="*/ 2806340 h 7796"/>
                <a:gd name="T32" fmla="*/ 1870939 w 6285"/>
                <a:gd name="T33" fmla="*/ 570628 h 7796"/>
                <a:gd name="T34" fmla="*/ 1685933 w 6285"/>
                <a:gd name="T35" fmla="*/ 370098 h 7796"/>
                <a:gd name="T36" fmla="*/ 1326358 w 6285"/>
                <a:gd name="T37" fmla="*/ 508705 h 7796"/>
                <a:gd name="T38" fmla="*/ 1326358 w 6285"/>
                <a:gd name="T39" fmla="*/ 2806340 h 779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6285" h="7796">
                  <a:moveTo>
                    <a:pt x="3685" y="7795"/>
                  </a:moveTo>
                  <a:lnTo>
                    <a:pt x="2599" y="7795"/>
                  </a:lnTo>
                  <a:lnTo>
                    <a:pt x="2599" y="1585"/>
                  </a:lnTo>
                  <a:cubicBezTo>
                    <a:pt x="2599" y="1199"/>
                    <a:pt x="2414" y="1028"/>
                    <a:pt x="2085" y="1028"/>
                  </a:cubicBezTo>
                  <a:cubicBezTo>
                    <a:pt x="1785" y="1028"/>
                    <a:pt x="1471" y="1142"/>
                    <a:pt x="1086" y="1413"/>
                  </a:cubicBezTo>
                  <a:lnTo>
                    <a:pt x="1086" y="7795"/>
                  </a:lnTo>
                  <a:lnTo>
                    <a:pt x="0" y="7795"/>
                  </a:lnTo>
                  <a:lnTo>
                    <a:pt x="0" y="85"/>
                  </a:lnTo>
                  <a:lnTo>
                    <a:pt x="1086" y="85"/>
                  </a:lnTo>
                  <a:lnTo>
                    <a:pt x="1086" y="585"/>
                  </a:lnTo>
                  <a:cubicBezTo>
                    <a:pt x="1400" y="285"/>
                    <a:pt x="1814" y="0"/>
                    <a:pt x="2414" y="0"/>
                  </a:cubicBezTo>
                  <a:cubicBezTo>
                    <a:pt x="2971" y="0"/>
                    <a:pt x="3342" y="228"/>
                    <a:pt x="3542" y="628"/>
                  </a:cubicBezTo>
                  <a:cubicBezTo>
                    <a:pt x="3928" y="299"/>
                    <a:pt x="4385" y="0"/>
                    <a:pt x="5013" y="0"/>
                  </a:cubicBezTo>
                  <a:cubicBezTo>
                    <a:pt x="5855" y="0"/>
                    <a:pt x="6284" y="514"/>
                    <a:pt x="6284" y="1356"/>
                  </a:cubicBezTo>
                  <a:lnTo>
                    <a:pt x="6284" y="7795"/>
                  </a:lnTo>
                  <a:lnTo>
                    <a:pt x="5198" y="7795"/>
                  </a:lnTo>
                  <a:lnTo>
                    <a:pt x="5198" y="1585"/>
                  </a:lnTo>
                  <a:cubicBezTo>
                    <a:pt x="5198" y="1199"/>
                    <a:pt x="5013" y="1028"/>
                    <a:pt x="4684" y="1028"/>
                  </a:cubicBezTo>
                  <a:cubicBezTo>
                    <a:pt x="4385" y="1028"/>
                    <a:pt x="4070" y="1142"/>
                    <a:pt x="3685" y="1413"/>
                  </a:cubicBezTo>
                  <a:lnTo>
                    <a:pt x="3685" y="7795"/>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endParaRPr lang="en-US"/>
            </a:p>
          </p:txBody>
        </p:sp>
        <p:sp>
          <p:nvSpPr>
            <p:cNvPr id="29" name="Freeform 5">
              <a:extLst>
                <a:ext uri="{FF2B5EF4-FFF2-40B4-BE49-F238E27FC236}">
                  <a16:creationId xmlns:a16="http://schemas.microsoft.com/office/drawing/2014/main" id="{EBEB0854-4AE2-A415-AB21-E7A2FD83D685}"/>
                </a:ext>
              </a:extLst>
            </p:cNvPr>
            <p:cNvSpPr>
              <a:spLocks noChangeArrowheads="1"/>
            </p:cNvSpPr>
            <p:nvPr/>
          </p:nvSpPr>
          <p:spPr bwMode="auto">
            <a:xfrm>
              <a:off x="14288" y="2322513"/>
              <a:ext cx="1004887" cy="2274887"/>
            </a:xfrm>
            <a:custGeom>
              <a:avLst/>
              <a:gdLst>
                <a:gd name="T0" fmla="*/ 1004527 w 2790"/>
                <a:gd name="T1" fmla="*/ 0 h 6317"/>
                <a:gd name="T2" fmla="*/ 1004527 w 2790"/>
                <a:gd name="T3" fmla="*/ 510652 h 6317"/>
                <a:gd name="T4" fmla="*/ 346488 w 2790"/>
                <a:gd name="T5" fmla="*/ 1137624 h 6317"/>
                <a:gd name="T6" fmla="*/ 1004527 w 2790"/>
                <a:gd name="T7" fmla="*/ 1752711 h 6317"/>
                <a:gd name="T8" fmla="*/ 1004527 w 2790"/>
                <a:gd name="T9" fmla="*/ 2274527 h 6317"/>
                <a:gd name="T10" fmla="*/ 0 w 2790"/>
                <a:gd name="T11" fmla="*/ 1331009 h 6317"/>
                <a:gd name="T12" fmla="*/ 0 w 2790"/>
                <a:gd name="T13" fmla="*/ 955042 h 6317"/>
                <a:gd name="T14" fmla="*/ 1004527 w 2790"/>
                <a:gd name="T15" fmla="*/ 0 h 6317"/>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2790" h="6317">
                  <a:moveTo>
                    <a:pt x="2789" y="0"/>
                  </a:moveTo>
                  <a:lnTo>
                    <a:pt x="2789" y="1418"/>
                  </a:lnTo>
                  <a:lnTo>
                    <a:pt x="962" y="3159"/>
                  </a:lnTo>
                  <a:lnTo>
                    <a:pt x="2789" y="4867"/>
                  </a:lnTo>
                  <a:lnTo>
                    <a:pt x="2789" y="6316"/>
                  </a:lnTo>
                  <a:lnTo>
                    <a:pt x="0" y="3696"/>
                  </a:lnTo>
                  <a:lnTo>
                    <a:pt x="0" y="2652"/>
                  </a:lnTo>
                  <a:lnTo>
                    <a:pt x="2789"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endParaRPr lang="en-US"/>
            </a:p>
          </p:txBody>
        </p:sp>
        <p:sp>
          <p:nvSpPr>
            <p:cNvPr id="30" name="Freeform 6">
              <a:extLst>
                <a:ext uri="{FF2B5EF4-FFF2-40B4-BE49-F238E27FC236}">
                  <a16:creationId xmlns:a16="http://schemas.microsoft.com/office/drawing/2014/main" id="{72BD637D-2AEE-3F9D-9E11-13F08F2A4B6F}"/>
                </a:ext>
              </a:extLst>
            </p:cNvPr>
            <p:cNvSpPr>
              <a:spLocks noChangeArrowheads="1"/>
            </p:cNvSpPr>
            <p:nvPr/>
          </p:nvSpPr>
          <p:spPr bwMode="auto">
            <a:xfrm>
              <a:off x="9050338" y="2322513"/>
              <a:ext cx="1003300" cy="2274887"/>
            </a:xfrm>
            <a:custGeom>
              <a:avLst/>
              <a:gdLst>
                <a:gd name="T0" fmla="*/ 1002940 w 2789"/>
                <a:gd name="T1" fmla="*/ 955042 h 6317"/>
                <a:gd name="T2" fmla="*/ 1002940 w 2789"/>
                <a:gd name="T3" fmla="*/ 1331009 h 6317"/>
                <a:gd name="T4" fmla="*/ 0 w 2789"/>
                <a:gd name="T5" fmla="*/ 2274527 h 6317"/>
                <a:gd name="T6" fmla="*/ 0 w 2789"/>
                <a:gd name="T7" fmla="*/ 1752711 h 6317"/>
                <a:gd name="T8" fmla="*/ 656876 w 2789"/>
                <a:gd name="T9" fmla="*/ 1137624 h 6317"/>
                <a:gd name="T10" fmla="*/ 0 w 2789"/>
                <a:gd name="T11" fmla="*/ 510652 h 6317"/>
                <a:gd name="T12" fmla="*/ 0 w 2789"/>
                <a:gd name="T13" fmla="*/ 0 h 6317"/>
                <a:gd name="T14" fmla="*/ 1002940 w 2789"/>
                <a:gd name="T15" fmla="*/ 955042 h 6317"/>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2789" h="6317">
                  <a:moveTo>
                    <a:pt x="2788" y="2652"/>
                  </a:moveTo>
                  <a:lnTo>
                    <a:pt x="2788" y="3696"/>
                  </a:lnTo>
                  <a:lnTo>
                    <a:pt x="0" y="6316"/>
                  </a:lnTo>
                  <a:lnTo>
                    <a:pt x="0" y="4867"/>
                  </a:lnTo>
                  <a:lnTo>
                    <a:pt x="1826" y="3159"/>
                  </a:lnTo>
                  <a:lnTo>
                    <a:pt x="0" y="1418"/>
                  </a:lnTo>
                  <a:lnTo>
                    <a:pt x="0" y="0"/>
                  </a:lnTo>
                  <a:lnTo>
                    <a:pt x="2788" y="2652"/>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endParaRPr lang="en-US"/>
            </a:p>
          </p:txBody>
        </p:sp>
      </p:grpSp>
      <p:sp>
        <p:nvSpPr>
          <p:cNvPr id="31" name="Footer Placeholder 14">
            <a:extLst>
              <a:ext uri="{FF2B5EF4-FFF2-40B4-BE49-F238E27FC236}">
                <a16:creationId xmlns:a16="http://schemas.microsoft.com/office/drawing/2014/main" id="{D878BC34-4BCF-9F7B-30E7-105A783B73CE}"/>
              </a:ext>
            </a:extLst>
          </p:cNvPr>
          <p:cNvSpPr txBox="1">
            <a:spLocks/>
          </p:cNvSpPr>
          <p:nvPr userDrawn="1"/>
        </p:nvSpPr>
        <p:spPr>
          <a:xfrm>
            <a:off x="1206203" y="6411603"/>
            <a:ext cx="2157779" cy="228599"/>
          </a:xfrm>
          <a:prstGeom prst="rect">
            <a:avLst/>
          </a:prstGeom>
        </p:spPr>
        <p:txBody>
          <a:bodyPr vert="horz" lIns="0" tIns="0" rIns="0" bIns="0" rtlCol="0" anchor="ctr"/>
          <a:lstStyle>
            <a:defPPr>
              <a:defRPr lang="en-US"/>
            </a:defPPr>
            <a:lvl1pPr marL="0" algn="r" defTabSz="914400" rtl="0" eaLnBrk="1" latinLnBrk="0" hangingPunct="1">
              <a:defRPr sz="600" b="0" i="0" kern="1200">
                <a:solidFill>
                  <a:schemeClr val="tx1"/>
                </a:solidFill>
                <a:latin typeface="+mn-lt"/>
                <a:ea typeface="Calibri" panose="020F0502020204030204" pitchFamily="34" charset="0"/>
                <a:cs typeface="Calibri" panose="020F050202020403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b="0" i="0">
                <a:solidFill>
                  <a:schemeClr val="bg1"/>
                </a:solidFill>
                <a:latin typeface="+mn-lt"/>
              </a:rPr>
              <a:t>EPAM Proprietary &amp; Confidential</a:t>
            </a:r>
            <a:r>
              <a:rPr lang="ru-RU" b="0" i="0">
                <a:solidFill>
                  <a:schemeClr val="bg1"/>
                </a:solidFill>
                <a:latin typeface="+mn-lt"/>
              </a:rPr>
              <a:t> </a:t>
            </a:r>
            <a:endParaRPr lang="en-US" b="0" i="0">
              <a:solidFill>
                <a:schemeClr val="bg1"/>
              </a:solidFill>
              <a:latin typeface="+mn-lt"/>
            </a:endParaRPr>
          </a:p>
        </p:txBody>
      </p:sp>
      <p:pic>
        <p:nvPicPr>
          <p:cNvPr id="2" name="Graphic 1">
            <a:extLst>
              <a:ext uri="{FF2B5EF4-FFF2-40B4-BE49-F238E27FC236}">
                <a16:creationId xmlns:a16="http://schemas.microsoft.com/office/drawing/2014/main" id="{F15FDA35-4E26-2309-DD0D-4C201EA3F8B0}"/>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820266" y="6419060"/>
            <a:ext cx="762921" cy="205636"/>
          </a:xfrm>
          <a:prstGeom prst="rect">
            <a:avLst/>
          </a:prstGeom>
        </p:spPr>
      </p:pic>
    </p:spTree>
    <p:extLst>
      <p:ext uri="{BB962C8B-B14F-4D97-AF65-F5344CB8AC3E}">
        <p14:creationId xmlns:p14="http://schemas.microsoft.com/office/powerpoint/2010/main" val="1526428599"/>
      </p:ext>
    </p:extLst>
  </p:cSld>
  <p:clrMapOvr>
    <a:masterClrMapping/>
  </p:clrMapOvr>
  <p:extLst>
    <p:ext uri="{DCECCB84-F9BA-43D5-87BE-67443E8EF086}">
      <p15:sldGuideLst xmlns:p15="http://schemas.microsoft.com/office/powerpoint/2012/main"/>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Our_People_3_People">
    <p:bg>
      <p:bgPr>
        <a:solidFill>
          <a:schemeClr val="bg1"/>
        </a:solidFill>
        <a:effectLst/>
      </p:bgPr>
    </p:bg>
    <p:spTree>
      <p:nvGrpSpPr>
        <p:cNvPr id="1" name=""/>
        <p:cNvGrpSpPr/>
        <p:nvPr/>
      </p:nvGrpSpPr>
      <p:grpSpPr>
        <a:xfrm>
          <a:off x="0" y="0"/>
          <a:ext cx="0" cy="0"/>
          <a:chOff x="0" y="0"/>
          <a:chExt cx="0" cy="0"/>
        </a:xfrm>
      </p:grpSpPr>
      <p:sp>
        <p:nvSpPr>
          <p:cNvPr id="7" name="Text Placeholder 4">
            <a:extLst>
              <a:ext uri="{FF2B5EF4-FFF2-40B4-BE49-F238E27FC236}">
                <a16:creationId xmlns:a16="http://schemas.microsoft.com/office/drawing/2014/main" id="{97881F8F-A8EB-2813-47A6-219B2122F63E}"/>
              </a:ext>
            </a:extLst>
          </p:cNvPr>
          <p:cNvSpPr>
            <a:spLocks noGrp="1"/>
          </p:cNvSpPr>
          <p:nvPr>
            <p:ph type="body" sz="quarter" idx="25" hasCustomPrompt="1"/>
          </p:nvPr>
        </p:nvSpPr>
        <p:spPr>
          <a:xfrm>
            <a:off x="647700" y="2916672"/>
            <a:ext cx="3467100" cy="537198"/>
          </a:xfrm>
          <a:prstGeom prst="rect">
            <a:avLst/>
          </a:prstGeom>
        </p:spPr>
        <p:txBody>
          <a:bodyPr wrap="square">
            <a:spAutoFit/>
          </a:bodyPr>
          <a:lstStyle>
            <a:lvl1pPr>
              <a:lnSpc>
                <a:spcPts val="4600"/>
              </a:lnSpc>
              <a:spcBef>
                <a:spcPts val="0"/>
              </a:spcBef>
              <a:defRPr sz="2400" b="1" i="0" spc="0">
                <a:solidFill>
                  <a:schemeClr val="tx1"/>
                </a:solidFill>
                <a:latin typeface="Calibri" panose="020F0502020204030204" pitchFamily="34" charset="0"/>
                <a:cs typeface="Calibri" panose="020F0502020204030204" pitchFamily="34" charset="0"/>
              </a:defRPr>
            </a:lvl1pPr>
            <a:lvl2pPr>
              <a:buNone/>
              <a:defRPr/>
            </a:lvl2pPr>
          </a:lstStyle>
          <a:p>
            <a:pPr lvl="0"/>
            <a:r>
              <a:rPr lang="en-US">
                <a:effectLst/>
              </a:rPr>
              <a:t>Name </a:t>
            </a:r>
            <a:r>
              <a:rPr lang="en-US" err="1">
                <a:effectLst/>
              </a:rPr>
              <a:t>Lastname</a:t>
            </a:r>
            <a:endParaRPr lang="en-US"/>
          </a:p>
        </p:txBody>
      </p:sp>
      <p:sp>
        <p:nvSpPr>
          <p:cNvPr id="10" name="Text Placeholder 4">
            <a:extLst>
              <a:ext uri="{FF2B5EF4-FFF2-40B4-BE49-F238E27FC236}">
                <a16:creationId xmlns:a16="http://schemas.microsoft.com/office/drawing/2014/main" id="{52343B4A-3451-DAED-5CA3-845DCEF785DA}"/>
              </a:ext>
            </a:extLst>
          </p:cNvPr>
          <p:cNvSpPr>
            <a:spLocks noGrp="1"/>
          </p:cNvSpPr>
          <p:nvPr>
            <p:ph type="body" sz="quarter" idx="26" hasCustomPrompt="1"/>
          </p:nvPr>
        </p:nvSpPr>
        <p:spPr>
          <a:xfrm>
            <a:off x="647700" y="3530414"/>
            <a:ext cx="3467100" cy="215444"/>
          </a:xfrm>
          <a:prstGeom prst="rect">
            <a:avLst/>
          </a:prstGeom>
        </p:spPr>
        <p:txBody>
          <a:bodyPr wrap="square" anchor="t" anchorCtr="0">
            <a:spAutoFit/>
          </a:bodyPr>
          <a:lstStyle>
            <a:lvl1pPr marL="0" marR="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sz="1400" b="1" i="0">
                <a:solidFill>
                  <a:schemeClr val="tx1"/>
                </a:solidFill>
                <a:latin typeface="Calibri" panose="020F0502020204030204" pitchFamily="34" charset="0"/>
                <a:cs typeface="Calibri" panose="020F0502020204030204" pitchFamily="34" charset="0"/>
              </a:defRPr>
            </a:lvl1pPr>
          </a:lstStyle>
          <a:p>
            <a:r>
              <a:rPr lang="en-US"/>
              <a:t>Title</a:t>
            </a:r>
          </a:p>
        </p:txBody>
      </p:sp>
      <p:sp>
        <p:nvSpPr>
          <p:cNvPr id="2" name="Picture Placeholder 11">
            <a:extLst>
              <a:ext uri="{FF2B5EF4-FFF2-40B4-BE49-F238E27FC236}">
                <a16:creationId xmlns:a16="http://schemas.microsoft.com/office/drawing/2014/main" id="{D059CF42-DE64-D215-F33D-AEF5AC07DB76}"/>
              </a:ext>
            </a:extLst>
          </p:cNvPr>
          <p:cNvSpPr>
            <a:spLocks noGrp="1"/>
          </p:cNvSpPr>
          <p:nvPr>
            <p:ph type="pic" sz="quarter" idx="28"/>
          </p:nvPr>
        </p:nvSpPr>
        <p:spPr>
          <a:xfrm>
            <a:off x="647700" y="795020"/>
            <a:ext cx="1866900" cy="1981200"/>
          </a:xfrm>
          <a:prstGeom prst="rect">
            <a:avLst/>
          </a:prstGeom>
        </p:spPr>
        <p:txBody>
          <a:bodyPr/>
          <a:lstStyle/>
          <a:p>
            <a:endParaRPr lang="en-US"/>
          </a:p>
        </p:txBody>
      </p:sp>
      <p:sp>
        <p:nvSpPr>
          <p:cNvPr id="3" name="Text Placeholder 4">
            <a:extLst>
              <a:ext uri="{FF2B5EF4-FFF2-40B4-BE49-F238E27FC236}">
                <a16:creationId xmlns:a16="http://schemas.microsoft.com/office/drawing/2014/main" id="{FC1C1359-8F08-C0F3-2D34-47EA322BD228}"/>
              </a:ext>
            </a:extLst>
          </p:cNvPr>
          <p:cNvSpPr>
            <a:spLocks noGrp="1"/>
          </p:cNvSpPr>
          <p:nvPr>
            <p:ph type="body" sz="quarter" idx="16" hasCustomPrompt="1"/>
          </p:nvPr>
        </p:nvSpPr>
        <p:spPr>
          <a:xfrm>
            <a:off x="647700" y="3972655"/>
            <a:ext cx="2781300" cy="2035109"/>
          </a:xfrm>
          <a:prstGeom prst="rect">
            <a:avLst/>
          </a:prstGeom>
        </p:spPr>
        <p:txBody>
          <a:bodyPr wrap="square" anchor="t" anchorCtr="0">
            <a:spAutoFit/>
          </a:bodyPr>
          <a:lstStyle>
            <a:lvl1pPr marL="0" marR="0" indent="0" algn="l" defTabSz="914400" rtl="0" eaLnBrk="1" fontAlgn="auto" latinLnBrk="0" hangingPunct="1">
              <a:lnSpc>
                <a:spcPts val="2000"/>
              </a:lnSpc>
              <a:spcBef>
                <a:spcPts val="600"/>
              </a:spcBef>
              <a:spcAft>
                <a:spcPts val="0"/>
              </a:spcAft>
              <a:buClrTx/>
              <a:buSzTx/>
              <a:buFont typeface="Arial" panose="020B0604020202020204" pitchFamily="34" charset="0"/>
              <a:buNone/>
              <a:tabLst/>
              <a:defRPr sz="1400" b="0" i="0">
                <a:solidFill>
                  <a:schemeClr val="tx1"/>
                </a:solidFill>
                <a:latin typeface="Calibri Light" panose="020F0302020204030204" pitchFamily="34" charset="0"/>
                <a:cs typeface="Calibri Light" panose="020F0302020204030204" pitchFamily="34" charset="0"/>
              </a:defRPr>
            </a:lvl1pPr>
          </a:lstStyle>
          <a:p>
            <a:r>
              <a:rPr lang="en-US"/>
              <a:t>Lorem ipsum </a:t>
            </a:r>
            <a:r>
              <a:rPr lang="en-US" err="1"/>
              <a:t>nulla</a:t>
            </a:r>
            <a:r>
              <a:rPr lang="en-US"/>
              <a:t> </a:t>
            </a:r>
            <a:r>
              <a:rPr lang="en-US" err="1"/>
              <a:t>primis</a:t>
            </a:r>
            <a:r>
              <a:rPr lang="en-US"/>
              <a:t> eros mi </a:t>
            </a:r>
            <a:r>
              <a:rPr lang="en-US" err="1"/>
              <a:t>maecenas</a:t>
            </a:r>
            <a:r>
              <a:rPr lang="en-US"/>
              <a:t> ligula magna, </a:t>
            </a:r>
            <a:r>
              <a:rPr lang="en-US" err="1"/>
              <a:t>nibh</a:t>
            </a:r>
            <a:r>
              <a:rPr lang="en-US"/>
              <a:t> </a:t>
            </a:r>
            <a:r>
              <a:rPr lang="en-US" err="1"/>
              <a:t>commodo</a:t>
            </a:r>
            <a:r>
              <a:rPr lang="en-US"/>
              <a:t> </a:t>
            </a:r>
            <a:r>
              <a:rPr lang="en-US" err="1"/>
              <a:t>aenean</a:t>
            </a:r>
            <a:r>
              <a:rPr lang="en-US"/>
              <a:t> </a:t>
            </a:r>
            <a:r>
              <a:rPr lang="en-US" err="1"/>
              <a:t>leo</a:t>
            </a:r>
            <a:r>
              <a:rPr lang="en-US"/>
              <a:t> porta </a:t>
            </a:r>
            <a:r>
              <a:rPr lang="en-US" err="1"/>
              <a:t>duis</a:t>
            </a:r>
            <a:r>
              <a:rPr lang="en-US"/>
              <a:t> magna </a:t>
            </a:r>
            <a:r>
              <a:rPr lang="en-US" err="1"/>
              <a:t>felis</a:t>
            </a:r>
            <a:r>
              <a:rPr lang="en-US"/>
              <a:t> </a:t>
            </a:r>
            <a:r>
              <a:rPr lang="en-US" err="1"/>
              <a:t>bibendum</a:t>
            </a:r>
            <a:r>
              <a:rPr lang="en-US"/>
              <a:t> </a:t>
            </a:r>
            <a:r>
              <a:rPr lang="en-US" err="1"/>
              <a:t>tempor</a:t>
            </a:r>
            <a:r>
              <a:rPr lang="en-US"/>
              <a:t> </a:t>
            </a:r>
            <a:r>
              <a:rPr lang="en-US" err="1"/>
              <a:t>cubilia</a:t>
            </a:r>
            <a:r>
              <a:rPr lang="en-US"/>
              <a:t> gravida </a:t>
            </a:r>
            <a:r>
              <a:rPr lang="en-US" err="1"/>
              <a:t>molestie</a:t>
            </a:r>
            <a:r>
              <a:rPr lang="en-US"/>
              <a:t> a </a:t>
            </a:r>
            <a:r>
              <a:rPr lang="en-US" err="1"/>
              <a:t>pretium</a:t>
            </a:r>
            <a:r>
              <a:rPr lang="en-US"/>
              <a:t> </a:t>
            </a:r>
            <a:r>
              <a:rPr lang="en-US" err="1"/>
              <a:t>egestas</a:t>
            </a:r>
            <a:r>
              <a:rPr lang="en-US"/>
              <a:t> </a:t>
            </a:r>
            <a:r>
              <a:rPr lang="en-US" err="1"/>
              <a:t>iaculis</a:t>
            </a:r>
            <a:r>
              <a:rPr lang="en-US"/>
              <a:t> per, eros sit </a:t>
            </a:r>
            <a:r>
              <a:rPr lang="en-US" err="1"/>
              <a:t>leo</a:t>
            </a:r>
            <a:r>
              <a:rPr lang="en-US"/>
              <a:t> </a:t>
            </a:r>
            <a:r>
              <a:rPr lang="en-US" err="1"/>
              <a:t>augue</a:t>
            </a:r>
            <a:r>
              <a:rPr lang="en-US"/>
              <a:t> tempus </a:t>
            </a:r>
            <a:r>
              <a:rPr lang="en-US" err="1"/>
              <a:t>consectetur</a:t>
            </a:r>
            <a:r>
              <a:rPr lang="en-US"/>
              <a:t> </a:t>
            </a:r>
            <a:r>
              <a:rPr lang="en-US" err="1"/>
              <a:t>primis</a:t>
            </a:r>
            <a:r>
              <a:rPr lang="en-US"/>
              <a:t> dolor ac </a:t>
            </a:r>
            <a:r>
              <a:rPr lang="en-US" err="1"/>
              <a:t>euismod</a:t>
            </a:r>
            <a:r>
              <a:rPr lang="en-US"/>
              <a:t> </a:t>
            </a:r>
            <a:r>
              <a:rPr lang="en-US" err="1"/>
              <a:t>accumsan</a:t>
            </a:r>
            <a:r>
              <a:rPr lang="en-US"/>
              <a:t>, </a:t>
            </a:r>
            <a:r>
              <a:rPr lang="en-US" err="1"/>
              <a:t>vivamus</a:t>
            </a:r>
            <a:r>
              <a:rPr lang="en-US"/>
              <a:t> </a:t>
            </a:r>
            <a:r>
              <a:rPr lang="en-US" err="1"/>
              <a:t>feugiat</a:t>
            </a:r>
            <a:r>
              <a:rPr lang="en-US"/>
              <a:t>.</a:t>
            </a:r>
          </a:p>
        </p:txBody>
      </p:sp>
      <p:sp>
        <p:nvSpPr>
          <p:cNvPr id="14" name="Text Placeholder 4">
            <a:extLst>
              <a:ext uri="{FF2B5EF4-FFF2-40B4-BE49-F238E27FC236}">
                <a16:creationId xmlns:a16="http://schemas.microsoft.com/office/drawing/2014/main" id="{0CF16E01-7092-EE1E-8080-DCF72DAA2405}"/>
              </a:ext>
            </a:extLst>
          </p:cNvPr>
          <p:cNvSpPr>
            <a:spLocks noGrp="1"/>
          </p:cNvSpPr>
          <p:nvPr>
            <p:ph type="body" sz="quarter" idx="29" hasCustomPrompt="1"/>
          </p:nvPr>
        </p:nvSpPr>
        <p:spPr>
          <a:xfrm>
            <a:off x="4394200" y="2916672"/>
            <a:ext cx="3467100" cy="537198"/>
          </a:xfrm>
          <a:prstGeom prst="rect">
            <a:avLst/>
          </a:prstGeom>
        </p:spPr>
        <p:txBody>
          <a:bodyPr wrap="square">
            <a:spAutoFit/>
          </a:bodyPr>
          <a:lstStyle>
            <a:lvl1pPr>
              <a:lnSpc>
                <a:spcPts val="4600"/>
              </a:lnSpc>
              <a:spcBef>
                <a:spcPts val="0"/>
              </a:spcBef>
              <a:defRPr sz="2400" b="1" i="0" spc="0">
                <a:solidFill>
                  <a:schemeClr val="tx1"/>
                </a:solidFill>
                <a:latin typeface="Calibri" panose="020F0502020204030204" pitchFamily="34" charset="0"/>
                <a:cs typeface="Calibri" panose="020F0502020204030204" pitchFamily="34" charset="0"/>
              </a:defRPr>
            </a:lvl1pPr>
            <a:lvl2pPr>
              <a:buNone/>
              <a:defRPr/>
            </a:lvl2pPr>
          </a:lstStyle>
          <a:p>
            <a:pPr lvl="0"/>
            <a:r>
              <a:rPr lang="en-US">
                <a:effectLst/>
              </a:rPr>
              <a:t>Name </a:t>
            </a:r>
            <a:r>
              <a:rPr lang="en-US" err="1">
                <a:effectLst/>
              </a:rPr>
              <a:t>Lastname</a:t>
            </a:r>
            <a:endParaRPr lang="en-US"/>
          </a:p>
        </p:txBody>
      </p:sp>
      <p:sp>
        <p:nvSpPr>
          <p:cNvPr id="15" name="Text Placeholder 4">
            <a:extLst>
              <a:ext uri="{FF2B5EF4-FFF2-40B4-BE49-F238E27FC236}">
                <a16:creationId xmlns:a16="http://schemas.microsoft.com/office/drawing/2014/main" id="{3CA67D79-120D-160C-DD3C-77D27D493F36}"/>
              </a:ext>
            </a:extLst>
          </p:cNvPr>
          <p:cNvSpPr>
            <a:spLocks noGrp="1"/>
          </p:cNvSpPr>
          <p:nvPr>
            <p:ph type="body" sz="quarter" idx="30" hasCustomPrompt="1"/>
          </p:nvPr>
        </p:nvSpPr>
        <p:spPr>
          <a:xfrm>
            <a:off x="4394200" y="3530414"/>
            <a:ext cx="3467100" cy="215444"/>
          </a:xfrm>
          <a:prstGeom prst="rect">
            <a:avLst/>
          </a:prstGeom>
        </p:spPr>
        <p:txBody>
          <a:bodyPr wrap="square" anchor="t" anchorCtr="0">
            <a:spAutoFit/>
          </a:bodyPr>
          <a:lstStyle>
            <a:lvl1pPr marL="0" marR="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sz="1400" b="1" i="0">
                <a:solidFill>
                  <a:schemeClr val="tx1"/>
                </a:solidFill>
                <a:latin typeface="Calibri" panose="020F0502020204030204" pitchFamily="34" charset="0"/>
                <a:cs typeface="Calibri" panose="020F0502020204030204" pitchFamily="34" charset="0"/>
              </a:defRPr>
            </a:lvl1pPr>
          </a:lstStyle>
          <a:p>
            <a:r>
              <a:rPr lang="en-US"/>
              <a:t>Title</a:t>
            </a:r>
          </a:p>
        </p:txBody>
      </p:sp>
      <p:sp>
        <p:nvSpPr>
          <p:cNvPr id="16" name="Picture Placeholder 11">
            <a:extLst>
              <a:ext uri="{FF2B5EF4-FFF2-40B4-BE49-F238E27FC236}">
                <a16:creationId xmlns:a16="http://schemas.microsoft.com/office/drawing/2014/main" id="{8BF8ECD0-B431-B638-27D5-32D70A5C2A1C}"/>
              </a:ext>
            </a:extLst>
          </p:cNvPr>
          <p:cNvSpPr>
            <a:spLocks noGrp="1"/>
          </p:cNvSpPr>
          <p:nvPr>
            <p:ph type="pic" sz="quarter" idx="31"/>
          </p:nvPr>
        </p:nvSpPr>
        <p:spPr>
          <a:xfrm>
            <a:off x="4394200" y="795020"/>
            <a:ext cx="1866900" cy="1981200"/>
          </a:xfrm>
          <a:prstGeom prst="rect">
            <a:avLst/>
          </a:prstGeom>
        </p:spPr>
        <p:txBody>
          <a:bodyPr/>
          <a:lstStyle/>
          <a:p>
            <a:endParaRPr lang="en-US"/>
          </a:p>
        </p:txBody>
      </p:sp>
      <p:sp>
        <p:nvSpPr>
          <p:cNvPr id="17" name="Text Placeholder 4">
            <a:extLst>
              <a:ext uri="{FF2B5EF4-FFF2-40B4-BE49-F238E27FC236}">
                <a16:creationId xmlns:a16="http://schemas.microsoft.com/office/drawing/2014/main" id="{66E89CDA-AA89-1D71-39FA-7994E05AE92F}"/>
              </a:ext>
            </a:extLst>
          </p:cNvPr>
          <p:cNvSpPr>
            <a:spLocks noGrp="1"/>
          </p:cNvSpPr>
          <p:nvPr>
            <p:ph type="body" sz="quarter" idx="32" hasCustomPrompt="1"/>
          </p:nvPr>
        </p:nvSpPr>
        <p:spPr>
          <a:xfrm>
            <a:off x="4394200" y="3972655"/>
            <a:ext cx="2781300" cy="2035109"/>
          </a:xfrm>
          <a:prstGeom prst="rect">
            <a:avLst/>
          </a:prstGeom>
        </p:spPr>
        <p:txBody>
          <a:bodyPr wrap="square" anchor="t" anchorCtr="0">
            <a:spAutoFit/>
          </a:bodyPr>
          <a:lstStyle>
            <a:lvl1pPr marL="0" marR="0" indent="0" algn="l" defTabSz="914400" rtl="0" eaLnBrk="1" fontAlgn="auto" latinLnBrk="0" hangingPunct="1">
              <a:lnSpc>
                <a:spcPts val="2000"/>
              </a:lnSpc>
              <a:spcBef>
                <a:spcPts val="600"/>
              </a:spcBef>
              <a:spcAft>
                <a:spcPts val="0"/>
              </a:spcAft>
              <a:buClrTx/>
              <a:buSzTx/>
              <a:buFont typeface="Arial" panose="020B0604020202020204" pitchFamily="34" charset="0"/>
              <a:buNone/>
              <a:tabLst/>
              <a:defRPr sz="1400" b="0" i="0">
                <a:solidFill>
                  <a:schemeClr val="tx1"/>
                </a:solidFill>
                <a:latin typeface="Calibri Light" panose="020F0302020204030204" pitchFamily="34" charset="0"/>
                <a:cs typeface="Calibri Light" panose="020F0302020204030204" pitchFamily="34" charset="0"/>
              </a:defRPr>
            </a:lvl1pPr>
          </a:lstStyle>
          <a:p>
            <a:r>
              <a:rPr lang="en-US"/>
              <a:t>Lorem ipsum </a:t>
            </a:r>
            <a:r>
              <a:rPr lang="en-US" err="1"/>
              <a:t>nulla</a:t>
            </a:r>
            <a:r>
              <a:rPr lang="en-US"/>
              <a:t> </a:t>
            </a:r>
            <a:r>
              <a:rPr lang="en-US" err="1"/>
              <a:t>primis</a:t>
            </a:r>
            <a:r>
              <a:rPr lang="en-US"/>
              <a:t> eros mi </a:t>
            </a:r>
            <a:r>
              <a:rPr lang="en-US" err="1"/>
              <a:t>maecenas</a:t>
            </a:r>
            <a:r>
              <a:rPr lang="en-US"/>
              <a:t> ligula magna, </a:t>
            </a:r>
            <a:r>
              <a:rPr lang="en-US" err="1"/>
              <a:t>nibh</a:t>
            </a:r>
            <a:r>
              <a:rPr lang="en-US"/>
              <a:t> </a:t>
            </a:r>
            <a:r>
              <a:rPr lang="en-US" err="1"/>
              <a:t>commodo</a:t>
            </a:r>
            <a:r>
              <a:rPr lang="en-US"/>
              <a:t> </a:t>
            </a:r>
            <a:r>
              <a:rPr lang="en-US" err="1"/>
              <a:t>aenean</a:t>
            </a:r>
            <a:r>
              <a:rPr lang="en-US"/>
              <a:t> </a:t>
            </a:r>
            <a:r>
              <a:rPr lang="en-US" err="1"/>
              <a:t>leo</a:t>
            </a:r>
            <a:r>
              <a:rPr lang="en-US"/>
              <a:t> porta </a:t>
            </a:r>
            <a:r>
              <a:rPr lang="en-US" err="1"/>
              <a:t>duis</a:t>
            </a:r>
            <a:r>
              <a:rPr lang="en-US"/>
              <a:t> magna </a:t>
            </a:r>
            <a:r>
              <a:rPr lang="en-US" err="1"/>
              <a:t>felis</a:t>
            </a:r>
            <a:r>
              <a:rPr lang="en-US"/>
              <a:t> </a:t>
            </a:r>
            <a:r>
              <a:rPr lang="en-US" err="1"/>
              <a:t>bibendum</a:t>
            </a:r>
            <a:r>
              <a:rPr lang="en-US"/>
              <a:t> </a:t>
            </a:r>
            <a:r>
              <a:rPr lang="en-US" err="1"/>
              <a:t>tempor</a:t>
            </a:r>
            <a:r>
              <a:rPr lang="en-US"/>
              <a:t> </a:t>
            </a:r>
            <a:r>
              <a:rPr lang="en-US" err="1"/>
              <a:t>cubilia</a:t>
            </a:r>
            <a:r>
              <a:rPr lang="en-US"/>
              <a:t> gravida </a:t>
            </a:r>
            <a:r>
              <a:rPr lang="en-US" err="1"/>
              <a:t>molestie</a:t>
            </a:r>
            <a:r>
              <a:rPr lang="en-US"/>
              <a:t> a </a:t>
            </a:r>
            <a:r>
              <a:rPr lang="en-US" err="1"/>
              <a:t>pretium</a:t>
            </a:r>
            <a:r>
              <a:rPr lang="en-US"/>
              <a:t> </a:t>
            </a:r>
            <a:r>
              <a:rPr lang="en-US" err="1"/>
              <a:t>egestas</a:t>
            </a:r>
            <a:r>
              <a:rPr lang="en-US"/>
              <a:t> </a:t>
            </a:r>
            <a:r>
              <a:rPr lang="en-US" err="1"/>
              <a:t>iaculis</a:t>
            </a:r>
            <a:r>
              <a:rPr lang="en-US"/>
              <a:t> per, eros sit </a:t>
            </a:r>
            <a:r>
              <a:rPr lang="en-US" err="1"/>
              <a:t>leo</a:t>
            </a:r>
            <a:r>
              <a:rPr lang="en-US"/>
              <a:t> </a:t>
            </a:r>
            <a:r>
              <a:rPr lang="en-US" err="1"/>
              <a:t>augue</a:t>
            </a:r>
            <a:r>
              <a:rPr lang="en-US"/>
              <a:t> tempus </a:t>
            </a:r>
            <a:r>
              <a:rPr lang="en-US" err="1"/>
              <a:t>consectetur</a:t>
            </a:r>
            <a:r>
              <a:rPr lang="en-US"/>
              <a:t> </a:t>
            </a:r>
            <a:r>
              <a:rPr lang="en-US" err="1"/>
              <a:t>primis</a:t>
            </a:r>
            <a:r>
              <a:rPr lang="en-US"/>
              <a:t> dolor ac </a:t>
            </a:r>
            <a:r>
              <a:rPr lang="en-US" err="1"/>
              <a:t>euismod</a:t>
            </a:r>
            <a:r>
              <a:rPr lang="en-US"/>
              <a:t> </a:t>
            </a:r>
            <a:r>
              <a:rPr lang="en-US" err="1"/>
              <a:t>accumsan</a:t>
            </a:r>
            <a:r>
              <a:rPr lang="en-US"/>
              <a:t>, </a:t>
            </a:r>
            <a:r>
              <a:rPr lang="en-US" err="1"/>
              <a:t>vivamus</a:t>
            </a:r>
            <a:r>
              <a:rPr lang="en-US"/>
              <a:t> </a:t>
            </a:r>
            <a:r>
              <a:rPr lang="en-US" err="1"/>
              <a:t>feugiat</a:t>
            </a:r>
            <a:r>
              <a:rPr lang="en-US"/>
              <a:t>.</a:t>
            </a:r>
          </a:p>
        </p:txBody>
      </p:sp>
      <p:sp>
        <p:nvSpPr>
          <p:cNvPr id="18" name="Text Placeholder 4">
            <a:extLst>
              <a:ext uri="{FF2B5EF4-FFF2-40B4-BE49-F238E27FC236}">
                <a16:creationId xmlns:a16="http://schemas.microsoft.com/office/drawing/2014/main" id="{4B3BDFDF-6AC9-EF9C-D008-AB293FA5AAC3}"/>
              </a:ext>
            </a:extLst>
          </p:cNvPr>
          <p:cNvSpPr>
            <a:spLocks noGrp="1"/>
          </p:cNvSpPr>
          <p:nvPr>
            <p:ph type="body" sz="quarter" idx="33" hasCustomPrompt="1"/>
          </p:nvPr>
        </p:nvSpPr>
        <p:spPr>
          <a:xfrm>
            <a:off x="8128000" y="2916672"/>
            <a:ext cx="3467100" cy="537198"/>
          </a:xfrm>
          <a:prstGeom prst="rect">
            <a:avLst/>
          </a:prstGeom>
        </p:spPr>
        <p:txBody>
          <a:bodyPr wrap="square">
            <a:spAutoFit/>
          </a:bodyPr>
          <a:lstStyle>
            <a:lvl1pPr>
              <a:lnSpc>
                <a:spcPts val="4600"/>
              </a:lnSpc>
              <a:spcBef>
                <a:spcPts val="0"/>
              </a:spcBef>
              <a:defRPr sz="2400" b="1" i="0" spc="0">
                <a:solidFill>
                  <a:schemeClr val="tx1"/>
                </a:solidFill>
                <a:latin typeface="Calibri" panose="020F0502020204030204" pitchFamily="34" charset="0"/>
                <a:cs typeface="Calibri" panose="020F0502020204030204" pitchFamily="34" charset="0"/>
              </a:defRPr>
            </a:lvl1pPr>
            <a:lvl2pPr>
              <a:buNone/>
              <a:defRPr/>
            </a:lvl2pPr>
          </a:lstStyle>
          <a:p>
            <a:pPr lvl="0"/>
            <a:r>
              <a:rPr lang="en-US">
                <a:effectLst/>
              </a:rPr>
              <a:t>Name </a:t>
            </a:r>
            <a:r>
              <a:rPr lang="en-US" err="1">
                <a:effectLst/>
              </a:rPr>
              <a:t>Lastname</a:t>
            </a:r>
            <a:endParaRPr lang="en-US"/>
          </a:p>
        </p:txBody>
      </p:sp>
      <p:sp>
        <p:nvSpPr>
          <p:cNvPr id="19" name="Text Placeholder 4">
            <a:extLst>
              <a:ext uri="{FF2B5EF4-FFF2-40B4-BE49-F238E27FC236}">
                <a16:creationId xmlns:a16="http://schemas.microsoft.com/office/drawing/2014/main" id="{AF6F850E-875C-CE1C-C696-B9119881C140}"/>
              </a:ext>
            </a:extLst>
          </p:cNvPr>
          <p:cNvSpPr>
            <a:spLocks noGrp="1"/>
          </p:cNvSpPr>
          <p:nvPr>
            <p:ph type="body" sz="quarter" idx="34" hasCustomPrompt="1"/>
          </p:nvPr>
        </p:nvSpPr>
        <p:spPr>
          <a:xfrm>
            <a:off x="8128000" y="3530414"/>
            <a:ext cx="3467100" cy="215444"/>
          </a:xfrm>
          <a:prstGeom prst="rect">
            <a:avLst/>
          </a:prstGeom>
        </p:spPr>
        <p:txBody>
          <a:bodyPr wrap="square" anchor="t" anchorCtr="0">
            <a:spAutoFit/>
          </a:bodyPr>
          <a:lstStyle>
            <a:lvl1pPr marL="0" marR="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sz="1400" b="1" i="0">
                <a:solidFill>
                  <a:schemeClr val="tx1"/>
                </a:solidFill>
                <a:latin typeface="Calibri" panose="020F0502020204030204" pitchFamily="34" charset="0"/>
                <a:cs typeface="Calibri" panose="020F0502020204030204" pitchFamily="34" charset="0"/>
              </a:defRPr>
            </a:lvl1pPr>
          </a:lstStyle>
          <a:p>
            <a:r>
              <a:rPr lang="en-US"/>
              <a:t>Title</a:t>
            </a:r>
          </a:p>
        </p:txBody>
      </p:sp>
      <p:sp>
        <p:nvSpPr>
          <p:cNvPr id="20" name="Picture Placeholder 11">
            <a:extLst>
              <a:ext uri="{FF2B5EF4-FFF2-40B4-BE49-F238E27FC236}">
                <a16:creationId xmlns:a16="http://schemas.microsoft.com/office/drawing/2014/main" id="{EE0176D5-725E-3E5F-2AB8-0A9D56960DEE}"/>
              </a:ext>
            </a:extLst>
          </p:cNvPr>
          <p:cNvSpPr>
            <a:spLocks noGrp="1"/>
          </p:cNvSpPr>
          <p:nvPr>
            <p:ph type="pic" sz="quarter" idx="35"/>
          </p:nvPr>
        </p:nvSpPr>
        <p:spPr>
          <a:xfrm>
            <a:off x="8128000" y="795020"/>
            <a:ext cx="1866900" cy="1981200"/>
          </a:xfrm>
          <a:prstGeom prst="rect">
            <a:avLst/>
          </a:prstGeom>
        </p:spPr>
        <p:txBody>
          <a:bodyPr/>
          <a:lstStyle/>
          <a:p>
            <a:endParaRPr lang="en-US"/>
          </a:p>
        </p:txBody>
      </p:sp>
      <p:sp>
        <p:nvSpPr>
          <p:cNvPr id="21" name="Text Placeholder 4">
            <a:extLst>
              <a:ext uri="{FF2B5EF4-FFF2-40B4-BE49-F238E27FC236}">
                <a16:creationId xmlns:a16="http://schemas.microsoft.com/office/drawing/2014/main" id="{6A11A961-3944-A416-6D0E-F19285260E57}"/>
              </a:ext>
            </a:extLst>
          </p:cNvPr>
          <p:cNvSpPr>
            <a:spLocks noGrp="1"/>
          </p:cNvSpPr>
          <p:nvPr>
            <p:ph type="body" sz="quarter" idx="36" hasCustomPrompt="1"/>
          </p:nvPr>
        </p:nvSpPr>
        <p:spPr>
          <a:xfrm>
            <a:off x="8128000" y="3972655"/>
            <a:ext cx="2781300" cy="2035109"/>
          </a:xfrm>
          <a:prstGeom prst="rect">
            <a:avLst/>
          </a:prstGeom>
        </p:spPr>
        <p:txBody>
          <a:bodyPr wrap="square" anchor="t" anchorCtr="0">
            <a:spAutoFit/>
          </a:bodyPr>
          <a:lstStyle>
            <a:lvl1pPr marL="0" marR="0" indent="0" algn="l" defTabSz="914400" rtl="0" eaLnBrk="1" fontAlgn="auto" latinLnBrk="0" hangingPunct="1">
              <a:lnSpc>
                <a:spcPts val="2000"/>
              </a:lnSpc>
              <a:spcBef>
                <a:spcPts val="600"/>
              </a:spcBef>
              <a:spcAft>
                <a:spcPts val="0"/>
              </a:spcAft>
              <a:buClrTx/>
              <a:buSzTx/>
              <a:buFont typeface="Arial" panose="020B0604020202020204" pitchFamily="34" charset="0"/>
              <a:buNone/>
              <a:tabLst/>
              <a:defRPr sz="1400" b="0" i="0">
                <a:solidFill>
                  <a:schemeClr val="tx1"/>
                </a:solidFill>
                <a:latin typeface="Calibri Light" panose="020F0302020204030204" pitchFamily="34" charset="0"/>
                <a:cs typeface="Calibri Light" panose="020F0302020204030204" pitchFamily="34" charset="0"/>
              </a:defRPr>
            </a:lvl1pPr>
          </a:lstStyle>
          <a:p>
            <a:r>
              <a:rPr lang="en-US"/>
              <a:t>Lorem ipsum </a:t>
            </a:r>
            <a:r>
              <a:rPr lang="en-US" err="1"/>
              <a:t>nulla</a:t>
            </a:r>
            <a:r>
              <a:rPr lang="en-US"/>
              <a:t> </a:t>
            </a:r>
            <a:r>
              <a:rPr lang="en-US" err="1"/>
              <a:t>primis</a:t>
            </a:r>
            <a:r>
              <a:rPr lang="en-US"/>
              <a:t> eros mi </a:t>
            </a:r>
            <a:r>
              <a:rPr lang="en-US" err="1"/>
              <a:t>maecenas</a:t>
            </a:r>
            <a:r>
              <a:rPr lang="en-US"/>
              <a:t> ligula magna, </a:t>
            </a:r>
            <a:r>
              <a:rPr lang="en-US" err="1"/>
              <a:t>nibh</a:t>
            </a:r>
            <a:r>
              <a:rPr lang="en-US"/>
              <a:t> </a:t>
            </a:r>
            <a:r>
              <a:rPr lang="en-US" err="1"/>
              <a:t>commodo</a:t>
            </a:r>
            <a:r>
              <a:rPr lang="en-US"/>
              <a:t> </a:t>
            </a:r>
            <a:r>
              <a:rPr lang="en-US" err="1"/>
              <a:t>aenean</a:t>
            </a:r>
            <a:r>
              <a:rPr lang="en-US"/>
              <a:t> </a:t>
            </a:r>
            <a:r>
              <a:rPr lang="en-US" err="1"/>
              <a:t>leo</a:t>
            </a:r>
            <a:r>
              <a:rPr lang="en-US"/>
              <a:t> porta </a:t>
            </a:r>
            <a:r>
              <a:rPr lang="en-US" err="1"/>
              <a:t>duis</a:t>
            </a:r>
            <a:r>
              <a:rPr lang="en-US"/>
              <a:t> magna </a:t>
            </a:r>
            <a:r>
              <a:rPr lang="en-US" err="1"/>
              <a:t>felis</a:t>
            </a:r>
            <a:r>
              <a:rPr lang="en-US"/>
              <a:t> </a:t>
            </a:r>
            <a:r>
              <a:rPr lang="en-US" err="1"/>
              <a:t>bibendum</a:t>
            </a:r>
            <a:r>
              <a:rPr lang="en-US"/>
              <a:t> </a:t>
            </a:r>
            <a:r>
              <a:rPr lang="en-US" err="1"/>
              <a:t>tempor</a:t>
            </a:r>
            <a:r>
              <a:rPr lang="en-US"/>
              <a:t> </a:t>
            </a:r>
            <a:r>
              <a:rPr lang="en-US" err="1"/>
              <a:t>cubilia</a:t>
            </a:r>
            <a:r>
              <a:rPr lang="en-US"/>
              <a:t> gravida </a:t>
            </a:r>
            <a:r>
              <a:rPr lang="en-US" err="1"/>
              <a:t>molestie</a:t>
            </a:r>
            <a:r>
              <a:rPr lang="en-US"/>
              <a:t> a </a:t>
            </a:r>
            <a:r>
              <a:rPr lang="en-US" err="1"/>
              <a:t>pretium</a:t>
            </a:r>
            <a:r>
              <a:rPr lang="en-US"/>
              <a:t> </a:t>
            </a:r>
            <a:r>
              <a:rPr lang="en-US" err="1"/>
              <a:t>egestas</a:t>
            </a:r>
            <a:r>
              <a:rPr lang="en-US"/>
              <a:t> </a:t>
            </a:r>
            <a:r>
              <a:rPr lang="en-US" err="1"/>
              <a:t>iaculis</a:t>
            </a:r>
            <a:r>
              <a:rPr lang="en-US"/>
              <a:t> per, eros sit </a:t>
            </a:r>
            <a:r>
              <a:rPr lang="en-US" err="1"/>
              <a:t>leo</a:t>
            </a:r>
            <a:r>
              <a:rPr lang="en-US"/>
              <a:t> </a:t>
            </a:r>
            <a:r>
              <a:rPr lang="en-US" err="1"/>
              <a:t>augue</a:t>
            </a:r>
            <a:r>
              <a:rPr lang="en-US"/>
              <a:t> tempus </a:t>
            </a:r>
            <a:r>
              <a:rPr lang="en-US" err="1"/>
              <a:t>consectetur</a:t>
            </a:r>
            <a:r>
              <a:rPr lang="en-US"/>
              <a:t> </a:t>
            </a:r>
            <a:r>
              <a:rPr lang="en-US" err="1"/>
              <a:t>primis</a:t>
            </a:r>
            <a:r>
              <a:rPr lang="en-US"/>
              <a:t> dolor ac </a:t>
            </a:r>
            <a:r>
              <a:rPr lang="en-US" err="1"/>
              <a:t>euismod</a:t>
            </a:r>
            <a:r>
              <a:rPr lang="en-US"/>
              <a:t> </a:t>
            </a:r>
            <a:r>
              <a:rPr lang="en-US" err="1"/>
              <a:t>accumsan</a:t>
            </a:r>
            <a:r>
              <a:rPr lang="en-US"/>
              <a:t>, </a:t>
            </a:r>
            <a:r>
              <a:rPr lang="en-US" err="1"/>
              <a:t>vivamus</a:t>
            </a:r>
            <a:r>
              <a:rPr lang="en-US"/>
              <a:t> </a:t>
            </a:r>
            <a:r>
              <a:rPr lang="en-US" err="1"/>
              <a:t>feugiat</a:t>
            </a:r>
            <a:r>
              <a:rPr lang="en-US"/>
              <a:t>.</a:t>
            </a:r>
          </a:p>
        </p:txBody>
      </p:sp>
      <p:sp>
        <p:nvSpPr>
          <p:cNvPr id="22" name="Text Placeholder 4">
            <a:extLst>
              <a:ext uri="{FF2B5EF4-FFF2-40B4-BE49-F238E27FC236}">
                <a16:creationId xmlns:a16="http://schemas.microsoft.com/office/drawing/2014/main" id="{31ABE214-CBB4-3A34-095A-0370A5C4AFE6}"/>
              </a:ext>
            </a:extLst>
          </p:cNvPr>
          <p:cNvSpPr>
            <a:spLocks noGrp="1"/>
          </p:cNvSpPr>
          <p:nvPr>
            <p:ph type="body" sz="quarter" idx="11" hasCustomPrompt="1"/>
          </p:nvPr>
        </p:nvSpPr>
        <p:spPr>
          <a:xfrm>
            <a:off x="647700" y="419100"/>
            <a:ext cx="3467100" cy="153888"/>
          </a:xfrm>
          <a:prstGeom prst="rect">
            <a:avLst/>
          </a:prstGeom>
        </p:spPr>
        <p:txBody>
          <a:bodyPr wrap="square">
            <a:spAutoFit/>
          </a:bodyPr>
          <a:lstStyle>
            <a:lvl1pPr>
              <a:lnSpc>
                <a:spcPct val="100000"/>
              </a:lnSpc>
              <a:spcBef>
                <a:spcPts val="0"/>
              </a:spcBef>
              <a:defRPr sz="1000" b="1" i="0" spc="300">
                <a:solidFill>
                  <a:schemeClr val="tx1"/>
                </a:solidFill>
                <a:latin typeface="Calibri" panose="020F0502020204030204" pitchFamily="34" charset="0"/>
                <a:cs typeface="Calibri" panose="020F0502020204030204" pitchFamily="34" charset="0"/>
              </a:defRPr>
            </a:lvl1pPr>
            <a:lvl2pPr>
              <a:buNone/>
              <a:defRPr/>
            </a:lvl2pPr>
          </a:lstStyle>
          <a:p>
            <a:pPr lvl="0"/>
            <a:r>
              <a:rPr lang="en-US">
                <a:effectLst/>
              </a:rPr>
              <a:t>SECTION TITLE</a:t>
            </a:r>
            <a:endParaRPr lang="en-US"/>
          </a:p>
        </p:txBody>
      </p:sp>
      <p:grpSp>
        <p:nvGrpSpPr>
          <p:cNvPr id="8" name="Group 7">
            <a:extLst>
              <a:ext uri="{FF2B5EF4-FFF2-40B4-BE49-F238E27FC236}">
                <a16:creationId xmlns:a16="http://schemas.microsoft.com/office/drawing/2014/main" id="{E6C8652F-9CF8-86BE-569D-57FD297CD9E4}"/>
              </a:ext>
            </a:extLst>
          </p:cNvPr>
          <p:cNvGrpSpPr/>
          <p:nvPr userDrawn="1"/>
        </p:nvGrpSpPr>
        <p:grpSpPr>
          <a:xfrm>
            <a:off x="611054" y="6471298"/>
            <a:ext cx="372834" cy="131175"/>
            <a:chOff x="14288" y="2035175"/>
            <a:chExt cx="10039350" cy="3532188"/>
          </a:xfrm>
          <a:solidFill>
            <a:schemeClr val="tx1"/>
          </a:solidFill>
        </p:grpSpPr>
        <p:sp>
          <p:nvSpPr>
            <p:cNvPr id="9" name="Freeform 1">
              <a:extLst>
                <a:ext uri="{FF2B5EF4-FFF2-40B4-BE49-F238E27FC236}">
                  <a16:creationId xmlns:a16="http://schemas.microsoft.com/office/drawing/2014/main" id="{DBB9B706-6B1F-E9A4-0A71-A2C01B0437F9}"/>
                </a:ext>
              </a:extLst>
            </p:cNvPr>
            <p:cNvSpPr>
              <a:spLocks noChangeArrowheads="1"/>
            </p:cNvSpPr>
            <p:nvPr/>
          </p:nvSpPr>
          <p:spPr bwMode="auto">
            <a:xfrm>
              <a:off x="1519238" y="2035175"/>
              <a:ext cx="1336675" cy="2836863"/>
            </a:xfrm>
            <a:custGeom>
              <a:avLst/>
              <a:gdLst>
                <a:gd name="T0" fmla="*/ 390493 w 3714"/>
                <a:gd name="T1" fmla="*/ 1200682 h 7882"/>
                <a:gd name="T2" fmla="*/ 945462 w 3714"/>
                <a:gd name="T3" fmla="*/ 1200682 h 7882"/>
                <a:gd name="T4" fmla="*/ 945462 w 3714"/>
                <a:gd name="T5" fmla="*/ 611498 h 7882"/>
                <a:gd name="T6" fmla="*/ 698929 w 3714"/>
                <a:gd name="T7" fmla="*/ 364596 h 7882"/>
                <a:gd name="T8" fmla="*/ 637386 w 3714"/>
                <a:gd name="T9" fmla="*/ 364596 h 7882"/>
                <a:gd name="T10" fmla="*/ 390493 w 3714"/>
                <a:gd name="T11" fmla="*/ 611498 h 7882"/>
                <a:gd name="T12" fmla="*/ 390493 w 3714"/>
                <a:gd name="T13" fmla="*/ 1200682 h 7882"/>
                <a:gd name="T14" fmla="*/ 389414 w 3714"/>
                <a:gd name="T15" fmla="*/ 1576795 h 7882"/>
                <a:gd name="T16" fmla="*/ 390493 w 3714"/>
                <a:gd name="T17" fmla="*/ 2224645 h 7882"/>
                <a:gd name="T18" fmla="*/ 637386 w 3714"/>
                <a:gd name="T19" fmla="*/ 2471548 h 7882"/>
                <a:gd name="T20" fmla="*/ 709366 w 3714"/>
                <a:gd name="T21" fmla="*/ 2471548 h 7882"/>
                <a:gd name="T22" fmla="*/ 955899 w 3714"/>
                <a:gd name="T23" fmla="*/ 2224645 h 7882"/>
                <a:gd name="T24" fmla="*/ 955899 w 3714"/>
                <a:gd name="T25" fmla="*/ 1906119 h 7882"/>
                <a:gd name="T26" fmla="*/ 1336315 w 3714"/>
                <a:gd name="T27" fmla="*/ 1906119 h 7882"/>
                <a:gd name="T28" fmla="*/ 1336315 w 3714"/>
                <a:gd name="T29" fmla="*/ 2209528 h 7882"/>
                <a:gd name="T30" fmla="*/ 709366 w 3714"/>
                <a:gd name="T31" fmla="*/ 2836503 h 7882"/>
                <a:gd name="T32" fmla="*/ 626949 w 3714"/>
                <a:gd name="T33" fmla="*/ 2836503 h 7882"/>
                <a:gd name="T34" fmla="*/ 0 w 3714"/>
                <a:gd name="T35" fmla="*/ 2258117 h 7882"/>
                <a:gd name="T36" fmla="*/ 0 w 3714"/>
                <a:gd name="T37" fmla="*/ 675564 h 7882"/>
                <a:gd name="T38" fmla="*/ 626949 w 3714"/>
                <a:gd name="T39" fmla="*/ 0 h 7882"/>
                <a:gd name="T40" fmla="*/ 709366 w 3714"/>
                <a:gd name="T41" fmla="*/ 0 h 7882"/>
                <a:gd name="T42" fmla="*/ 1336315 w 3714"/>
                <a:gd name="T43" fmla="*/ 626975 h 7882"/>
                <a:gd name="T44" fmla="*/ 1334875 w 3714"/>
                <a:gd name="T45" fmla="*/ 1576795 h 7882"/>
                <a:gd name="T46" fmla="*/ 389414 w 3714"/>
                <a:gd name="T47" fmla="*/ 1576795 h 7882"/>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3714" h="7882">
                  <a:moveTo>
                    <a:pt x="1085" y="3336"/>
                  </a:moveTo>
                  <a:lnTo>
                    <a:pt x="2627" y="3336"/>
                  </a:lnTo>
                  <a:lnTo>
                    <a:pt x="2627" y="1699"/>
                  </a:lnTo>
                  <a:cubicBezTo>
                    <a:pt x="2627" y="1242"/>
                    <a:pt x="2399" y="1013"/>
                    <a:pt x="1942" y="1013"/>
                  </a:cubicBezTo>
                  <a:lnTo>
                    <a:pt x="1771" y="1013"/>
                  </a:lnTo>
                  <a:cubicBezTo>
                    <a:pt x="1314" y="1013"/>
                    <a:pt x="1085" y="1242"/>
                    <a:pt x="1085" y="1699"/>
                  </a:cubicBezTo>
                  <a:lnTo>
                    <a:pt x="1085" y="3336"/>
                  </a:lnTo>
                  <a:close/>
                  <a:moveTo>
                    <a:pt x="1082" y="4381"/>
                  </a:moveTo>
                  <a:lnTo>
                    <a:pt x="1085" y="6181"/>
                  </a:lnTo>
                  <a:cubicBezTo>
                    <a:pt x="1085" y="6638"/>
                    <a:pt x="1314" y="6867"/>
                    <a:pt x="1771" y="6867"/>
                  </a:cubicBezTo>
                  <a:lnTo>
                    <a:pt x="1971" y="6867"/>
                  </a:lnTo>
                  <a:cubicBezTo>
                    <a:pt x="2428" y="6867"/>
                    <a:pt x="2656" y="6638"/>
                    <a:pt x="2656" y="6181"/>
                  </a:cubicBezTo>
                  <a:lnTo>
                    <a:pt x="2656" y="5296"/>
                  </a:lnTo>
                  <a:lnTo>
                    <a:pt x="3713" y="5296"/>
                  </a:lnTo>
                  <a:lnTo>
                    <a:pt x="3713" y="6139"/>
                  </a:lnTo>
                  <a:cubicBezTo>
                    <a:pt x="3713" y="7295"/>
                    <a:pt x="3127" y="7881"/>
                    <a:pt x="1971" y="7881"/>
                  </a:cubicBezTo>
                  <a:lnTo>
                    <a:pt x="1742" y="7881"/>
                  </a:lnTo>
                  <a:cubicBezTo>
                    <a:pt x="585" y="7881"/>
                    <a:pt x="0" y="7295"/>
                    <a:pt x="0" y="6274"/>
                  </a:cubicBezTo>
                  <a:lnTo>
                    <a:pt x="0" y="1877"/>
                  </a:lnTo>
                  <a:cubicBezTo>
                    <a:pt x="0" y="585"/>
                    <a:pt x="585" y="0"/>
                    <a:pt x="1742" y="0"/>
                  </a:cubicBezTo>
                  <a:lnTo>
                    <a:pt x="1971" y="0"/>
                  </a:lnTo>
                  <a:cubicBezTo>
                    <a:pt x="3127" y="0"/>
                    <a:pt x="3713" y="585"/>
                    <a:pt x="3713" y="1742"/>
                  </a:cubicBezTo>
                  <a:lnTo>
                    <a:pt x="3709" y="4381"/>
                  </a:lnTo>
                  <a:lnTo>
                    <a:pt x="1082" y="4381"/>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endParaRPr lang="en-US"/>
            </a:p>
          </p:txBody>
        </p:sp>
        <p:sp>
          <p:nvSpPr>
            <p:cNvPr id="11" name="Freeform 2">
              <a:extLst>
                <a:ext uri="{FF2B5EF4-FFF2-40B4-BE49-F238E27FC236}">
                  <a16:creationId xmlns:a16="http://schemas.microsoft.com/office/drawing/2014/main" id="{A24059D5-019C-78F6-CFD1-12B99850C670}"/>
                </a:ext>
              </a:extLst>
            </p:cNvPr>
            <p:cNvSpPr>
              <a:spLocks noChangeArrowheads="1"/>
            </p:cNvSpPr>
            <p:nvPr/>
          </p:nvSpPr>
          <p:spPr bwMode="auto">
            <a:xfrm>
              <a:off x="3109913" y="2035175"/>
              <a:ext cx="1368425" cy="3532188"/>
            </a:xfrm>
            <a:custGeom>
              <a:avLst/>
              <a:gdLst>
                <a:gd name="T0" fmla="*/ 390721 w 3800"/>
                <a:gd name="T1" fmla="*/ 2322993 h 9812"/>
                <a:gd name="T2" fmla="*/ 750833 w 3800"/>
                <a:gd name="T3" fmla="*/ 2466628 h 9812"/>
                <a:gd name="T4" fmla="*/ 976983 w 3800"/>
                <a:gd name="T5" fmla="*/ 2240556 h 9812"/>
                <a:gd name="T6" fmla="*/ 976983 w 3800"/>
                <a:gd name="T7" fmla="*/ 596138 h 9812"/>
                <a:gd name="T8" fmla="*/ 750833 w 3800"/>
                <a:gd name="T9" fmla="*/ 370066 h 9812"/>
                <a:gd name="T10" fmla="*/ 390721 w 3800"/>
                <a:gd name="T11" fmla="*/ 514061 h 9812"/>
                <a:gd name="T12" fmla="*/ 390721 w 3800"/>
                <a:gd name="T13" fmla="*/ 2322993 h 9812"/>
                <a:gd name="T14" fmla="*/ 0 w 3800"/>
                <a:gd name="T15" fmla="*/ 30599 h 9812"/>
                <a:gd name="T16" fmla="*/ 390721 w 3800"/>
                <a:gd name="T17" fmla="*/ 30599 h 9812"/>
                <a:gd name="T18" fmla="*/ 390721 w 3800"/>
                <a:gd name="T19" fmla="*/ 210592 h 9812"/>
                <a:gd name="T20" fmla="*/ 868950 w 3800"/>
                <a:gd name="T21" fmla="*/ 0 h 9812"/>
                <a:gd name="T22" fmla="*/ 1368065 w 3800"/>
                <a:gd name="T23" fmla="*/ 549699 h 9812"/>
                <a:gd name="T24" fmla="*/ 1368065 w 3800"/>
                <a:gd name="T25" fmla="*/ 2286995 h 9812"/>
                <a:gd name="T26" fmla="*/ 868950 w 3800"/>
                <a:gd name="T27" fmla="*/ 2837054 h 9812"/>
                <a:gd name="T28" fmla="*/ 390721 w 3800"/>
                <a:gd name="T29" fmla="*/ 2636541 h 9812"/>
                <a:gd name="T30" fmla="*/ 390721 w 3800"/>
                <a:gd name="T31" fmla="*/ 3531828 h 9812"/>
                <a:gd name="T32" fmla="*/ 0 w 3800"/>
                <a:gd name="T33" fmla="*/ 3531828 h 9812"/>
                <a:gd name="T34" fmla="*/ 0 w 3800"/>
                <a:gd name="T35" fmla="*/ 30599 h 9812"/>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3800" h="9812">
                  <a:moveTo>
                    <a:pt x="1085" y="6453"/>
                  </a:moveTo>
                  <a:cubicBezTo>
                    <a:pt x="1385" y="6710"/>
                    <a:pt x="1728" y="6852"/>
                    <a:pt x="2085" y="6852"/>
                  </a:cubicBezTo>
                  <a:cubicBezTo>
                    <a:pt x="2485" y="6852"/>
                    <a:pt x="2713" y="6667"/>
                    <a:pt x="2713" y="6224"/>
                  </a:cubicBezTo>
                  <a:lnTo>
                    <a:pt x="2713" y="1656"/>
                  </a:lnTo>
                  <a:cubicBezTo>
                    <a:pt x="2713" y="1213"/>
                    <a:pt x="2485" y="1028"/>
                    <a:pt x="2085" y="1028"/>
                  </a:cubicBezTo>
                  <a:cubicBezTo>
                    <a:pt x="1728" y="1028"/>
                    <a:pt x="1385" y="1170"/>
                    <a:pt x="1085" y="1428"/>
                  </a:cubicBezTo>
                  <a:lnTo>
                    <a:pt x="1085" y="6453"/>
                  </a:lnTo>
                  <a:close/>
                  <a:moveTo>
                    <a:pt x="0" y="85"/>
                  </a:moveTo>
                  <a:lnTo>
                    <a:pt x="1085" y="85"/>
                  </a:lnTo>
                  <a:lnTo>
                    <a:pt x="1085" y="585"/>
                  </a:lnTo>
                  <a:cubicBezTo>
                    <a:pt x="1342" y="314"/>
                    <a:pt x="1785" y="0"/>
                    <a:pt x="2413" y="0"/>
                  </a:cubicBezTo>
                  <a:cubicBezTo>
                    <a:pt x="3342" y="0"/>
                    <a:pt x="3799" y="614"/>
                    <a:pt x="3799" y="1527"/>
                  </a:cubicBezTo>
                  <a:lnTo>
                    <a:pt x="3799" y="6353"/>
                  </a:lnTo>
                  <a:cubicBezTo>
                    <a:pt x="3799" y="7267"/>
                    <a:pt x="3342" y="7881"/>
                    <a:pt x="2413" y="7881"/>
                  </a:cubicBezTo>
                  <a:cubicBezTo>
                    <a:pt x="1785" y="7881"/>
                    <a:pt x="1342" y="7581"/>
                    <a:pt x="1085" y="7324"/>
                  </a:cubicBezTo>
                  <a:lnTo>
                    <a:pt x="1085" y="9811"/>
                  </a:lnTo>
                  <a:lnTo>
                    <a:pt x="0" y="9811"/>
                  </a:lnTo>
                  <a:lnTo>
                    <a:pt x="0" y="85"/>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endParaRPr lang="en-US"/>
            </a:p>
          </p:txBody>
        </p:sp>
        <p:sp>
          <p:nvSpPr>
            <p:cNvPr id="12" name="Freeform 3">
              <a:extLst>
                <a:ext uri="{FF2B5EF4-FFF2-40B4-BE49-F238E27FC236}">
                  <a16:creationId xmlns:a16="http://schemas.microsoft.com/office/drawing/2014/main" id="{C8787A4D-54DD-4AE5-3B3E-744E78F41A69}"/>
                </a:ext>
              </a:extLst>
            </p:cNvPr>
            <p:cNvSpPr>
              <a:spLocks noChangeArrowheads="1"/>
            </p:cNvSpPr>
            <p:nvPr/>
          </p:nvSpPr>
          <p:spPr bwMode="auto">
            <a:xfrm>
              <a:off x="4711700" y="2035175"/>
              <a:ext cx="1328738" cy="2836863"/>
            </a:xfrm>
            <a:custGeom>
              <a:avLst/>
              <a:gdLst>
                <a:gd name="T0" fmla="*/ 937679 w 3690"/>
                <a:gd name="T1" fmla="*/ 2338019 h 7882"/>
                <a:gd name="T2" fmla="*/ 937679 w 3690"/>
                <a:gd name="T3" fmla="*/ 1422750 h 7882"/>
                <a:gd name="T4" fmla="*/ 582988 w 3690"/>
                <a:gd name="T5" fmla="*/ 1556999 h 7882"/>
                <a:gd name="T6" fmla="*/ 392500 w 3690"/>
                <a:gd name="T7" fmla="*/ 1844573 h 7882"/>
                <a:gd name="T8" fmla="*/ 392500 w 3690"/>
                <a:gd name="T9" fmla="*/ 2266035 h 7882"/>
                <a:gd name="T10" fmla="*/ 582988 w 3690"/>
                <a:gd name="T11" fmla="*/ 2466149 h 7882"/>
                <a:gd name="T12" fmla="*/ 937679 w 3690"/>
                <a:gd name="T13" fmla="*/ 2338019 h 7882"/>
                <a:gd name="T14" fmla="*/ 2161 w 3690"/>
                <a:gd name="T15" fmla="*/ 1839174 h 7882"/>
                <a:gd name="T16" fmla="*/ 413025 w 3690"/>
                <a:gd name="T17" fmla="*/ 1253950 h 7882"/>
                <a:gd name="T18" fmla="*/ 937679 w 3690"/>
                <a:gd name="T19" fmla="*/ 1073991 h 7882"/>
                <a:gd name="T20" fmla="*/ 937679 w 3690"/>
                <a:gd name="T21" fmla="*/ 611498 h 7882"/>
                <a:gd name="T22" fmla="*/ 690656 w 3690"/>
                <a:gd name="T23" fmla="*/ 359557 h 7882"/>
                <a:gd name="T24" fmla="*/ 627280 w 3690"/>
                <a:gd name="T25" fmla="*/ 359557 h 7882"/>
                <a:gd name="T26" fmla="*/ 380257 w 3690"/>
                <a:gd name="T27" fmla="*/ 611498 h 7882"/>
                <a:gd name="T28" fmla="*/ 380257 w 3690"/>
                <a:gd name="T29" fmla="*/ 1004527 h 7882"/>
                <a:gd name="T30" fmla="*/ 0 w 3690"/>
                <a:gd name="T31" fmla="*/ 1004527 h 7882"/>
                <a:gd name="T32" fmla="*/ 0 w 3690"/>
                <a:gd name="T33" fmla="*/ 626975 h 7882"/>
                <a:gd name="T34" fmla="*/ 627280 w 3690"/>
                <a:gd name="T35" fmla="*/ 0 h 7882"/>
                <a:gd name="T36" fmla="*/ 701098 w 3690"/>
                <a:gd name="T37" fmla="*/ 0 h 7882"/>
                <a:gd name="T38" fmla="*/ 1328378 w 3690"/>
                <a:gd name="T39" fmla="*/ 626975 h 7882"/>
                <a:gd name="T40" fmla="*/ 1328378 w 3690"/>
                <a:gd name="T41" fmla="*/ 2805550 h 7882"/>
                <a:gd name="T42" fmla="*/ 937679 w 3690"/>
                <a:gd name="T43" fmla="*/ 2805550 h 7882"/>
                <a:gd name="T44" fmla="*/ 937679 w 3690"/>
                <a:gd name="T45" fmla="*/ 2630631 h 7882"/>
                <a:gd name="T46" fmla="*/ 459477 w 3690"/>
                <a:gd name="T47" fmla="*/ 2836503 h 7882"/>
                <a:gd name="T48" fmla="*/ 2161 w 3690"/>
                <a:gd name="T49" fmla="*/ 2348096 h 7882"/>
                <a:gd name="T50" fmla="*/ 2161 w 3690"/>
                <a:gd name="T51" fmla="*/ 1839174 h 7882"/>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3690" h="7882">
                  <a:moveTo>
                    <a:pt x="2604" y="6496"/>
                  </a:moveTo>
                  <a:lnTo>
                    <a:pt x="2604" y="3953"/>
                  </a:lnTo>
                  <a:lnTo>
                    <a:pt x="1619" y="4326"/>
                  </a:lnTo>
                  <a:cubicBezTo>
                    <a:pt x="1219" y="4483"/>
                    <a:pt x="1090" y="4683"/>
                    <a:pt x="1090" y="5125"/>
                  </a:cubicBezTo>
                  <a:lnTo>
                    <a:pt x="1090" y="6296"/>
                  </a:lnTo>
                  <a:cubicBezTo>
                    <a:pt x="1090" y="6667"/>
                    <a:pt x="1276" y="6852"/>
                    <a:pt x="1619" y="6852"/>
                  </a:cubicBezTo>
                  <a:cubicBezTo>
                    <a:pt x="1947" y="6852"/>
                    <a:pt x="2247" y="6738"/>
                    <a:pt x="2604" y="6496"/>
                  </a:cubicBezTo>
                  <a:close/>
                  <a:moveTo>
                    <a:pt x="6" y="5110"/>
                  </a:moveTo>
                  <a:cubicBezTo>
                    <a:pt x="6" y="4155"/>
                    <a:pt x="320" y="3769"/>
                    <a:pt x="1147" y="3484"/>
                  </a:cubicBezTo>
                  <a:lnTo>
                    <a:pt x="2604" y="2984"/>
                  </a:lnTo>
                  <a:lnTo>
                    <a:pt x="2604" y="1699"/>
                  </a:lnTo>
                  <a:cubicBezTo>
                    <a:pt x="2604" y="1242"/>
                    <a:pt x="2375" y="999"/>
                    <a:pt x="1918" y="999"/>
                  </a:cubicBezTo>
                  <a:lnTo>
                    <a:pt x="1742" y="999"/>
                  </a:lnTo>
                  <a:cubicBezTo>
                    <a:pt x="1285" y="999"/>
                    <a:pt x="1056" y="1242"/>
                    <a:pt x="1056" y="1699"/>
                  </a:cubicBezTo>
                  <a:lnTo>
                    <a:pt x="1056" y="2791"/>
                  </a:lnTo>
                  <a:lnTo>
                    <a:pt x="0" y="2791"/>
                  </a:lnTo>
                  <a:lnTo>
                    <a:pt x="0" y="1742"/>
                  </a:lnTo>
                  <a:cubicBezTo>
                    <a:pt x="0" y="585"/>
                    <a:pt x="586" y="0"/>
                    <a:pt x="1742" y="0"/>
                  </a:cubicBezTo>
                  <a:lnTo>
                    <a:pt x="1947" y="0"/>
                  </a:lnTo>
                  <a:cubicBezTo>
                    <a:pt x="3104" y="0"/>
                    <a:pt x="3689" y="585"/>
                    <a:pt x="3689" y="1742"/>
                  </a:cubicBezTo>
                  <a:lnTo>
                    <a:pt x="3689" y="7795"/>
                  </a:lnTo>
                  <a:lnTo>
                    <a:pt x="2604" y="7795"/>
                  </a:lnTo>
                  <a:lnTo>
                    <a:pt x="2604" y="7309"/>
                  </a:lnTo>
                  <a:cubicBezTo>
                    <a:pt x="2304" y="7595"/>
                    <a:pt x="1904" y="7881"/>
                    <a:pt x="1276" y="7881"/>
                  </a:cubicBezTo>
                  <a:cubicBezTo>
                    <a:pt x="406" y="7881"/>
                    <a:pt x="6" y="7381"/>
                    <a:pt x="6" y="6524"/>
                  </a:cubicBezTo>
                  <a:lnTo>
                    <a:pt x="6" y="5110"/>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endParaRPr lang="en-US"/>
            </a:p>
          </p:txBody>
        </p:sp>
        <p:sp>
          <p:nvSpPr>
            <p:cNvPr id="13" name="Freeform 4">
              <a:extLst>
                <a:ext uri="{FF2B5EF4-FFF2-40B4-BE49-F238E27FC236}">
                  <a16:creationId xmlns:a16="http://schemas.microsoft.com/office/drawing/2014/main" id="{92A605BB-024A-3D8E-5EB1-BB890CE97C46}"/>
                </a:ext>
              </a:extLst>
            </p:cNvPr>
            <p:cNvSpPr>
              <a:spLocks noChangeArrowheads="1"/>
            </p:cNvSpPr>
            <p:nvPr/>
          </p:nvSpPr>
          <p:spPr bwMode="auto">
            <a:xfrm>
              <a:off x="6292850" y="2035175"/>
              <a:ext cx="2262188" cy="2806700"/>
            </a:xfrm>
            <a:custGeom>
              <a:avLst/>
              <a:gdLst>
                <a:gd name="T0" fmla="*/ 1326358 w 6285"/>
                <a:gd name="T1" fmla="*/ 2806340 h 7796"/>
                <a:gd name="T2" fmla="*/ 935470 w 6285"/>
                <a:gd name="T3" fmla="*/ 2806340 h 7796"/>
                <a:gd name="T4" fmla="*/ 935470 w 6285"/>
                <a:gd name="T5" fmla="*/ 570628 h 7796"/>
                <a:gd name="T6" fmla="*/ 750463 w 6285"/>
                <a:gd name="T7" fmla="*/ 370098 h 7796"/>
                <a:gd name="T8" fmla="*/ 390889 w 6285"/>
                <a:gd name="T9" fmla="*/ 508705 h 7796"/>
                <a:gd name="T10" fmla="*/ 390889 w 6285"/>
                <a:gd name="T11" fmla="*/ 2806340 h 7796"/>
                <a:gd name="T12" fmla="*/ 0 w 6285"/>
                <a:gd name="T13" fmla="*/ 2806340 h 7796"/>
                <a:gd name="T14" fmla="*/ 0 w 6285"/>
                <a:gd name="T15" fmla="*/ 30602 h 7796"/>
                <a:gd name="T16" fmla="*/ 390889 w 6285"/>
                <a:gd name="T17" fmla="*/ 30602 h 7796"/>
                <a:gd name="T18" fmla="*/ 390889 w 6285"/>
                <a:gd name="T19" fmla="*/ 210611 h 7796"/>
                <a:gd name="T20" fmla="*/ 868882 w 6285"/>
                <a:gd name="T21" fmla="*/ 0 h 7796"/>
                <a:gd name="T22" fmla="*/ 1274888 w 6285"/>
                <a:gd name="T23" fmla="*/ 226091 h 7796"/>
                <a:gd name="T24" fmla="*/ 1804351 w 6285"/>
                <a:gd name="T25" fmla="*/ 0 h 7796"/>
                <a:gd name="T26" fmla="*/ 2261828 w 6285"/>
                <a:gd name="T27" fmla="*/ 488184 h 7796"/>
                <a:gd name="T28" fmla="*/ 2261828 w 6285"/>
                <a:gd name="T29" fmla="*/ 2806340 h 7796"/>
                <a:gd name="T30" fmla="*/ 1870939 w 6285"/>
                <a:gd name="T31" fmla="*/ 2806340 h 7796"/>
                <a:gd name="T32" fmla="*/ 1870939 w 6285"/>
                <a:gd name="T33" fmla="*/ 570628 h 7796"/>
                <a:gd name="T34" fmla="*/ 1685933 w 6285"/>
                <a:gd name="T35" fmla="*/ 370098 h 7796"/>
                <a:gd name="T36" fmla="*/ 1326358 w 6285"/>
                <a:gd name="T37" fmla="*/ 508705 h 7796"/>
                <a:gd name="T38" fmla="*/ 1326358 w 6285"/>
                <a:gd name="T39" fmla="*/ 2806340 h 779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6285" h="7796">
                  <a:moveTo>
                    <a:pt x="3685" y="7795"/>
                  </a:moveTo>
                  <a:lnTo>
                    <a:pt x="2599" y="7795"/>
                  </a:lnTo>
                  <a:lnTo>
                    <a:pt x="2599" y="1585"/>
                  </a:lnTo>
                  <a:cubicBezTo>
                    <a:pt x="2599" y="1199"/>
                    <a:pt x="2414" y="1028"/>
                    <a:pt x="2085" y="1028"/>
                  </a:cubicBezTo>
                  <a:cubicBezTo>
                    <a:pt x="1785" y="1028"/>
                    <a:pt x="1471" y="1142"/>
                    <a:pt x="1086" y="1413"/>
                  </a:cubicBezTo>
                  <a:lnTo>
                    <a:pt x="1086" y="7795"/>
                  </a:lnTo>
                  <a:lnTo>
                    <a:pt x="0" y="7795"/>
                  </a:lnTo>
                  <a:lnTo>
                    <a:pt x="0" y="85"/>
                  </a:lnTo>
                  <a:lnTo>
                    <a:pt x="1086" y="85"/>
                  </a:lnTo>
                  <a:lnTo>
                    <a:pt x="1086" y="585"/>
                  </a:lnTo>
                  <a:cubicBezTo>
                    <a:pt x="1400" y="285"/>
                    <a:pt x="1814" y="0"/>
                    <a:pt x="2414" y="0"/>
                  </a:cubicBezTo>
                  <a:cubicBezTo>
                    <a:pt x="2971" y="0"/>
                    <a:pt x="3342" y="228"/>
                    <a:pt x="3542" y="628"/>
                  </a:cubicBezTo>
                  <a:cubicBezTo>
                    <a:pt x="3928" y="299"/>
                    <a:pt x="4385" y="0"/>
                    <a:pt x="5013" y="0"/>
                  </a:cubicBezTo>
                  <a:cubicBezTo>
                    <a:pt x="5855" y="0"/>
                    <a:pt x="6284" y="514"/>
                    <a:pt x="6284" y="1356"/>
                  </a:cubicBezTo>
                  <a:lnTo>
                    <a:pt x="6284" y="7795"/>
                  </a:lnTo>
                  <a:lnTo>
                    <a:pt x="5198" y="7795"/>
                  </a:lnTo>
                  <a:lnTo>
                    <a:pt x="5198" y="1585"/>
                  </a:lnTo>
                  <a:cubicBezTo>
                    <a:pt x="5198" y="1199"/>
                    <a:pt x="5013" y="1028"/>
                    <a:pt x="4684" y="1028"/>
                  </a:cubicBezTo>
                  <a:cubicBezTo>
                    <a:pt x="4385" y="1028"/>
                    <a:pt x="4070" y="1142"/>
                    <a:pt x="3685" y="1413"/>
                  </a:cubicBezTo>
                  <a:lnTo>
                    <a:pt x="3685" y="7795"/>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endParaRPr lang="en-US"/>
            </a:p>
          </p:txBody>
        </p:sp>
        <p:sp>
          <p:nvSpPr>
            <p:cNvPr id="23" name="Freeform 5">
              <a:extLst>
                <a:ext uri="{FF2B5EF4-FFF2-40B4-BE49-F238E27FC236}">
                  <a16:creationId xmlns:a16="http://schemas.microsoft.com/office/drawing/2014/main" id="{6D6DEDCA-C238-E39B-25E0-F463AB2F2BFB}"/>
                </a:ext>
              </a:extLst>
            </p:cNvPr>
            <p:cNvSpPr>
              <a:spLocks noChangeArrowheads="1"/>
            </p:cNvSpPr>
            <p:nvPr/>
          </p:nvSpPr>
          <p:spPr bwMode="auto">
            <a:xfrm>
              <a:off x="14288" y="2322513"/>
              <a:ext cx="1004887" cy="2274887"/>
            </a:xfrm>
            <a:custGeom>
              <a:avLst/>
              <a:gdLst>
                <a:gd name="T0" fmla="*/ 1004527 w 2790"/>
                <a:gd name="T1" fmla="*/ 0 h 6317"/>
                <a:gd name="T2" fmla="*/ 1004527 w 2790"/>
                <a:gd name="T3" fmla="*/ 510652 h 6317"/>
                <a:gd name="T4" fmla="*/ 346488 w 2790"/>
                <a:gd name="T5" fmla="*/ 1137624 h 6317"/>
                <a:gd name="T6" fmla="*/ 1004527 w 2790"/>
                <a:gd name="T7" fmla="*/ 1752711 h 6317"/>
                <a:gd name="T8" fmla="*/ 1004527 w 2790"/>
                <a:gd name="T9" fmla="*/ 2274527 h 6317"/>
                <a:gd name="T10" fmla="*/ 0 w 2790"/>
                <a:gd name="T11" fmla="*/ 1331009 h 6317"/>
                <a:gd name="T12" fmla="*/ 0 w 2790"/>
                <a:gd name="T13" fmla="*/ 955042 h 6317"/>
                <a:gd name="T14" fmla="*/ 1004527 w 2790"/>
                <a:gd name="T15" fmla="*/ 0 h 6317"/>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2790" h="6317">
                  <a:moveTo>
                    <a:pt x="2789" y="0"/>
                  </a:moveTo>
                  <a:lnTo>
                    <a:pt x="2789" y="1418"/>
                  </a:lnTo>
                  <a:lnTo>
                    <a:pt x="962" y="3159"/>
                  </a:lnTo>
                  <a:lnTo>
                    <a:pt x="2789" y="4867"/>
                  </a:lnTo>
                  <a:lnTo>
                    <a:pt x="2789" y="6316"/>
                  </a:lnTo>
                  <a:lnTo>
                    <a:pt x="0" y="3696"/>
                  </a:lnTo>
                  <a:lnTo>
                    <a:pt x="0" y="2652"/>
                  </a:lnTo>
                  <a:lnTo>
                    <a:pt x="2789"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endParaRPr lang="en-US"/>
            </a:p>
          </p:txBody>
        </p:sp>
        <p:sp>
          <p:nvSpPr>
            <p:cNvPr id="24" name="Freeform 6">
              <a:extLst>
                <a:ext uri="{FF2B5EF4-FFF2-40B4-BE49-F238E27FC236}">
                  <a16:creationId xmlns:a16="http://schemas.microsoft.com/office/drawing/2014/main" id="{B7D9C114-6C17-D8E0-7CAF-754DF680EFDE}"/>
                </a:ext>
              </a:extLst>
            </p:cNvPr>
            <p:cNvSpPr>
              <a:spLocks noChangeArrowheads="1"/>
            </p:cNvSpPr>
            <p:nvPr/>
          </p:nvSpPr>
          <p:spPr bwMode="auto">
            <a:xfrm>
              <a:off x="9050338" y="2322513"/>
              <a:ext cx="1003300" cy="2274887"/>
            </a:xfrm>
            <a:custGeom>
              <a:avLst/>
              <a:gdLst>
                <a:gd name="T0" fmla="*/ 1002940 w 2789"/>
                <a:gd name="T1" fmla="*/ 955042 h 6317"/>
                <a:gd name="T2" fmla="*/ 1002940 w 2789"/>
                <a:gd name="T3" fmla="*/ 1331009 h 6317"/>
                <a:gd name="T4" fmla="*/ 0 w 2789"/>
                <a:gd name="T5" fmla="*/ 2274527 h 6317"/>
                <a:gd name="T6" fmla="*/ 0 w 2789"/>
                <a:gd name="T7" fmla="*/ 1752711 h 6317"/>
                <a:gd name="T8" fmla="*/ 656876 w 2789"/>
                <a:gd name="T9" fmla="*/ 1137624 h 6317"/>
                <a:gd name="T10" fmla="*/ 0 w 2789"/>
                <a:gd name="T11" fmla="*/ 510652 h 6317"/>
                <a:gd name="T12" fmla="*/ 0 w 2789"/>
                <a:gd name="T13" fmla="*/ 0 h 6317"/>
                <a:gd name="T14" fmla="*/ 1002940 w 2789"/>
                <a:gd name="T15" fmla="*/ 955042 h 6317"/>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2789" h="6317">
                  <a:moveTo>
                    <a:pt x="2788" y="2652"/>
                  </a:moveTo>
                  <a:lnTo>
                    <a:pt x="2788" y="3696"/>
                  </a:lnTo>
                  <a:lnTo>
                    <a:pt x="0" y="6316"/>
                  </a:lnTo>
                  <a:lnTo>
                    <a:pt x="0" y="4867"/>
                  </a:lnTo>
                  <a:lnTo>
                    <a:pt x="1826" y="3159"/>
                  </a:lnTo>
                  <a:lnTo>
                    <a:pt x="0" y="1418"/>
                  </a:lnTo>
                  <a:lnTo>
                    <a:pt x="0" y="0"/>
                  </a:lnTo>
                  <a:lnTo>
                    <a:pt x="2788" y="2652"/>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endParaRPr lang="en-US"/>
            </a:p>
          </p:txBody>
        </p:sp>
      </p:grpSp>
      <p:sp>
        <p:nvSpPr>
          <p:cNvPr id="25" name="Footer Placeholder 14">
            <a:extLst>
              <a:ext uri="{FF2B5EF4-FFF2-40B4-BE49-F238E27FC236}">
                <a16:creationId xmlns:a16="http://schemas.microsoft.com/office/drawing/2014/main" id="{D14A5A8C-4806-2EEC-5CDC-9E9D9CB62071}"/>
              </a:ext>
            </a:extLst>
          </p:cNvPr>
          <p:cNvSpPr txBox="1">
            <a:spLocks/>
          </p:cNvSpPr>
          <p:nvPr userDrawn="1"/>
        </p:nvSpPr>
        <p:spPr>
          <a:xfrm>
            <a:off x="1205299" y="6410231"/>
            <a:ext cx="2157779" cy="228599"/>
          </a:xfrm>
          <a:prstGeom prst="rect">
            <a:avLst/>
          </a:prstGeom>
        </p:spPr>
        <p:txBody>
          <a:bodyPr vert="horz" lIns="0" tIns="0" rIns="0" bIns="0" rtlCol="0" anchor="ctr"/>
          <a:lstStyle>
            <a:defPPr>
              <a:defRPr lang="en-US"/>
            </a:defPPr>
            <a:lvl1pPr marL="0" algn="r" defTabSz="914400" rtl="0" eaLnBrk="1" latinLnBrk="0" hangingPunct="1">
              <a:defRPr sz="600" b="0" i="0" kern="1200">
                <a:solidFill>
                  <a:schemeClr val="tx1"/>
                </a:solidFill>
                <a:latin typeface="+mn-lt"/>
                <a:ea typeface="Calibri" panose="020F0502020204030204" pitchFamily="34" charset="0"/>
                <a:cs typeface="Calibri" panose="020F050202020403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b="0" i="0">
                <a:solidFill>
                  <a:schemeClr val="tx1"/>
                </a:solidFill>
                <a:latin typeface="+mn-lt"/>
              </a:rPr>
              <a:t>EPAM Proprietary &amp; Confidential</a:t>
            </a:r>
            <a:r>
              <a:rPr lang="ru-RU" b="0" i="0">
                <a:solidFill>
                  <a:schemeClr val="tx1"/>
                </a:solidFill>
                <a:latin typeface="+mn-lt"/>
              </a:rPr>
              <a:t> </a:t>
            </a:r>
            <a:endParaRPr lang="en-US" b="0" i="0">
              <a:solidFill>
                <a:schemeClr val="tx1"/>
              </a:solidFill>
              <a:latin typeface="+mn-lt"/>
            </a:endParaRPr>
          </a:p>
        </p:txBody>
      </p:sp>
      <p:pic>
        <p:nvPicPr>
          <p:cNvPr id="5" name="Graphic 4">
            <a:extLst>
              <a:ext uri="{FF2B5EF4-FFF2-40B4-BE49-F238E27FC236}">
                <a16:creationId xmlns:a16="http://schemas.microsoft.com/office/drawing/2014/main" id="{EEA97BDD-BF7D-DC7F-5CA4-483F7F9113E0}"/>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820265" y="6419060"/>
            <a:ext cx="762923" cy="205636"/>
          </a:xfrm>
          <a:prstGeom prst="rect">
            <a:avLst/>
          </a:prstGeom>
        </p:spPr>
      </p:pic>
    </p:spTree>
    <p:extLst>
      <p:ext uri="{BB962C8B-B14F-4D97-AF65-F5344CB8AC3E}">
        <p14:creationId xmlns:p14="http://schemas.microsoft.com/office/powerpoint/2010/main" val="1519542800"/>
      </p:ext>
    </p:extLst>
  </p:cSld>
  <p:clrMapOvr>
    <a:masterClrMapping/>
  </p:clrMapOvr>
  <p:extLst>
    <p:ext uri="{DCECCB84-F9BA-43D5-87BE-67443E8EF086}">
      <p15:sldGuideLst xmlns:p15="http://schemas.microsoft.com/office/powerpoint/2012/main"/>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3-pictures + Title + Text">
    <p:spTree>
      <p:nvGrpSpPr>
        <p:cNvPr id="1" name=""/>
        <p:cNvGrpSpPr/>
        <p:nvPr/>
      </p:nvGrpSpPr>
      <p:grpSpPr>
        <a:xfrm>
          <a:off x="0" y="0"/>
          <a:ext cx="0" cy="0"/>
          <a:chOff x="0" y="0"/>
          <a:chExt cx="0" cy="0"/>
        </a:xfrm>
      </p:grpSpPr>
      <p:sp>
        <p:nvSpPr>
          <p:cNvPr id="11" name="Title 1"/>
          <p:cNvSpPr>
            <a:spLocks noGrp="1"/>
          </p:cNvSpPr>
          <p:nvPr>
            <p:ph type="title"/>
          </p:nvPr>
        </p:nvSpPr>
        <p:spPr>
          <a:xfrm>
            <a:off x="457201" y="4124960"/>
            <a:ext cx="3312160" cy="246221"/>
          </a:xfrm>
          <a:prstGeom prst="rect">
            <a:avLst/>
          </a:prstGeom>
        </p:spPr>
        <p:txBody>
          <a:bodyPr>
            <a:spAutoFit/>
          </a:bodyPr>
          <a:lstStyle>
            <a:lvl1pPr>
              <a:defRPr sz="1600" b="1">
                <a:solidFill>
                  <a:schemeClr val="tx1"/>
                </a:solidFill>
                <a:latin typeface="+mn-lt"/>
              </a:defRPr>
            </a:lvl1pPr>
          </a:lstStyle>
          <a:p>
            <a:r>
              <a:rPr lang="en-US"/>
              <a:t>Click to edit Master title style</a:t>
            </a:r>
          </a:p>
        </p:txBody>
      </p:sp>
      <p:sp>
        <p:nvSpPr>
          <p:cNvPr id="10" name="Text Placeholder 2">
            <a:extLst>
              <a:ext uri="{FF2B5EF4-FFF2-40B4-BE49-F238E27FC236}">
                <a16:creationId xmlns:a16="http://schemas.microsoft.com/office/drawing/2014/main" id="{DCFE7496-2B11-468F-A424-81EF7552D417}"/>
              </a:ext>
            </a:extLst>
          </p:cNvPr>
          <p:cNvSpPr>
            <a:spLocks noGrp="1"/>
          </p:cNvSpPr>
          <p:nvPr>
            <p:ph type="body" sz="quarter" idx="17" hasCustomPrompt="1"/>
          </p:nvPr>
        </p:nvSpPr>
        <p:spPr>
          <a:xfrm>
            <a:off x="469773" y="4502295"/>
            <a:ext cx="3299588" cy="802399"/>
          </a:xfrm>
          <a:prstGeom prst="rect">
            <a:avLst/>
          </a:prstGeom>
        </p:spPr>
        <p:txBody>
          <a:bodyPr wrap="square">
            <a:spAutoFit/>
          </a:bodyPr>
          <a:lstStyle>
            <a:lvl1pPr>
              <a:defRPr sz="1200" b="0">
                <a:solidFill>
                  <a:schemeClr val="tx1"/>
                </a:solidFill>
                <a:latin typeface="Calibri Light" panose="020F0302020204030204" pitchFamily="34" charset="0"/>
                <a:cs typeface="Calibri Light" panose="020F0302020204030204" pitchFamily="34" charset="0"/>
              </a:defRPr>
            </a:lvl1pPr>
            <a:lvl2pPr>
              <a:buNone/>
              <a:defRPr/>
            </a:lvl2pPr>
            <a:lvl3pPr>
              <a:buNone/>
              <a:defRPr/>
            </a:lvl3pPr>
          </a:lstStyle>
          <a:p>
            <a:pPr lvl="0"/>
            <a:r>
              <a:rPr lang="en-US"/>
              <a:t>Lorem Ipsum is simply dummy text of the printing and typesetting industry. Lorem Ipsum has been the industry's standard dummy text ever since the 1500s, when an unknown printer took a galley of type and</a:t>
            </a:r>
          </a:p>
        </p:txBody>
      </p:sp>
      <p:sp>
        <p:nvSpPr>
          <p:cNvPr id="13" name="Picture Placeholder 12">
            <a:extLst>
              <a:ext uri="{FF2B5EF4-FFF2-40B4-BE49-F238E27FC236}">
                <a16:creationId xmlns:a16="http://schemas.microsoft.com/office/drawing/2014/main" id="{256621FE-2493-434D-BD83-B0B78B101F25}"/>
              </a:ext>
            </a:extLst>
          </p:cNvPr>
          <p:cNvSpPr>
            <a:spLocks noGrp="1"/>
          </p:cNvSpPr>
          <p:nvPr>
            <p:ph type="pic" sz="quarter" idx="18"/>
          </p:nvPr>
        </p:nvSpPr>
        <p:spPr>
          <a:xfrm>
            <a:off x="0" y="0"/>
            <a:ext cx="4076700" cy="3429000"/>
          </a:xfrm>
          <a:prstGeom prst="rect">
            <a:avLst/>
          </a:prstGeom>
          <a:solidFill>
            <a:schemeClr val="bg2"/>
          </a:solidFill>
        </p:spPr>
        <p:txBody>
          <a:bodyPr/>
          <a:lstStyle/>
          <a:p>
            <a:endParaRPr lang="en-US"/>
          </a:p>
        </p:txBody>
      </p:sp>
      <p:sp>
        <p:nvSpPr>
          <p:cNvPr id="14" name="Picture Placeholder 12">
            <a:extLst>
              <a:ext uri="{FF2B5EF4-FFF2-40B4-BE49-F238E27FC236}">
                <a16:creationId xmlns:a16="http://schemas.microsoft.com/office/drawing/2014/main" id="{2F7B19A9-71C0-403D-B507-22838A53F144}"/>
              </a:ext>
            </a:extLst>
          </p:cNvPr>
          <p:cNvSpPr>
            <a:spLocks noGrp="1"/>
          </p:cNvSpPr>
          <p:nvPr>
            <p:ph type="pic" sz="quarter" idx="19"/>
          </p:nvPr>
        </p:nvSpPr>
        <p:spPr>
          <a:xfrm>
            <a:off x="4076700" y="0"/>
            <a:ext cx="4064000" cy="3429000"/>
          </a:xfrm>
          <a:prstGeom prst="rect">
            <a:avLst/>
          </a:prstGeom>
          <a:solidFill>
            <a:schemeClr val="bg2"/>
          </a:solidFill>
        </p:spPr>
        <p:txBody>
          <a:bodyPr/>
          <a:lstStyle/>
          <a:p>
            <a:endParaRPr lang="en-US"/>
          </a:p>
        </p:txBody>
      </p:sp>
      <p:sp>
        <p:nvSpPr>
          <p:cNvPr id="15" name="Picture Placeholder 12">
            <a:extLst>
              <a:ext uri="{FF2B5EF4-FFF2-40B4-BE49-F238E27FC236}">
                <a16:creationId xmlns:a16="http://schemas.microsoft.com/office/drawing/2014/main" id="{584A1708-3D5F-4AC2-B35F-FB446EFEB7C2}"/>
              </a:ext>
            </a:extLst>
          </p:cNvPr>
          <p:cNvSpPr>
            <a:spLocks noGrp="1"/>
          </p:cNvSpPr>
          <p:nvPr>
            <p:ph type="pic" sz="quarter" idx="20"/>
          </p:nvPr>
        </p:nvSpPr>
        <p:spPr>
          <a:xfrm>
            <a:off x="8140700" y="0"/>
            <a:ext cx="4064000" cy="3429000"/>
          </a:xfrm>
          <a:prstGeom prst="rect">
            <a:avLst/>
          </a:prstGeom>
          <a:solidFill>
            <a:schemeClr val="bg2"/>
          </a:solidFill>
        </p:spPr>
        <p:txBody>
          <a:bodyPr/>
          <a:lstStyle/>
          <a:p>
            <a:endParaRPr lang="en-US"/>
          </a:p>
        </p:txBody>
      </p:sp>
      <p:sp>
        <p:nvSpPr>
          <p:cNvPr id="17" name="Text Placeholder 2">
            <a:extLst>
              <a:ext uri="{FF2B5EF4-FFF2-40B4-BE49-F238E27FC236}">
                <a16:creationId xmlns:a16="http://schemas.microsoft.com/office/drawing/2014/main" id="{97BF9D5A-73E5-43EB-95F4-FF5636951647}"/>
              </a:ext>
            </a:extLst>
          </p:cNvPr>
          <p:cNvSpPr>
            <a:spLocks noGrp="1"/>
          </p:cNvSpPr>
          <p:nvPr>
            <p:ph type="body" sz="quarter" idx="21" hasCustomPrompt="1"/>
          </p:nvPr>
        </p:nvSpPr>
        <p:spPr>
          <a:xfrm>
            <a:off x="4314697" y="4502295"/>
            <a:ext cx="3299588" cy="802399"/>
          </a:xfrm>
          <a:prstGeom prst="rect">
            <a:avLst/>
          </a:prstGeom>
        </p:spPr>
        <p:txBody>
          <a:bodyPr wrap="square">
            <a:spAutoFit/>
          </a:bodyPr>
          <a:lstStyle>
            <a:lvl1pPr>
              <a:defRPr sz="1200" b="0">
                <a:solidFill>
                  <a:schemeClr val="tx1"/>
                </a:solidFill>
                <a:latin typeface="Calibri Light" panose="020F0302020204030204" pitchFamily="34" charset="0"/>
                <a:cs typeface="Calibri Light" panose="020F0302020204030204" pitchFamily="34" charset="0"/>
              </a:defRPr>
            </a:lvl1pPr>
            <a:lvl2pPr>
              <a:buNone/>
              <a:defRPr/>
            </a:lvl2pPr>
            <a:lvl3pPr>
              <a:buNone/>
              <a:defRPr/>
            </a:lvl3pPr>
          </a:lstStyle>
          <a:p>
            <a:pPr lvl="0"/>
            <a:r>
              <a:rPr lang="en-US"/>
              <a:t>Lorem Ipsum is simply dummy text of the printing and typesetting industry. Lorem Ipsum has been the industry's standard dummy text ever since the 1500s, when an unknown printer took a galley of type and</a:t>
            </a:r>
          </a:p>
        </p:txBody>
      </p:sp>
      <p:sp>
        <p:nvSpPr>
          <p:cNvPr id="19" name="Text Placeholder 2">
            <a:extLst>
              <a:ext uri="{FF2B5EF4-FFF2-40B4-BE49-F238E27FC236}">
                <a16:creationId xmlns:a16="http://schemas.microsoft.com/office/drawing/2014/main" id="{6AC52B6B-2068-4BD5-8D7B-E2AA5CC142A6}"/>
              </a:ext>
            </a:extLst>
          </p:cNvPr>
          <p:cNvSpPr>
            <a:spLocks noGrp="1"/>
          </p:cNvSpPr>
          <p:nvPr>
            <p:ph type="body" sz="quarter" idx="22" hasCustomPrompt="1"/>
          </p:nvPr>
        </p:nvSpPr>
        <p:spPr>
          <a:xfrm>
            <a:off x="8406449" y="4502295"/>
            <a:ext cx="3299588" cy="802399"/>
          </a:xfrm>
          <a:prstGeom prst="rect">
            <a:avLst/>
          </a:prstGeom>
        </p:spPr>
        <p:txBody>
          <a:bodyPr wrap="square">
            <a:spAutoFit/>
          </a:bodyPr>
          <a:lstStyle>
            <a:lvl1pPr>
              <a:defRPr sz="1200" b="0">
                <a:solidFill>
                  <a:schemeClr val="tx1"/>
                </a:solidFill>
                <a:latin typeface="Calibri Light" panose="020F0302020204030204" pitchFamily="34" charset="0"/>
                <a:cs typeface="Calibri Light" panose="020F0302020204030204" pitchFamily="34" charset="0"/>
              </a:defRPr>
            </a:lvl1pPr>
            <a:lvl2pPr>
              <a:buNone/>
              <a:defRPr/>
            </a:lvl2pPr>
            <a:lvl3pPr>
              <a:buNone/>
              <a:defRPr/>
            </a:lvl3pPr>
          </a:lstStyle>
          <a:p>
            <a:pPr lvl="0"/>
            <a:r>
              <a:rPr lang="en-US"/>
              <a:t>Lorem Ipsum is simply dummy text of the printing and typesetting industry. Lorem Ipsum has been the industry's standard dummy text ever since the 1500s, when an unknown printer took a galley of type and</a:t>
            </a:r>
          </a:p>
        </p:txBody>
      </p:sp>
      <p:sp>
        <p:nvSpPr>
          <p:cNvPr id="4" name="Text Placeholder 3">
            <a:extLst>
              <a:ext uri="{FF2B5EF4-FFF2-40B4-BE49-F238E27FC236}">
                <a16:creationId xmlns:a16="http://schemas.microsoft.com/office/drawing/2014/main" id="{AC56DCAB-CD09-4E29-A907-70E7EBE0E688}"/>
              </a:ext>
            </a:extLst>
          </p:cNvPr>
          <p:cNvSpPr>
            <a:spLocks noGrp="1"/>
          </p:cNvSpPr>
          <p:nvPr>
            <p:ph type="body" sz="quarter" idx="23"/>
          </p:nvPr>
        </p:nvSpPr>
        <p:spPr>
          <a:xfrm>
            <a:off x="4302125" y="4124325"/>
            <a:ext cx="3311525" cy="246221"/>
          </a:xfrm>
          <a:prstGeom prst="rect">
            <a:avLst/>
          </a:prstGeom>
        </p:spPr>
        <p:txBody>
          <a:bodyPr vert="horz" lIns="0" tIns="0" rIns="0" bIns="0" rtlCol="0" anchor="t">
            <a:spAutoFit/>
          </a:bodyPr>
          <a:lstStyle>
            <a:lvl1pPr>
              <a:defRPr lang="en-US" sz="1600" b="1" i="0" smtClean="0">
                <a:latin typeface="Calibri" panose="020F0502020204030204" pitchFamily="34" charset="0"/>
                <a:cs typeface="Calibri" panose="020F0502020204030204" pitchFamily="34" charset="0"/>
              </a:defRPr>
            </a:lvl1pPr>
            <a:lvl2pPr>
              <a:defRPr lang="en-US" smtClean="0"/>
            </a:lvl2pPr>
            <a:lvl3pPr>
              <a:defRPr lang="en-US" smtClean="0"/>
            </a:lvl3pPr>
            <a:lvl4pPr>
              <a:defRPr lang="en-US" smtClean="0"/>
            </a:lvl4pPr>
            <a:lvl5pPr>
              <a:defRPr lang="en-US"/>
            </a:lvl5pPr>
          </a:lstStyle>
          <a:p>
            <a:pPr lvl="0">
              <a:lnSpc>
                <a:spcPct val="100000"/>
              </a:lnSpc>
              <a:spcBef>
                <a:spcPct val="0"/>
              </a:spcBef>
            </a:pPr>
            <a:r>
              <a:rPr lang="en-US"/>
              <a:t>Click to edit Master text styles</a:t>
            </a:r>
          </a:p>
        </p:txBody>
      </p:sp>
      <p:sp>
        <p:nvSpPr>
          <p:cNvPr id="6" name="Text Placeholder 5">
            <a:extLst>
              <a:ext uri="{FF2B5EF4-FFF2-40B4-BE49-F238E27FC236}">
                <a16:creationId xmlns:a16="http://schemas.microsoft.com/office/drawing/2014/main" id="{AC9A5C7D-52BE-42FF-9382-B63BBD810FDD}"/>
              </a:ext>
            </a:extLst>
          </p:cNvPr>
          <p:cNvSpPr>
            <a:spLocks noGrp="1"/>
          </p:cNvSpPr>
          <p:nvPr>
            <p:ph type="body" sz="quarter" idx="24"/>
          </p:nvPr>
        </p:nvSpPr>
        <p:spPr>
          <a:xfrm>
            <a:off x="8406449" y="4114800"/>
            <a:ext cx="3312160" cy="246221"/>
          </a:xfrm>
          <a:prstGeom prst="rect">
            <a:avLst/>
          </a:prstGeom>
        </p:spPr>
        <p:txBody>
          <a:bodyPr vert="horz" lIns="0" tIns="0" rIns="0" bIns="0" rtlCol="0" anchor="t">
            <a:spAutoFit/>
          </a:bodyPr>
          <a:lstStyle>
            <a:lvl1pPr>
              <a:defRPr lang="en-US" sz="1600" b="1" i="0" smtClean="0">
                <a:latin typeface="Calibri" panose="020F0502020204030204" pitchFamily="34" charset="0"/>
                <a:cs typeface="Calibri" panose="020F0502020204030204" pitchFamily="34" charset="0"/>
              </a:defRPr>
            </a:lvl1pPr>
            <a:lvl2pPr>
              <a:defRPr lang="en-US" smtClean="0"/>
            </a:lvl2pPr>
            <a:lvl3pPr>
              <a:defRPr lang="en-US" smtClean="0"/>
            </a:lvl3pPr>
            <a:lvl4pPr>
              <a:defRPr lang="en-US" smtClean="0"/>
            </a:lvl4pPr>
            <a:lvl5pPr>
              <a:defRPr lang="en-US"/>
            </a:lvl5pPr>
          </a:lstStyle>
          <a:p>
            <a:pPr lvl="0">
              <a:lnSpc>
                <a:spcPct val="100000"/>
              </a:lnSpc>
              <a:spcBef>
                <a:spcPct val="0"/>
              </a:spcBef>
            </a:pPr>
            <a:r>
              <a:rPr lang="en-US"/>
              <a:t>Click to edit Master text styles</a:t>
            </a:r>
          </a:p>
        </p:txBody>
      </p:sp>
    </p:spTree>
    <p:extLst>
      <p:ext uri="{BB962C8B-B14F-4D97-AF65-F5344CB8AC3E}">
        <p14:creationId xmlns:p14="http://schemas.microsoft.com/office/powerpoint/2010/main" val="1920734057"/>
      </p:ext>
    </p:extLst>
  </p:cSld>
  <p:clrMapOvr>
    <a:masterClrMapping/>
  </p:clrMapOvr>
  <p:extLst>
    <p:ext uri="{DCECCB84-F9BA-43D5-87BE-67443E8EF086}">
      <p15:sldGuideLst xmlns:p15="http://schemas.microsoft.com/office/powerpoint/2012/main"/>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4-pictures">
    <p:spTree>
      <p:nvGrpSpPr>
        <p:cNvPr id="1" name=""/>
        <p:cNvGrpSpPr/>
        <p:nvPr/>
      </p:nvGrpSpPr>
      <p:grpSpPr>
        <a:xfrm>
          <a:off x="0" y="0"/>
          <a:ext cx="0" cy="0"/>
          <a:chOff x="0" y="0"/>
          <a:chExt cx="0" cy="0"/>
        </a:xfrm>
      </p:grpSpPr>
      <p:pic>
        <p:nvPicPr>
          <p:cNvPr id="3" name="Graphic 2">
            <a:extLst>
              <a:ext uri="{FF2B5EF4-FFF2-40B4-BE49-F238E27FC236}">
                <a16:creationId xmlns:a16="http://schemas.microsoft.com/office/drawing/2014/main" id="{B615E796-86B4-4C38-A923-10DBDCC4B912}"/>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457203" y="6469379"/>
            <a:ext cx="1382049" cy="91440"/>
          </a:xfrm>
          <a:prstGeom prst="rect">
            <a:avLst/>
          </a:prstGeom>
        </p:spPr>
      </p:pic>
      <p:sp>
        <p:nvSpPr>
          <p:cNvPr id="13" name="Picture Placeholder 12">
            <a:extLst>
              <a:ext uri="{FF2B5EF4-FFF2-40B4-BE49-F238E27FC236}">
                <a16:creationId xmlns:a16="http://schemas.microsoft.com/office/drawing/2014/main" id="{256621FE-2493-434D-BD83-B0B78B101F25}"/>
              </a:ext>
            </a:extLst>
          </p:cNvPr>
          <p:cNvSpPr>
            <a:spLocks noGrp="1"/>
          </p:cNvSpPr>
          <p:nvPr>
            <p:ph type="pic" sz="quarter" idx="18"/>
          </p:nvPr>
        </p:nvSpPr>
        <p:spPr>
          <a:xfrm>
            <a:off x="-1" y="0"/>
            <a:ext cx="3045667" cy="6858000"/>
          </a:xfrm>
          <a:prstGeom prst="rect">
            <a:avLst/>
          </a:prstGeom>
          <a:solidFill>
            <a:schemeClr val="bg2"/>
          </a:solidFill>
        </p:spPr>
        <p:txBody>
          <a:bodyPr/>
          <a:lstStyle/>
          <a:p>
            <a:endParaRPr lang="en-US"/>
          </a:p>
        </p:txBody>
      </p:sp>
      <p:sp>
        <p:nvSpPr>
          <p:cNvPr id="16" name="Picture Placeholder 12">
            <a:extLst>
              <a:ext uri="{FF2B5EF4-FFF2-40B4-BE49-F238E27FC236}">
                <a16:creationId xmlns:a16="http://schemas.microsoft.com/office/drawing/2014/main" id="{95D56692-426B-4F40-8BC1-45B989D44140}"/>
              </a:ext>
            </a:extLst>
          </p:cNvPr>
          <p:cNvSpPr>
            <a:spLocks noGrp="1"/>
          </p:cNvSpPr>
          <p:nvPr>
            <p:ph type="pic" sz="quarter" idx="19"/>
          </p:nvPr>
        </p:nvSpPr>
        <p:spPr>
          <a:xfrm>
            <a:off x="3048777" y="0"/>
            <a:ext cx="3045667" cy="6858000"/>
          </a:xfrm>
          <a:prstGeom prst="rect">
            <a:avLst/>
          </a:prstGeom>
          <a:solidFill>
            <a:schemeClr val="bg2"/>
          </a:solidFill>
        </p:spPr>
        <p:txBody>
          <a:bodyPr/>
          <a:lstStyle/>
          <a:p>
            <a:endParaRPr lang="en-US"/>
          </a:p>
        </p:txBody>
      </p:sp>
      <p:sp>
        <p:nvSpPr>
          <p:cNvPr id="18" name="Picture Placeholder 12">
            <a:extLst>
              <a:ext uri="{FF2B5EF4-FFF2-40B4-BE49-F238E27FC236}">
                <a16:creationId xmlns:a16="http://schemas.microsoft.com/office/drawing/2014/main" id="{32D43E18-54F7-4125-A364-D733497B4F32}"/>
              </a:ext>
            </a:extLst>
          </p:cNvPr>
          <p:cNvSpPr>
            <a:spLocks noGrp="1"/>
          </p:cNvSpPr>
          <p:nvPr>
            <p:ph type="pic" sz="quarter" idx="20"/>
          </p:nvPr>
        </p:nvSpPr>
        <p:spPr>
          <a:xfrm>
            <a:off x="6097555" y="0"/>
            <a:ext cx="3045667" cy="6858000"/>
          </a:xfrm>
          <a:prstGeom prst="rect">
            <a:avLst/>
          </a:prstGeom>
          <a:solidFill>
            <a:schemeClr val="bg2"/>
          </a:solidFill>
        </p:spPr>
        <p:txBody>
          <a:bodyPr/>
          <a:lstStyle/>
          <a:p>
            <a:endParaRPr lang="en-US"/>
          </a:p>
        </p:txBody>
      </p:sp>
      <p:sp>
        <p:nvSpPr>
          <p:cNvPr id="20" name="Picture Placeholder 12">
            <a:extLst>
              <a:ext uri="{FF2B5EF4-FFF2-40B4-BE49-F238E27FC236}">
                <a16:creationId xmlns:a16="http://schemas.microsoft.com/office/drawing/2014/main" id="{0D751945-7936-4E08-A1DF-7F344072146F}"/>
              </a:ext>
            </a:extLst>
          </p:cNvPr>
          <p:cNvSpPr>
            <a:spLocks noGrp="1"/>
          </p:cNvSpPr>
          <p:nvPr>
            <p:ph type="pic" sz="quarter" idx="21"/>
          </p:nvPr>
        </p:nvSpPr>
        <p:spPr>
          <a:xfrm>
            <a:off x="9146333" y="0"/>
            <a:ext cx="3045667" cy="6858000"/>
          </a:xfrm>
          <a:prstGeom prst="rect">
            <a:avLst/>
          </a:prstGeom>
          <a:solidFill>
            <a:schemeClr val="bg2"/>
          </a:solidFill>
        </p:spPr>
        <p:txBody>
          <a:bodyPr/>
          <a:lstStyle/>
          <a:p>
            <a:endParaRPr lang="en-US"/>
          </a:p>
        </p:txBody>
      </p:sp>
      <p:grpSp>
        <p:nvGrpSpPr>
          <p:cNvPr id="2" name="Group 1">
            <a:extLst>
              <a:ext uri="{FF2B5EF4-FFF2-40B4-BE49-F238E27FC236}">
                <a16:creationId xmlns:a16="http://schemas.microsoft.com/office/drawing/2014/main" id="{9331EDC2-554D-E8F2-CE7F-BAA85565AF7E}"/>
              </a:ext>
            </a:extLst>
          </p:cNvPr>
          <p:cNvGrpSpPr/>
          <p:nvPr userDrawn="1"/>
        </p:nvGrpSpPr>
        <p:grpSpPr>
          <a:xfrm>
            <a:off x="611054" y="6471298"/>
            <a:ext cx="372834" cy="131175"/>
            <a:chOff x="14288" y="2035175"/>
            <a:chExt cx="10039350" cy="3532188"/>
          </a:xfrm>
          <a:solidFill>
            <a:schemeClr val="tx1"/>
          </a:solidFill>
        </p:grpSpPr>
        <p:sp>
          <p:nvSpPr>
            <p:cNvPr id="4" name="Freeform 1">
              <a:extLst>
                <a:ext uri="{FF2B5EF4-FFF2-40B4-BE49-F238E27FC236}">
                  <a16:creationId xmlns:a16="http://schemas.microsoft.com/office/drawing/2014/main" id="{F07EABB7-FDFC-B859-6962-E69CCC70F0DD}"/>
                </a:ext>
              </a:extLst>
            </p:cNvPr>
            <p:cNvSpPr>
              <a:spLocks noChangeArrowheads="1"/>
            </p:cNvSpPr>
            <p:nvPr/>
          </p:nvSpPr>
          <p:spPr bwMode="auto">
            <a:xfrm>
              <a:off x="1519238" y="2035175"/>
              <a:ext cx="1336675" cy="2836863"/>
            </a:xfrm>
            <a:custGeom>
              <a:avLst/>
              <a:gdLst>
                <a:gd name="T0" fmla="*/ 390493 w 3714"/>
                <a:gd name="T1" fmla="*/ 1200682 h 7882"/>
                <a:gd name="T2" fmla="*/ 945462 w 3714"/>
                <a:gd name="T3" fmla="*/ 1200682 h 7882"/>
                <a:gd name="T4" fmla="*/ 945462 w 3714"/>
                <a:gd name="T5" fmla="*/ 611498 h 7882"/>
                <a:gd name="T6" fmla="*/ 698929 w 3714"/>
                <a:gd name="T7" fmla="*/ 364596 h 7882"/>
                <a:gd name="T8" fmla="*/ 637386 w 3714"/>
                <a:gd name="T9" fmla="*/ 364596 h 7882"/>
                <a:gd name="T10" fmla="*/ 390493 w 3714"/>
                <a:gd name="T11" fmla="*/ 611498 h 7882"/>
                <a:gd name="T12" fmla="*/ 390493 w 3714"/>
                <a:gd name="T13" fmla="*/ 1200682 h 7882"/>
                <a:gd name="T14" fmla="*/ 389414 w 3714"/>
                <a:gd name="T15" fmla="*/ 1576795 h 7882"/>
                <a:gd name="T16" fmla="*/ 390493 w 3714"/>
                <a:gd name="T17" fmla="*/ 2224645 h 7882"/>
                <a:gd name="T18" fmla="*/ 637386 w 3714"/>
                <a:gd name="T19" fmla="*/ 2471548 h 7882"/>
                <a:gd name="T20" fmla="*/ 709366 w 3714"/>
                <a:gd name="T21" fmla="*/ 2471548 h 7882"/>
                <a:gd name="T22" fmla="*/ 955899 w 3714"/>
                <a:gd name="T23" fmla="*/ 2224645 h 7882"/>
                <a:gd name="T24" fmla="*/ 955899 w 3714"/>
                <a:gd name="T25" fmla="*/ 1906119 h 7882"/>
                <a:gd name="T26" fmla="*/ 1336315 w 3714"/>
                <a:gd name="T27" fmla="*/ 1906119 h 7882"/>
                <a:gd name="T28" fmla="*/ 1336315 w 3714"/>
                <a:gd name="T29" fmla="*/ 2209528 h 7882"/>
                <a:gd name="T30" fmla="*/ 709366 w 3714"/>
                <a:gd name="T31" fmla="*/ 2836503 h 7882"/>
                <a:gd name="T32" fmla="*/ 626949 w 3714"/>
                <a:gd name="T33" fmla="*/ 2836503 h 7882"/>
                <a:gd name="T34" fmla="*/ 0 w 3714"/>
                <a:gd name="T35" fmla="*/ 2258117 h 7882"/>
                <a:gd name="T36" fmla="*/ 0 w 3714"/>
                <a:gd name="T37" fmla="*/ 675564 h 7882"/>
                <a:gd name="T38" fmla="*/ 626949 w 3714"/>
                <a:gd name="T39" fmla="*/ 0 h 7882"/>
                <a:gd name="T40" fmla="*/ 709366 w 3714"/>
                <a:gd name="T41" fmla="*/ 0 h 7882"/>
                <a:gd name="T42" fmla="*/ 1336315 w 3714"/>
                <a:gd name="T43" fmla="*/ 626975 h 7882"/>
                <a:gd name="T44" fmla="*/ 1334875 w 3714"/>
                <a:gd name="T45" fmla="*/ 1576795 h 7882"/>
                <a:gd name="T46" fmla="*/ 389414 w 3714"/>
                <a:gd name="T47" fmla="*/ 1576795 h 7882"/>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3714" h="7882">
                  <a:moveTo>
                    <a:pt x="1085" y="3336"/>
                  </a:moveTo>
                  <a:lnTo>
                    <a:pt x="2627" y="3336"/>
                  </a:lnTo>
                  <a:lnTo>
                    <a:pt x="2627" y="1699"/>
                  </a:lnTo>
                  <a:cubicBezTo>
                    <a:pt x="2627" y="1242"/>
                    <a:pt x="2399" y="1013"/>
                    <a:pt x="1942" y="1013"/>
                  </a:cubicBezTo>
                  <a:lnTo>
                    <a:pt x="1771" y="1013"/>
                  </a:lnTo>
                  <a:cubicBezTo>
                    <a:pt x="1314" y="1013"/>
                    <a:pt x="1085" y="1242"/>
                    <a:pt x="1085" y="1699"/>
                  </a:cubicBezTo>
                  <a:lnTo>
                    <a:pt x="1085" y="3336"/>
                  </a:lnTo>
                  <a:close/>
                  <a:moveTo>
                    <a:pt x="1082" y="4381"/>
                  </a:moveTo>
                  <a:lnTo>
                    <a:pt x="1085" y="6181"/>
                  </a:lnTo>
                  <a:cubicBezTo>
                    <a:pt x="1085" y="6638"/>
                    <a:pt x="1314" y="6867"/>
                    <a:pt x="1771" y="6867"/>
                  </a:cubicBezTo>
                  <a:lnTo>
                    <a:pt x="1971" y="6867"/>
                  </a:lnTo>
                  <a:cubicBezTo>
                    <a:pt x="2428" y="6867"/>
                    <a:pt x="2656" y="6638"/>
                    <a:pt x="2656" y="6181"/>
                  </a:cubicBezTo>
                  <a:lnTo>
                    <a:pt x="2656" y="5296"/>
                  </a:lnTo>
                  <a:lnTo>
                    <a:pt x="3713" y="5296"/>
                  </a:lnTo>
                  <a:lnTo>
                    <a:pt x="3713" y="6139"/>
                  </a:lnTo>
                  <a:cubicBezTo>
                    <a:pt x="3713" y="7295"/>
                    <a:pt x="3127" y="7881"/>
                    <a:pt x="1971" y="7881"/>
                  </a:cubicBezTo>
                  <a:lnTo>
                    <a:pt x="1742" y="7881"/>
                  </a:lnTo>
                  <a:cubicBezTo>
                    <a:pt x="585" y="7881"/>
                    <a:pt x="0" y="7295"/>
                    <a:pt x="0" y="6274"/>
                  </a:cubicBezTo>
                  <a:lnTo>
                    <a:pt x="0" y="1877"/>
                  </a:lnTo>
                  <a:cubicBezTo>
                    <a:pt x="0" y="585"/>
                    <a:pt x="585" y="0"/>
                    <a:pt x="1742" y="0"/>
                  </a:cubicBezTo>
                  <a:lnTo>
                    <a:pt x="1971" y="0"/>
                  </a:lnTo>
                  <a:cubicBezTo>
                    <a:pt x="3127" y="0"/>
                    <a:pt x="3713" y="585"/>
                    <a:pt x="3713" y="1742"/>
                  </a:cubicBezTo>
                  <a:lnTo>
                    <a:pt x="3709" y="4381"/>
                  </a:lnTo>
                  <a:lnTo>
                    <a:pt x="1082" y="4381"/>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endParaRPr lang="en-US"/>
            </a:p>
          </p:txBody>
        </p:sp>
        <p:sp>
          <p:nvSpPr>
            <p:cNvPr id="5" name="Freeform 2">
              <a:extLst>
                <a:ext uri="{FF2B5EF4-FFF2-40B4-BE49-F238E27FC236}">
                  <a16:creationId xmlns:a16="http://schemas.microsoft.com/office/drawing/2014/main" id="{E415CF6B-03F5-5309-7BD5-5D5435BB3128}"/>
                </a:ext>
              </a:extLst>
            </p:cNvPr>
            <p:cNvSpPr>
              <a:spLocks noChangeArrowheads="1"/>
            </p:cNvSpPr>
            <p:nvPr/>
          </p:nvSpPr>
          <p:spPr bwMode="auto">
            <a:xfrm>
              <a:off x="3109913" y="2035175"/>
              <a:ext cx="1368425" cy="3532188"/>
            </a:xfrm>
            <a:custGeom>
              <a:avLst/>
              <a:gdLst>
                <a:gd name="T0" fmla="*/ 390721 w 3800"/>
                <a:gd name="T1" fmla="*/ 2322993 h 9812"/>
                <a:gd name="T2" fmla="*/ 750833 w 3800"/>
                <a:gd name="T3" fmla="*/ 2466628 h 9812"/>
                <a:gd name="T4" fmla="*/ 976983 w 3800"/>
                <a:gd name="T5" fmla="*/ 2240556 h 9812"/>
                <a:gd name="T6" fmla="*/ 976983 w 3800"/>
                <a:gd name="T7" fmla="*/ 596138 h 9812"/>
                <a:gd name="T8" fmla="*/ 750833 w 3800"/>
                <a:gd name="T9" fmla="*/ 370066 h 9812"/>
                <a:gd name="T10" fmla="*/ 390721 w 3800"/>
                <a:gd name="T11" fmla="*/ 514061 h 9812"/>
                <a:gd name="T12" fmla="*/ 390721 w 3800"/>
                <a:gd name="T13" fmla="*/ 2322993 h 9812"/>
                <a:gd name="T14" fmla="*/ 0 w 3800"/>
                <a:gd name="T15" fmla="*/ 30599 h 9812"/>
                <a:gd name="T16" fmla="*/ 390721 w 3800"/>
                <a:gd name="T17" fmla="*/ 30599 h 9812"/>
                <a:gd name="T18" fmla="*/ 390721 w 3800"/>
                <a:gd name="T19" fmla="*/ 210592 h 9812"/>
                <a:gd name="T20" fmla="*/ 868950 w 3800"/>
                <a:gd name="T21" fmla="*/ 0 h 9812"/>
                <a:gd name="T22" fmla="*/ 1368065 w 3800"/>
                <a:gd name="T23" fmla="*/ 549699 h 9812"/>
                <a:gd name="T24" fmla="*/ 1368065 w 3800"/>
                <a:gd name="T25" fmla="*/ 2286995 h 9812"/>
                <a:gd name="T26" fmla="*/ 868950 w 3800"/>
                <a:gd name="T27" fmla="*/ 2837054 h 9812"/>
                <a:gd name="T28" fmla="*/ 390721 w 3800"/>
                <a:gd name="T29" fmla="*/ 2636541 h 9812"/>
                <a:gd name="T30" fmla="*/ 390721 w 3800"/>
                <a:gd name="T31" fmla="*/ 3531828 h 9812"/>
                <a:gd name="T32" fmla="*/ 0 w 3800"/>
                <a:gd name="T33" fmla="*/ 3531828 h 9812"/>
                <a:gd name="T34" fmla="*/ 0 w 3800"/>
                <a:gd name="T35" fmla="*/ 30599 h 9812"/>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3800" h="9812">
                  <a:moveTo>
                    <a:pt x="1085" y="6453"/>
                  </a:moveTo>
                  <a:cubicBezTo>
                    <a:pt x="1385" y="6710"/>
                    <a:pt x="1728" y="6852"/>
                    <a:pt x="2085" y="6852"/>
                  </a:cubicBezTo>
                  <a:cubicBezTo>
                    <a:pt x="2485" y="6852"/>
                    <a:pt x="2713" y="6667"/>
                    <a:pt x="2713" y="6224"/>
                  </a:cubicBezTo>
                  <a:lnTo>
                    <a:pt x="2713" y="1656"/>
                  </a:lnTo>
                  <a:cubicBezTo>
                    <a:pt x="2713" y="1213"/>
                    <a:pt x="2485" y="1028"/>
                    <a:pt x="2085" y="1028"/>
                  </a:cubicBezTo>
                  <a:cubicBezTo>
                    <a:pt x="1728" y="1028"/>
                    <a:pt x="1385" y="1170"/>
                    <a:pt x="1085" y="1428"/>
                  </a:cubicBezTo>
                  <a:lnTo>
                    <a:pt x="1085" y="6453"/>
                  </a:lnTo>
                  <a:close/>
                  <a:moveTo>
                    <a:pt x="0" y="85"/>
                  </a:moveTo>
                  <a:lnTo>
                    <a:pt x="1085" y="85"/>
                  </a:lnTo>
                  <a:lnTo>
                    <a:pt x="1085" y="585"/>
                  </a:lnTo>
                  <a:cubicBezTo>
                    <a:pt x="1342" y="314"/>
                    <a:pt x="1785" y="0"/>
                    <a:pt x="2413" y="0"/>
                  </a:cubicBezTo>
                  <a:cubicBezTo>
                    <a:pt x="3342" y="0"/>
                    <a:pt x="3799" y="614"/>
                    <a:pt x="3799" y="1527"/>
                  </a:cubicBezTo>
                  <a:lnTo>
                    <a:pt x="3799" y="6353"/>
                  </a:lnTo>
                  <a:cubicBezTo>
                    <a:pt x="3799" y="7267"/>
                    <a:pt x="3342" y="7881"/>
                    <a:pt x="2413" y="7881"/>
                  </a:cubicBezTo>
                  <a:cubicBezTo>
                    <a:pt x="1785" y="7881"/>
                    <a:pt x="1342" y="7581"/>
                    <a:pt x="1085" y="7324"/>
                  </a:cubicBezTo>
                  <a:lnTo>
                    <a:pt x="1085" y="9811"/>
                  </a:lnTo>
                  <a:lnTo>
                    <a:pt x="0" y="9811"/>
                  </a:lnTo>
                  <a:lnTo>
                    <a:pt x="0" y="85"/>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endParaRPr lang="en-US"/>
            </a:p>
          </p:txBody>
        </p:sp>
        <p:sp>
          <p:nvSpPr>
            <p:cNvPr id="6" name="Freeform 3">
              <a:extLst>
                <a:ext uri="{FF2B5EF4-FFF2-40B4-BE49-F238E27FC236}">
                  <a16:creationId xmlns:a16="http://schemas.microsoft.com/office/drawing/2014/main" id="{65B2866D-D52B-B180-A3AC-AA044D5102CB}"/>
                </a:ext>
              </a:extLst>
            </p:cNvPr>
            <p:cNvSpPr>
              <a:spLocks noChangeArrowheads="1"/>
            </p:cNvSpPr>
            <p:nvPr/>
          </p:nvSpPr>
          <p:spPr bwMode="auto">
            <a:xfrm>
              <a:off x="4711700" y="2035175"/>
              <a:ext cx="1328738" cy="2836863"/>
            </a:xfrm>
            <a:custGeom>
              <a:avLst/>
              <a:gdLst>
                <a:gd name="T0" fmla="*/ 937679 w 3690"/>
                <a:gd name="T1" fmla="*/ 2338019 h 7882"/>
                <a:gd name="T2" fmla="*/ 937679 w 3690"/>
                <a:gd name="T3" fmla="*/ 1422750 h 7882"/>
                <a:gd name="T4" fmla="*/ 582988 w 3690"/>
                <a:gd name="T5" fmla="*/ 1556999 h 7882"/>
                <a:gd name="T6" fmla="*/ 392500 w 3690"/>
                <a:gd name="T7" fmla="*/ 1844573 h 7882"/>
                <a:gd name="T8" fmla="*/ 392500 w 3690"/>
                <a:gd name="T9" fmla="*/ 2266035 h 7882"/>
                <a:gd name="T10" fmla="*/ 582988 w 3690"/>
                <a:gd name="T11" fmla="*/ 2466149 h 7882"/>
                <a:gd name="T12" fmla="*/ 937679 w 3690"/>
                <a:gd name="T13" fmla="*/ 2338019 h 7882"/>
                <a:gd name="T14" fmla="*/ 2161 w 3690"/>
                <a:gd name="T15" fmla="*/ 1839174 h 7882"/>
                <a:gd name="T16" fmla="*/ 413025 w 3690"/>
                <a:gd name="T17" fmla="*/ 1253950 h 7882"/>
                <a:gd name="T18" fmla="*/ 937679 w 3690"/>
                <a:gd name="T19" fmla="*/ 1073991 h 7882"/>
                <a:gd name="T20" fmla="*/ 937679 w 3690"/>
                <a:gd name="T21" fmla="*/ 611498 h 7882"/>
                <a:gd name="T22" fmla="*/ 690656 w 3690"/>
                <a:gd name="T23" fmla="*/ 359557 h 7882"/>
                <a:gd name="T24" fmla="*/ 627280 w 3690"/>
                <a:gd name="T25" fmla="*/ 359557 h 7882"/>
                <a:gd name="T26" fmla="*/ 380257 w 3690"/>
                <a:gd name="T27" fmla="*/ 611498 h 7882"/>
                <a:gd name="T28" fmla="*/ 380257 w 3690"/>
                <a:gd name="T29" fmla="*/ 1004527 h 7882"/>
                <a:gd name="T30" fmla="*/ 0 w 3690"/>
                <a:gd name="T31" fmla="*/ 1004527 h 7882"/>
                <a:gd name="T32" fmla="*/ 0 w 3690"/>
                <a:gd name="T33" fmla="*/ 626975 h 7882"/>
                <a:gd name="T34" fmla="*/ 627280 w 3690"/>
                <a:gd name="T35" fmla="*/ 0 h 7882"/>
                <a:gd name="T36" fmla="*/ 701098 w 3690"/>
                <a:gd name="T37" fmla="*/ 0 h 7882"/>
                <a:gd name="T38" fmla="*/ 1328378 w 3690"/>
                <a:gd name="T39" fmla="*/ 626975 h 7882"/>
                <a:gd name="T40" fmla="*/ 1328378 w 3690"/>
                <a:gd name="T41" fmla="*/ 2805550 h 7882"/>
                <a:gd name="T42" fmla="*/ 937679 w 3690"/>
                <a:gd name="T43" fmla="*/ 2805550 h 7882"/>
                <a:gd name="T44" fmla="*/ 937679 w 3690"/>
                <a:gd name="T45" fmla="*/ 2630631 h 7882"/>
                <a:gd name="T46" fmla="*/ 459477 w 3690"/>
                <a:gd name="T47" fmla="*/ 2836503 h 7882"/>
                <a:gd name="T48" fmla="*/ 2161 w 3690"/>
                <a:gd name="T49" fmla="*/ 2348096 h 7882"/>
                <a:gd name="T50" fmla="*/ 2161 w 3690"/>
                <a:gd name="T51" fmla="*/ 1839174 h 7882"/>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3690" h="7882">
                  <a:moveTo>
                    <a:pt x="2604" y="6496"/>
                  </a:moveTo>
                  <a:lnTo>
                    <a:pt x="2604" y="3953"/>
                  </a:lnTo>
                  <a:lnTo>
                    <a:pt x="1619" y="4326"/>
                  </a:lnTo>
                  <a:cubicBezTo>
                    <a:pt x="1219" y="4483"/>
                    <a:pt x="1090" y="4683"/>
                    <a:pt x="1090" y="5125"/>
                  </a:cubicBezTo>
                  <a:lnTo>
                    <a:pt x="1090" y="6296"/>
                  </a:lnTo>
                  <a:cubicBezTo>
                    <a:pt x="1090" y="6667"/>
                    <a:pt x="1276" y="6852"/>
                    <a:pt x="1619" y="6852"/>
                  </a:cubicBezTo>
                  <a:cubicBezTo>
                    <a:pt x="1947" y="6852"/>
                    <a:pt x="2247" y="6738"/>
                    <a:pt x="2604" y="6496"/>
                  </a:cubicBezTo>
                  <a:close/>
                  <a:moveTo>
                    <a:pt x="6" y="5110"/>
                  </a:moveTo>
                  <a:cubicBezTo>
                    <a:pt x="6" y="4155"/>
                    <a:pt x="320" y="3769"/>
                    <a:pt x="1147" y="3484"/>
                  </a:cubicBezTo>
                  <a:lnTo>
                    <a:pt x="2604" y="2984"/>
                  </a:lnTo>
                  <a:lnTo>
                    <a:pt x="2604" y="1699"/>
                  </a:lnTo>
                  <a:cubicBezTo>
                    <a:pt x="2604" y="1242"/>
                    <a:pt x="2375" y="999"/>
                    <a:pt x="1918" y="999"/>
                  </a:cubicBezTo>
                  <a:lnTo>
                    <a:pt x="1742" y="999"/>
                  </a:lnTo>
                  <a:cubicBezTo>
                    <a:pt x="1285" y="999"/>
                    <a:pt x="1056" y="1242"/>
                    <a:pt x="1056" y="1699"/>
                  </a:cubicBezTo>
                  <a:lnTo>
                    <a:pt x="1056" y="2791"/>
                  </a:lnTo>
                  <a:lnTo>
                    <a:pt x="0" y="2791"/>
                  </a:lnTo>
                  <a:lnTo>
                    <a:pt x="0" y="1742"/>
                  </a:lnTo>
                  <a:cubicBezTo>
                    <a:pt x="0" y="585"/>
                    <a:pt x="586" y="0"/>
                    <a:pt x="1742" y="0"/>
                  </a:cubicBezTo>
                  <a:lnTo>
                    <a:pt x="1947" y="0"/>
                  </a:lnTo>
                  <a:cubicBezTo>
                    <a:pt x="3104" y="0"/>
                    <a:pt x="3689" y="585"/>
                    <a:pt x="3689" y="1742"/>
                  </a:cubicBezTo>
                  <a:lnTo>
                    <a:pt x="3689" y="7795"/>
                  </a:lnTo>
                  <a:lnTo>
                    <a:pt x="2604" y="7795"/>
                  </a:lnTo>
                  <a:lnTo>
                    <a:pt x="2604" y="7309"/>
                  </a:lnTo>
                  <a:cubicBezTo>
                    <a:pt x="2304" y="7595"/>
                    <a:pt x="1904" y="7881"/>
                    <a:pt x="1276" y="7881"/>
                  </a:cubicBezTo>
                  <a:cubicBezTo>
                    <a:pt x="406" y="7881"/>
                    <a:pt x="6" y="7381"/>
                    <a:pt x="6" y="6524"/>
                  </a:cubicBezTo>
                  <a:lnTo>
                    <a:pt x="6" y="5110"/>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endParaRPr lang="en-US"/>
            </a:p>
          </p:txBody>
        </p:sp>
        <p:sp>
          <p:nvSpPr>
            <p:cNvPr id="7" name="Freeform 4">
              <a:extLst>
                <a:ext uri="{FF2B5EF4-FFF2-40B4-BE49-F238E27FC236}">
                  <a16:creationId xmlns:a16="http://schemas.microsoft.com/office/drawing/2014/main" id="{6EC86D97-64AF-D5AF-B695-C6D4434125CC}"/>
                </a:ext>
              </a:extLst>
            </p:cNvPr>
            <p:cNvSpPr>
              <a:spLocks noChangeArrowheads="1"/>
            </p:cNvSpPr>
            <p:nvPr/>
          </p:nvSpPr>
          <p:spPr bwMode="auto">
            <a:xfrm>
              <a:off x="6292850" y="2035175"/>
              <a:ext cx="2262188" cy="2806700"/>
            </a:xfrm>
            <a:custGeom>
              <a:avLst/>
              <a:gdLst>
                <a:gd name="T0" fmla="*/ 1326358 w 6285"/>
                <a:gd name="T1" fmla="*/ 2806340 h 7796"/>
                <a:gd name="T2" fmla="*/ 935470 w 6285"/>
                <a:gd name="T3" fmla="*/ 2806340 h 7796"/>
                <a:gd name="T4" fmla="*/ 935470 w 6285"/>
                <a:gd name="T5" fmla="*/ 570628 h 7796"/>
                <a:gd name="T6" fmla="*/ 750463 w 6285"/>
                <a:gd name="T7" fmla="*/ 370098 h 7796"/>
                <a:gd name="T8" fmla="*/ 390889 w 6285"/>
                <a:gd name="T9" fmla="*/ 508705 h 7796"/>
                <a:gd name="T10" fmla="*/ 390889 w 6285"/>
                <a:gd name="T11" fmla="*/ 2806340 h 7796"/>
                <a:gd name="T12" fmla="*/ 0 w 6285"/>
                <a:gd name="T13" fmla="*/ 2806340 h 7796"/>
                <a:gd name="T14" fmla="*/ 0 w 6285"/>
                <a:gd name="T15" fmla="*/ 30602 h 7796"/>
                <a:gd name="T16" fmla="*/ 390889 w 6285"/>
                <a:gd name="T17" fmla="*/ 30602 h 7796"/>
                <a:gd name="T18" fmla="*/ 390889 w 6285"/>
                <a:gd name="T19" fmla="*/ 210611 h 7796"/>
                <a:gd name="T20" fmla="*/ 868882 w 6285"/>
                <a:gd name="T21" fmla="*/ 0 h 7796"/>
                <a:gd name="T22" fmla="*/ 1274888 w 6285"/>
                <a:gd name="T23" fmla="*/ 226091 h 7796"/>
                <a:gd name="T24" fmla="*/ 1804351 w 6285"/>
                <a:gd name="T25" fmla="*/ 0 h 7796"/>
                <a:gd name="T26" fmla="*/ 2261828 w 6285"/>
                <a:gd name="T27" fmla="*/ 488184 h 7796"/>
                <a:gd name="T28" fmla="*/ 2261828 w 6285"/>
                <a:gd name="T29" fmla="*/ 2806340 h 7796"/>
                <a:gd name="T30" fmla="*/ 1870939 w 6285"/>
                <a:gd name="T31" fmla="*/ 2806340 h 7796"/>
                <a:gd name="T32" fmla="*/ 1870939 w 6285"/>
                <a:gd name="T33" fmla="*/ 570628 h 7796"/>
                <a:gd name="T34" fmla="*/ 1685933 w 6285"/>
                <a:gd name="T35" fmla="*/ 370098 h 7796"/>
                <a:gd name="T36" fmla="*/ 1326358 w 6285"/>
                <a:gd name="T37" fmla="*/ 508705 h 7796"/>
                <a:gd name="T38" fmla="*/ 1326358 w 6285"/>
                <a:gd name="T39" fmla="*/ 2806340 h 779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6285" h="7796">
                  <a:moveTo>
                    <a:pt x="3685" y="7795"/>
                  </a:moveTo>
                  <a:lnTo>
                    <a:pt x="2599" y="7795"/>
                  </a:lnTo>
                  <a:lnTo>
                    <a:pt x="2599" y="1585"/>
                  </a:lnTo>
                  <a:cubicBezTo>
                    <a:pt x="2599" y="1199"/>
                    <a:pt x="2414" y="1028"/>
                    <a:pt x="2085" y="1028"/>
                  </a:cubicBezTo>
                  <a:cubicBezTo>
                    <a:pt x="1785" y="1028"/>
                    <a:pt x="1471" y="1142"/>
                    <a:pt x="1086" y="1413"/>
                  </a:cubicBezTo>
                  <a:lnTo>
                    <a:pt x="1086" y="7795"/>
                  </a:lnTo>
                  <a:lnTo>
                    <a:pt x="0" y="7795"/>
                  </a:lnTo>
                  <a:lnTo>
                    <a:pt x="0" y="85"/>
                  </a:lnTo>
                  <a:lnTo>
                    <a:pt x="1086" y="85"/>
                  </a:lnTo>
                  <a:lnTo>
                    <a:pt x="1086" y="585"/>
                  </a:lnTo>
                  <a:cubicBezTo>
                    <a:pt x="1400" y="285"/>
                    <a:pt x="1814" y="0"/>
                    <a:pt x="2414" y="0"/>
                  </a:cubicBezTo>
                  <a:cubicBezTo>
                    <a:pt x="2971" y="0"/>
                    <a:pt x="3342" y="228"/>
                    <a:pt x="3542" y="628"/>
                  </a:cubicBezTo>
                  <a:cubicBezTo>
                    <a:pt x="3928" y="299"/>
                    <a:pt x="4385" y="0"/>
                    <a:pt x="5013" y="0"/>
                  </a:cubicBezTo>
                  <a:cubicBezTo>
                    <a:pt x="5855" y="0"/>
                    <a:pt x="6284" y="514"/>
                    <a:pt x="6284" y="1356"/>
                  </a:cubicBezTo>
                  <a:lnTo>
                    <a:pt x="6284" y="7795"/>
                  </a:lnTo>
                  <a:lnTo>
                    <a:pt x="5198" y="7795"/>
                  </a:lnTo>
                  <a:lnTo>
                    <a:pt x="5198" y="1585"/>
                  </a:lnTo>
                  <a:cubicBezTo>
                    <a:pt x="5198" y="1199"/>
                    <a:pt x="5013" y="1028"/>
                    <a:pt x="4684" y="1028"/>
                  </a:cubicBezTo>
                  <a:cubicBezTo>
                    <a:pt x="4385" y="1028"/>
                    <a:pt x="4070" y="1142"/>
                    <a:pt x="3685" y="1413"/>
                  </a:cubicBezTo>
                  <a:lnTo>
                    <a:pt x="3685" y="7795"/>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endParaRPr lang="en-US"/>
            </a:p>
          </p:txBody>
        </p:sp>
        <p:sp>
          <p:nvSpPr>
            <p:cNvPr id="8" name="Freeform 5">
              <a:extLst>
                <a:ext uri="{FF2B5EF4-FFF2-40B4-BE49-F238E27FC236}">
                  <a16:creationId xmlns:a16="http://schemas.microsoft.com/office/drawing/2014/main" id="{4096DE83-52BA-9D9C-0247-D7BD6FA064BB}"/>
                </a:ext>
              </a:extLst>
            </p:cNvPr>
            <p:cNvSpPr>
              <a:spLocks noChangeArrowheads="1"/>
            </p:cNvSpPr>
            <p:nvPr/>
          </p:nvSpPr>
          <p:spPr bwMode="auto">
            <a:xfrm>
              <a:off x="14288" y="2322513"/>
              <a:ext cx="1004887" cy="2274887"/>
            </a:xfrm>
            <a:custGeom>
              <a:avLst/>
              <a:gdLst>
                <a:gd name="T0" fmla="*/ 1004527 w 2790"/>
                <a:gd name="T1" fmla="*/ 0 h 6317"/>
                <a:gd name="T2" fmla="*/ 1004527 w 2790"/>
                <a:gd name="T3" fmla="*/ 510652 h 6317"/>
                <a:gd name="T4" fmla="*/ 346488 w 2790"/>
                <a:gd name="T5" fmla="*/ 1137624 h 6317"/>
                <a:gd name="T6" fmla="*/ 1004527 w 2790"/>
                <a:gd name="T7" fmla="*/ 1752711 h 6317"/>
                <a:gd name="T8" fmla="*/ 1004527 w 2790"/>
                <a:gd name="T9" fmla="*/ 2274527 h 6317"/>
                <a:gd name="T10" fmla="*/ 0 w 2790"/>
                <a:gd name="T11" fmla="*/ 1331009 h 6317"/>
                <a:gd name="T12" fmla="*/ 0 w 2790"/>
                <a:gd name="T13" fmla="*/ 955042 h 6317"/>
                <a:gd name="T14" fmla="*/ 1004527 w 2790"/>
                <a:gd name="T15" fmla="*/ 0 h 6317"/>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2790" h="6317">
                  <a:moveTo>
                    <a:pt x="2789" y="0"/>
                  </a:moveTo>
                  <a:lnTo>
                    <a:pt x="2789" y="1418"/>
                  </a:lnTo>
                  <a:lnTo>
                    <a:pt x="962" y="3159"/>
                  </a:lnTo>
                  <a:lnTo>
                    <a:pt x="2789" y="4867"/>
                  </a:lnTo>
                  <a:lnTo>
                    <a:pt x="2789" y="6316"/>
                  </a:lnTo>
                  <a:lnTo>
                    <a:pt x="0" y="3696"/>
                  </a:lnTo>
                  <a:lnTo>
                    <a:pt x="0" y="2652"/>
                  </a:lnTo>
                  <a:lnTo>
                    <a:pt x="2789"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endParaRPr lang="en-US"/>
            </a:p>
          </p:txBody>
        </p:sp>
        <p:sp>
          <p:nvSpPr>
            <p:cNvPr id="9" name="Freeform 6">
              <a:extLst>
                <a:ext uri="{FF2B5EF4-FFF2-40B4-BE49-F238E27FC236}">
                  <a16:creationId xmlns:a16="http://schemas.microsoft.com/office/drawing/2014/main" id="{6BB9D014-919F-48AF-17ED-146F2E47F9CE}"/>
                </a:ext>
              </a:extLst>
            </p:cNvPr>
            <p:cNvSpPr>
              <a:spLocks noChangeArrowheads="1"/>
            </p:cNvSpPr>
            <p:nvPr/>
          </p:nvSpPr>
          <p:spPr bwMode="auto">
            <a:xfrm>
              <a:off x="9050338" y="2322513"/>
              <a:ext cx="1003300" cy="2274887"/>
            </a:xfrm>
            <a:custGeom>
              <a:avLst/>
              <a:gdLst>
                <a:gd name="T0" fmla="*/ 1002940 w 2789"/>
                <a:gd name="T1" fmla="*/ 955042 h 6317"/>
                <a:gd name="T2" fmla="*/ 1002940 w 2789"/>
                <a:gd name="T3" fmla="*/ 1331009 h 6317"/>
                <a:gd name="T4" fmla="*/ 0 w 2789"/>
                <a:gd name="T5" fmla="*/ 2274527 h 6317"/>
                <a:gd name="T6" fmla="*/ 0 w 2789"/>
                <a:gd name="T7" fmla="*/ 1752711 h 6317"/>
                <a:gd name="T8" fmla="*/ 656876 w 2789"/>
                <a:gd name="T9" fmla="*/ 1137624 h 6317"/>
                <a:gd name="T10" fmla="*/ 0 w 2789"/>
                <a:gd name="T11" fmla="*/ 510652 h 6317"/>
                <a:gd name="T12" fmla="*/ 0 w 2789"/>
                <a:gd name="T13" fmla="*/ 0 h 6317"/>
                <a:gd name="T14" fmla="*/ 1002940 w 2789"/>
                <a:gd name="T15" fmla="*/ 955042 h 6317"/>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2789" h="6317">
                  <a:moveTo>
                    <a:pt x="2788" y="2652"/>
                  </a:moveTo>
                  <a:lnTo>
                    <a:pt x="2788" y="3696"/>
                  </a:lnTo>
                  <a:lnTo>
                    <a:pt x="0" y="6316"/>
                  </a:lnTo>
                  <a:lnTo>
                    <a:pt x="0" y="4867"/>
                  </a:lnTo>
                  <a:lnTo>
                    <a:pt x="1826" y="3159"/>
                  </a:lnTo>
                  <a:lnTo>
                    <a:pt x="0" y="1418"/>
                  </a:lnTo>
                  <a:lnTo>
                    <a:pt x="0" y="0"/>
                  </a:lnTo>
                  <a:lnTo>
                    <a:pt x="2788" y="2652"/>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endParaRPr lang="en-US"/>
            </a:p>
          </p:txBody>
        </p:sp>
      </p:grpSp>
      <p:sp>
        <p:nvSpPr>
          <p:cNvPr id="10" name="Footer Placeholder 14">
            <a:extLst>
              <a:ext uri="{FF2B5EF4-FFF2-40B4-BE49-F238E27FC236}">
                <a16:creationId xmlns:a16="http://schemas.microsoft.com/office/drawing/2014/main" id="{330E4529-25A2-926F-E2F0-536EA4A6D9CD}"/>
              </a:ext>
            </a:extLst>
          </p:cNvPr>
          <p:cNvSpPr txBox="1">
            <a:spLocks/>
          </p:cNvSpPr>
          <p:nvPr userDrawn="1"/>
        </p:nvSpPr>
        <p:spPr>
          <a:xfrm>
            <a:off x="1205299" y="6410231"/>
            <a:ext cx="2157779" cy="228599"/>
          </a:xfrm>
          <a:prstGeom prst="rect">
            <a:avLst/>
          </a:prstGeom>
        </p:spPr>
        <p:txBody>
          <a:bodyPr vert="horz" lIns="0" tIns="0" rIns="0" bIns="0" rtlCol="0" anchor="ctr"/>
          <a:lstStyle>
            <a:defPPr>
              <a:defRPr lang="en-US"/>
            </a:defPPr>
            <a:lvl1pPr marL="0" algn="r" defTabSz="914400" rtl="0" eaLnBrk="1" latinLnBrk="0" hangingPunct="1">
              <a:defRPr sz="600" b="0" i="0" kern="1200">
                <a:solidFill>
                  <a:schemeClr val="tx1"/>
                </a:solidFill>
                <a:latin typeface="+mn-lt"/>
                <a:ea typeface="Calibri" panose="020F0502020204030204" pitchFamily="34" charset="0"/>
                <a:cs typeface="Calibri" panose="020F050202020403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b="0" i="0">
                <a:solidFill>
                  <a:schemeClr val="tx1"/>
                </a:solidFill>
                <a:latin typeface="+mn-lt"/>
              </a:rPr>
              <a:t>EPAM Proprietary &amp; Confidential</a:t>
            </a:r>
            <a:r>
              <a:rPr lang="ru-RU" b="0" i="0">
                <a:solidFill>
                  <a:schemeClr val="tx1"/>
                </a:solidFill>
                <a:latin typeface="+mn-lt"/>
              </a:rPr>
              <a:t> </a:t>
            </a:r>
            <a:endParaRPr lang="en-US" b="0" i="0">
              <a:solidFill>
                <a:schemeClr val="tx1"/>
              </a:solidFill>
              <a:latin typeface="+mn-lt"/>
            </a:endParaRPr>
          </a:p>
        </p:txBody>
      </p:sp>
      <p:pic>
        <p:nvPicPr>
          <p:cNvPr id="14" name="Graphic 13">
            <a:extLst>
              <a:ext uri="{FF2B5EF4-FFF2-40B4-BE49-F238E27FC236}">
                <a16:creationId xmlns:a16="http://schemas.microsoft.com/office/drawing/2014/main" id="{5C1EA374-F09C-C564-6B9D-33FCEE477AB8}"/>
              </a:ext>
            </a:extLst>
          </p:cNvPr>
          <p:cNvPicPr>
            <a:picLocks noChangeAspect="1"/>
          </p:cNvPicPr>
          <p:nvPr userDrawn="1"/>
        </p:nvPicPr>
        <p:blipFill>
          <a:blip r:embed="rId4">
            <a:extLst>
              <a:ext uri="{96DAC541-7B7A-43D3-8B79-37D633B846F1}">
                <asvg:svgBlip xmlns:asvg="http://schemas.microsoft.com/office/drawing/2016/SVG/main" r:embed="rId5"/>
              </a:ext>
            </a:extLst>
          </a:blip>
          <a:srcRect/>
          <a:stretch/>
        </p:blipFill>
        <p:spPr>
          <a:xfrm>
            <a:off x="10820265" y="6419060"/>
            <a:ext cx="762923" cy="205636"/>
          </a:xfrm>
          <a:prstGeom prst="rect">
            <a:avLst/>
          </a:prstGeom>
        </p:spPr>
      </p:pic>
    </p:spTree>
    <p:extLst>
      <p:ext uri="{BB962C8B-B14F-4D97-AF65-F5344CB8AC3E}">
        <p14:creationId xmlns:p14="http://schemas.microsoft.com/office/powerpoint/2010/main" val="3643998736"/>
      </p:ext>
    </p:extLst>
  </p:cSld>
  <p:clrMapOvr>
    <a:masterClrMapping/>
  </p:clrMapOvr>
  <p:extLst>
    <p:ext uri="{DCECCB84-F9BA-43D5-87BE-67443E8EF086}">
      <p15:sldGuideLst xmlns:p15="http://schemas.microsoft.com/office/powerpoint/2012/main"/>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hank_you">
    <p:spTree>
      <p:nvGrpSpPr>
        <p:cNvPr id="1" name=""/>
        <p:cNvGrpSpPr/>
        <p:nvPr/>
      </p:nvGrpSpPr>
      <p:grpSpPr>
        <a:xfrm>
          <a:off x="0" y="0"/>
          <a:ext cx="0" cy="0"/>
          <a:chOff x="0" y="0"/>
          <a:chExt cx="0" cy="0"/>
        </a:xfrm>
      </p:grpSpPr>
      <p:sp>
        <p:nvSpPr>
          <p:cNvPr id="6" name="Text Placeholder 2">
            <a:extLst>
              <a:ext uri="{FF2B5EF4-FFF2-40B4-BE49-F238E27FC236}">
                <a16:creationId xmlns:a16="http://schemas.microsoft.com/office/drawing/2014/main" id="{32B93596-9EFA-D1CF-1891-B79E8C134296}"/>
              </a:ext>
            </a:extLst>
          </p:cNvPr>
          <p:cNvSpPr>
            <a:spLocks noGrp="1"/>
          </p:cNvSpPr>
          <p:nvPr>
            <p:ph type="body" sz="quarter" idx="12"/>
          </p:nvPr>
        </p:nvSpPr>
        <p:spPr>
          <a:xfrm>
            <a:off x="6008594" y="1585875"/>
            <a:ext cx="3827462" cy="257250"/>
          </a:xfrm>
          <a:prstGeom prst="rect">
            <a:avLst/>
          </a:prstGeom>
        </p:spPr>
        <p:txBody>
          <a:bodyPr/>
          <a:lstStyle>
            <a:lvl1pPr>
              <a:defRPr sz="1600" b="0" i="0">
                <a:latin typeface="Calibri" panose="020F0502020204030204" pitchFamily="34" charset="0"/>
                <a:cs typeface="Calibri" panose="020F0502020204030204" pitchFamily="34" charset="0"/>
              </a:defRPr>
            </a:lvl1pPr>
          </a:lstStyle>
          <a:p>
            <a:r>
              <a:rPr lang="en-US"/>
              <a:t>For more information, contact</a:t>
            </a:r>
          </a:p>
        </p:txBody>
      </p:sp>
      <p:sp>
        <p:nvSpPr>
          <p:cNvPr id="7" name="Text Placeholder 3">
            <a:extLst>
              <a:ext uri="{FF2B5EF4-FFF2-40B4-BE49-F238E27FC236}">
                <a16:creationId xmlns:a16="http://schemas.microsoft.com/office/drawing/2014/main" id="{6FDC7A20-9DDC-243D-12E0-D419647A673B}"/>
              </a:ext>
            </a:extLst>
          </p:cNvPr>
          <p:cNvSpPr>
            <a:spLocks noGrp="1"/>
          </p:cNvSpPr>
          <p:nvPr>
            <p:ph type="body" sz="quarter" idx="13"/>
          </p:nvPr>
        </p:nvSpPr>
        <p:spPr>
          <a:xfrm>
            <a:off x="6008594" y="2359058"/>
            <a:ext cx="3827462" cy="289438"/>
          </a:xfrm>
          <a:prstGeom prst="rect">
            <a:avLst/>
          </a:prstGeom>
        </p:spPr>
        <p:txBody>
          <a:bodyPr/>
          <a:lstStyle>
            <a:lvl1pPr>
              <a:defRPr sz="1800" b="1" i="0">
                <a:solidFill>
                  <a:schemeClr val="accent6"/>
                </a:solidFill>
                <a:latin typeface="Calibri" panose="020F0502020204030204" pitchFamily="34" charset="0"/>
                <a:cs typeface="Calibri" panose="020F0502020204030204" pitchFamily="34" charset="0"/>
              </a:defRPr>
            </a:lvl1pPr>
          </a:lstStyle>
          <a:p>
            <a:r>
              <a:rPr lang="en-US"/>
              <a:t>Name</a:t>
            </a:r>
          </a:p>
        </p:txBody>
      </p:sp>
      <p:sp>
        <p:nvSpPr>
          <p:cNvPr id="8" name="Text Placeholder 4">
            <a:extLst>
              <a:ext uri="{FF2B5EF4-FFF2-40B4-BE49-F238E27FC236}">
                <a16:creationId xmlns:a16="http://schemas.microsoft.com/office/drawing/2014/main" id="{DF0BB83A-8F61-9449-F88A-D14428FB92FB}"/>
              </a:ext>
            </a:extLst>
          </p:cNvPr>
          <p:cNvSpPr>
            <a:spLocks noGrp="1"/>
          </p:cNvSpPr>
          <p:nvPr>
            <p:ph type="body" sz="quarter" idx="14"/>
          </p:nvPr>
        </p:nvSpPr>
        <p:spPr>
          <a:xfrm>
            <a:off x="6008594" y="2744373"/>
            <a:ext cx="3827462" cy="225126"/>
          </a:xfrm>
          <a:prstGeom prst="rect">
            <a:avLst/>
          </a:prstGeom>
        </p:spPr>
        <p:txBody>
          <a:bodyPr/>
          <a:lstStyle>
            <a:lvl1pPr>
              <a:defRPr sz="1400" b="0" i="0">
                <a:solidFill>
                  <a:schemeClr val="accent6"/>
                </a:solidFill>
                <a:latin typeface="Calibri Light" panose="020F0302020204030204" pitchFamily="34" charset="0"/>
                <a:cs typeface="Calibri Light" panose="020F0302020204030204" pitchFamily="34" charset="0"/>
              </a:defRPr>
            </a:lvl1pPr>
          </a:lstStyle>
          <a:p>
            <a:r>
              <a:rPr lang="en-US"/>
              <a:t>Position title</a:t>
            </a:r>
          </a:p>
        </p:txBody>
      </p:sp>
      <p:sp>
        <p:nvSpPr>
          <p:cNvPr id="9" name="Text Placeholder 5">
            <a:extLst>
              <a:ext uri="{FF2B5EF4-FFF2-40B4-BE49-F238E27FC236}">
                <a16:creationId xmlns:a16="http://schemas.microsoft.com/office/drawing/2014/main" id="{928CEB9B-E281-2F84-4094-6D6C75AE1667}"/>
              </a:ext>
            </a:extLst>
          </p:cNvPr>
          <p:cNvSpPr>
            <a:spLocks noGrp="1"/>
          </p:cNvSpPr>
          <p:nvPr>
            <p:ph type="body" sz="quarter" idx="15"/>
          </p:nvPr>
        </p:nvSpPr>
        <p:spPr>
          <a:xfrm>
            <a:off x="6008594" y="3273458"/>
            <a:ext cx="3827462" cy="225126"/>
          </a:xfrm>
          <a:prstGeom prst="rect">
            <a:avLst/>
          </a:prstGeom>
        </p:spPr>
        <p:txBody>
          <a:bodyPr/>
          <a:lstStyle>
            <a:lvl1pPr>
              <a:defRPr sz="1400" b="0" i="0">
                <a:latin typeface="Calibri Light" panose="020F0302020204030204" pitchFamily="34" charset="0"/>
                <a:cs typeface="Calibri Light" panose="020F0302020204030204" pitchFamily="34" charset="0"/>
              </a:defRPr>
            </a:lvl1pPr>
          </a:lstStyle>
          <a:p>
            <a:r>
              <a:rPr lang="en-US"/>
              <a:t>Insert email</a:t>
            </a:r>
          </a:p>
        </p:txBody>
      </p:sp>
      <p:sp>
        <p:nvSpPr>
          <p:cNvPr id="10" name="Text Placeholder 6">
            <a:extLst>
              <a:ext uri="{FF2B5EF4-FFF2-40B4-BE49-F238E27FC236}">
                <a16:creationId xmlns:a16="http://schemas.microsoft.com/office/drawing/2014/main" id="{4B5D4FBD-9119-A47E-823E-8468ED6CF450}"/>
              </a:ext>
            </a:extLst>
          </p:cNvPr>
          <p:cNvSpPr>
            <a:spLocks noGrp="1"/>
          </p:cNvSpPr>
          <p:nvPr>
            <p:ph type="body" sz="quarter" idx="16"/>
          </p:nvPr>
        </p:nvSpPr>
        <p:spPr>
          <a:xfrm>
            <a:off x="6008594" y="3560388"/>
            <a:ext cx="3827462" cy="225126"/>
          </a:xfrm>
          <a:prstGeom prst="rect">
            <a:avLst/>
          </a:prstGeom>
        </p:spPr>
        <p:txBody>
          <a:bodyPr/>
          <a:lstStyle>
            <a:lvl1pPr>
              <a:defRPr sz="1400" b="0" i="0">
                <a:latin typeface="Calibri Light" panose="020F0302020204030204" pitchFamily="34" charset="0"/>
                <a:cs typeface="Calibri Light" panose="020F0302020204030204" pitchFamily="34" charset="0"/>
              </a:defRPr>
            </a:lvl1pPr>
          </a:lstStyle>
          <a:p>
            <a:r>
              <a:rPr lang="en-US"/>
              <a:t>+1 000 000 000</a:t>
            </a:r>
          </a:p>
        </p:txBody>
      </p:sp>
      <p:sp>
        <p:nvSpPr>
          <p:cNvPr id="11" name="Text Placeholder 7">
            <a:extLst>
              <a:ext uri="{FF2B5EF4-FFF2-40B4-BE49-F238E27FC236}">
                <a16:creationId xmlns:a16="http://schemas.microsoft.com/office/drawing/2014/main" id="{C67B81F6-EE7E-69A9-E411-F7C52303401A}"/>
              </a:ext>
            </a:extLst>
          </p:cNvPr>
          <p:cNvSpPr>
            <a:spLocks noGrp="1"/>
          </p:cNvSpPr>
          <p:nvPr>
            <p:ph type="body" sz="quarter" idx="17"/>
          </p:nvPr>
        </p:nvSpPr>
        <p:spPr>
          <a:xfrm>
            <a:off x="6008594" y="4117149"/>
            <a:ext cx="3827462" cy="1173078"/>
          </a:xfrm>
          <a:prstGeom prst="rect">
            <a:avLst/>
          </a:prstGeom>
        </p:spPr>
        <p:txBody>
          <a:bodyPr/>
          <a:lstStyle>
            <a:lvl1pPr>
              <a:defRPr sz="1400" b="0" i="0">
                <a:latin typeface="Calibri Light" panose="020F0302020204030204" pitchFamily="34" charset="0"/>
                <a:cs typeface="Calibri Light" panose="020F0302020204030204" pitchFamily="34" charset="0"/>
              </a:defRPr>
            </a:lvl1pPr>
          </a:lstStyle>
          <a:p>
            <a:r>
              <a:rPr lang="en-US"/>
              <a:t>Address Line 1</a:t>
            </a:r>
          </a:p>
          <a:p>
            <a:r>
              <a:rPr lang="en-US"/>
              <a:t>Address Line 2</a:t>
            </a:r>
          </a:p>
          <a:p>
            <a:r>
              <a:rPr lang="en-US"/>
              <a:t>Zip Code</a:t>
            </a:r>
          </a:p>
          <a:p>
            <a:r>
              <a:rPr lang="en-US"/>
              <a:t>Country</a:t>
            </a:r>
          </a:p>
        </p:txBody>
      </p:sp>
      <p:sp>
        <p:nvSpPr>
          <p:cNvPr id="12" name="Title 2">
            <a:extLst>
              <a:ext uri="{FF2B5EF4-FFF2-40B4-BE49-F238E27FC236}">
                <a16:creationId xmlns:a16="http://schemas.microsoft.com/office/drawing/2014/main" id="{7D40B0A2-8366-4164-6D42-A15D2F6F574B}"/>
              </a:ext>
            </a:extLst>
          </p:cNvPr>
          <p:cNvSpPr>
            <a:spLocks noGrp="1"/>
          </p:cNvSpPr>
          <p:nvPr>
            <p:ph type="title" hasCustomPrompt="1"/>
          </p:nvPr>
        </p:nvSpPr>
        <p:spPr>
          <a:xfrm>
            <a:off x="639074" y="1353882"/>
            <a:ext cx="4220135" cy="1107996"/>
          </a:xfrm>
          <a:prstGeom prst="rect">
            <a:avLst/>
          </a:prstGeom>
        </p:spPr>
        <p:txBody>
          <a:bodyPr wrap="square">
            <a:spAutoFit/>
          </a:bodyPr>
          <a:lstStyle>
            <a:lvl1pPr>
              <a:defRPr sz="7200" b="0" i="0">
                <a:solidFill>
                  <a:schemeClr val="accent6"/>
                </a:solidFill>
                <a:latin typeface="Calibri" panose="020F0502020204030204" pitchFamily="34" charset="0"/>
                <a:cs typeface="Calibri" panose="020F0502020204030204" pitchFamily="34" charset="0"/>
              </a:defRPr>
            </a:lvl1pPr>
          </a:lstStyle>
          <a:p>
            <a:r>
              <a:rPr lang="en-US"/>
              <a:t>Thank you!</a:t>
            </a:r>
          </a:p>
        </p:txBody>
      </p:sp>
      <p:cxnSp>
        <p:nvCxnSpPr>
          <p:cNvPr id="16" name="Straight Connector 15">
            <a:extLst>
              <a:ext uri="{FF2B5EF4-FFF2-40B4-BE49-F238E27FC236}">
                <a16:creationId xmlns:a16="http://schemas.microsoft.com/office/drawing/2014/main" id="{32A2464A-FAB8-9787-5897-30B871357252}"/>
              </a:ext>
            </a:extLst>
          </p:cNvPr>
          <p:cNvCxnSpPr>
            <a:cxnSpLocks/>
          </p:cNvCxnSpPr>
          <p:nvPr userDrawn="1"/>
        </p:nvCxnSpPr>
        <p:spPr>
          <a:xfrm>
            <a:off x="6008594" y="1981200"/>
            <a:ext cx="624840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15129423"/>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hank you">
    <p:bg>
      <p:bgPr>
        <a:solidFill>
          <a:schemeClr val="tx1"/>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DF03CD9-50C7-44B7-B928-FC1A6F91398C}"/>
              </a:ext>
            </a:extLst>
          </p:cNvPr>
          <p:cNvSpPr>
            <a:spLocks noGrp="1"/>
          </p:cNvSpPr>
          <p:nvPr>
            <p:ph type="title" hasCustomPrompt="1"/>
          </p:nvPr>
        </p:nvSpPr>
        <p:spPr>
          <a:xfrm>
            <a:off x="457201" y="1585875"/>
            <a:ext cx="5530850" cy="1107996"/>
          </a:xfrm>
          <a:prstGeom prst="rect">
            <a:avLst/>
          </a:prstGeom>
        </p:spPr>
        <p:txBody>
          <a:bodyPr wrap="square">
            <a:spAutoFit/>
          </a:bodyPr>
          <a:lstStyle>
            <a:lvl1pPr>
              <a:defRPr sz="7200">
                <a:solidFill>
                  <a:schemeClr val="bg1"/>
                </a:solidFill>
                <a:latin typeface="Calibri Light" panose="020F0302020204030204" pitchFamily="34" charset="0"/>
                <a:cs typeface="Calibri Light" panose="020F0302020204030204" pitchFamily="34" charset="0"/>
              </a:defRPr>
            </a:lvl1pPr>
          </a:lstStyle>
          <a:p>
            <a:r>
              <a:rPr lang="en-US"/>
              <a:t>Thank you!</a:t>
            </a:r>
          </a:p>
        </p:txBody>
      </p:sp>
      <p:sp>
        <p:nvSpPr>
          <p:cNvPr id="4" name="Text Placeholder 2">
            <a:extLst>
              <a:ext uri="{FF2B5EF4-FFF2-40B4-BE49-F238E27FC236}">
                <a16:creationId xmlns:a16="http://schemas.microsoft.com/office/drawing/2014/main" id="{9E6FD535-F02B-ED38-D83F-7A90EDCCC63B}"/>
              </a:ext>
            </a:extLst>
          </p:cNvPr>
          <p:cNvSpPr>
            <a:spLocks noGrp="1"/>
          </p:cNvSpPr>
          <p:nvPr>
            <p:ph type="body" sz="quarter" idx="12"/>
          </p:nvPr>
        </p:nvSpPr>
        <p:spPr>
          <a:xfrm>
            <a:off x="6008594" y="1585875"/>
            <a:ext cx="3827462" cy="257250"/>
          </a:xfrm>
          <a:prstGeom prst="rect">
            <a:avLst/>
          </a:prstGeom>
        </p:spPr>
        <p:txBody>
          <a:bodyPr/>
          <a:lstStyle>
            <a:lvl1pPr>
              <a:defRPr sz="1600" b="0" i="0">
                <a:solidFill>
                  <a:schemeClr val="bg1"/>
                </a:solidFill>
                <a:latin typeface="Calibri" panose="020F0502020204030204" pitchFamily="34" charset="0"/>
                <a:cs typeface="Calibri" panose="020F0502020204030204" pitchFamily="34" charset="0"/>
              </a:defRPr>
            </a:lvl1pPr>
          </a:lstStyle>
          <a:p>
            <a:r>
              <a:rPr lang="en-US"/>
              <a:t>For more information, contact</a:t>
            </a:r>
          </a:p>
        </p:txBody>
      </p:sp>
      <p:sp>
        <p:nvSpPr>
          <p:cNvPr id="5" name="Text Placeholder 3">
            <a:extLst>
              <a:ext uri="{FF2B5EF4-FFF2-40B4-BE49-F238E27FC236}">
                <a16:creationId xmlns:a16="http://schemas.microsoft.com/office/drawing/2014/main" id="{B6BAF364-BB54-C95E-4E73-E9B389C494A8}"/>
              </a:ext>
            </a:extLst>
          </p:cNvPr>
          <p:cNvSpPr>
            <a:spLocks noGrp="1"/>
          </p:cNvSpPr>
          <p:nvPr>
            <p:ph type="body" sz="quarter" idx="13"/>
          </p:nvPr>
        </p:nvSpPr>
        <p:spPr>
          <a:xfrm>
            <a:off x="6008594" y="2359058"/>
            <a:ext cx="3827462" cy="289438"/>
          </a:xfrm>
          <a:prstGeom prst="rect">
            <a:avLst/>
          </a:prstGeom>
        </p:spPr>
        <p:txBody>
          <a:bodyPr/>
          <a:lstStyle>
            <a:lvl1pPr>
              <a:defRPr sz="1800" b="1" i="0">
                <a:solidFill>
                  <a:schemeClr val="bg1"/>
                </a:solidFill>
                <a:latin typeface="Calibri" panose="020F0502020204030204" pitchFamily="34" charset="0"/>
                <a:cs typeface="Calibri" panose="020F0502020204030204" pitchFamily="34" charset="0"/>
              </a:defRPr>
            </a:lvl1pPr>
          </a:lstStyle>
          <a:p>
            <a:r>
              <a:rPr lang="en-US"/>
              <a:t>Name</a:t>
            </a:r>
          </a:p>
        </p:txBody>
      </p:sp>
      <p:sp>
        <p:nvSpPr>
          <p:cNvPr id="7" name="Text Placeholder 4">
            <a:extLst>
              <a:ext uri="{FF2B5EF4-FFF2-40B4-BE49-F238E27FC236}">
                <a16:creationId xmlns:a16="http://schemas.microsoft.com/office/drawing/2014/main" id="{953433F5-5E98-8543-C6A5-E9DEEE2B1FCB}"/>
              </a:ext>
            </a:extLst>
          </p:cNvPr>
          <p:cNvSpPr>
            <a:spLocks noGrp="1"/>
          </p:cNvSpPr>
          <p:nvPr>
            <p:ph type="body" sz="quarter" idx="14"/>
          </p:nvPr>
        </p:nvSpPr>
        <p:spPr>
          <a:xfrm>
            <a:off x="6008594" y="2744373"/>
            <a:ext cx="3827462" cy="225126"/>
          </a:xfrm>
          <a:prstGeom prst="rect">
            <a:avLst/>
          </a:prstGeom>
        </p:spPr>
        <p:txBody>
          <a:bodyPr/>
          <a:lstStyle>
            <a:lvl1pPr>
              <a:defRPr sz="1400" b="0" i="0">
                <a:solidFill>
                  <a:schemeClr val="bg1"/>
                </a:solidFill>
                <a:latin typeface="Calibri Light" panose="020F0302020204030204" pitchFamily="34" charset="0"/>
                <a:cs typeface="Calibri Light" panose="020F0302020204030204" pitchFamily="34" charset="0"/>
              </a:defRPr>
            </a:lvl1pPr>
          </a:lstStyle>
          <a:p>
            <a:r>
              <a:rPr lang="en-US"/>
              <a:t>Position title</a:t>
            </a:r>
          </a:p>
        </p:txBody>
      </p:sp>
      <p:sp>
        <p:nvSpPr>
          <p:cNvPr id="8" name="Text Placeholder 5">
            <a:extLst>
              <a:ext uri="{FF2B5EF4-FFF2-40B4-BE49-F238E27FC236}">
                <a16:creationId xmlns:a16="http://schemas.microsoft.com/office/drawing/2014/main" id="{23921F42-C7A3-78EC-4E9C-3EB5C7ED684A}"/>
              </a:ext>
            </a:extLst>
          </p:cNvPr>
          <p:cNvSpPr>
            <a:spLocks noGrp="1"/>
          </p:cNvSpPr>
          <p:nvPr>
            <p:ph type="body" sz="quarter" idx="15"/>
          </p:nvPr>
        </p:nvSpPr>
        <p:spPr>
          <a:xfrm>
            <a:off x="6008594" y="3273458"/>
            <a:ext cx="3827462" cy="225126"/>
          </a:xfrm>
          <a:prstGeom prst="rect">
            <a:avLst/>
          </a:prstGeom>
        </p:spPr>
        <p:txBody>
          <a:bodyPr/>
          <a:lstStyle>
            <a:lvl1pPr>
              <a:defRPr sz="1400" b="0" i="0">
                <a:solidFill>
                  <a:schemeClr val="bg1"/>
                </a:solidFill>
                <a:latin typeface="Calibri Light" panose="020F0302020204030204" pitchFamily="34" charset="0"/>
                <a:cs typeface="Calibri Light" panose="020F0302020204030204" pitchFamily="34" charset="0"/>
              </a:defRPr>
            </a:lvl1pPr>
          </a:lstStyle>
          <a:p>
            <a:r>
              <a:rPr lang="en-US"/>
              <a:t>Insert email</a:t>
            </a:r>
          </a:p>
        </p:txBody>
      </p:sp>
      <p:sp>
        <p:nvSpPr>
          <p:cNvPr id="23" name="Text Placeholder 6">
            <a:extLst>
              <a:ext uri="{FF2B5EF4-FFF2-40B4-BE49-F238E27FC236}">
                <a16:creationId xmlns:a16="http://schemas.microsoft.com/office/drawing/2014/main" id="{E49B9AC2-4457-5709-0E87-15A846CC0DAF}"/>
              </a:ext>
            </a:extLst>
          </p:cNvPr>
          <p:cNvSpPr>
            <a:spLocks noGrp="1"/>
          </p:cNvSpPr>
          <p:nvPr>
            <p:ph type="body" sz="quarter" idx="16"/>
          </p:nvPr>
        </p:nvSpPr>
        <p:spPr>
          <a:xfrm>
            <a:off x="6008594" y="3560388"/>
            <a:ext cx="3827462" cy="225126"/>
          </a:xfrm>
          <a:prstGeom prst="rect">
            <a:avLst/>
          </a:prstGeom>
        </p:spPr>
        <p:txBody>
          <a:bodyPr/>
          <a:lstStyle>
            <a:lvl1pPr>
              <a:defRPr sz="1400" b="0" i="0">
                <a:solidFill>
                  <a:schemeClr val="bg1"/>
                </a:solidFill>
                <a:latin typeface="Calibri Light" panose="020F0302020204030204" pitchFamily="34" charset="0"/>
                <a:cs typeface="Calibri Light" panose="020F0302020204030204" pitchFamily="34" charset="0"/>
              </a:defRPr>
            </a:lvl1pPr>
          </a:lstStyle>
          <a:p>
            <a:r>
              <a:rPr lang="en-US"/>
              <a:t>+1 000 000 000</a:t>
            </a:r>
          </a:p>
        </p:txBody>
      </p:sp>
      <p:sp>
        <p:nvSpPr>
          <p:cNvPr id="24" name="Text Placeholder 7">
            <a:extLst>
              <a:ext uri="{FF2B5EF4-FFF2-40B4-BE49-F238E27FC236}">
                <a16:creationId xmlns:a16="http://schemas.microsoft.com/office/drawing/2014/main" id="{0BAED229-3A3F-9E3C-D8E1-7886C2A0BFD3}"/>
              </a:ext>
            </a:extLst>
          </p:cNvPr>
          <p:cNvSpPr>
            <a:spLocks noGrp="1"/>
          </p:cNvSpPr>
          <p:nvPr>
            <p:ph type="body" sz="quarter" idx="17"/>
          </p:nvPr>
        </p:nvSpPr>
        <p:spPr>
          <a:xfrm>
            <a:off x="6008594" y="4117149"/>
            <a:ext cx="3827462" cy="1173078"/>
          </a:xfrm>
          <a:prstGeom prst="rect">
            <a:avLst/>
          </a:prstGeom>
        </p:spPr>
        <p:txBody>
          <a:bodyPr/>
          <a:lstStyle>
            <a:lvl1pPr>
              <a:defRPr sz="1400" b="0" i="0">
                <a:solidFill>
                  <a:schemeClr val="bg1"/>
                </a:solidFill>
                <a:latin typeface="Calibri Light" panose="020F0302020204030204" pitchFamily="34" charset="0"/>
                <a:cs typeface="Calibri Light" panose="020F0302020204030204" pitchFamily="34" charset="0"/>
              </a:defRPr>
            </a:lvl1pPr>
          </a:lstStyle>
          <a:p>
            <a:r>
              <a:rPr lang="en-US"/>
              <a:t>Address Line 1</a:t>
            </a:r>
          </a:p>
          <a:p>
            <a:r>
              <a:rPr lang="en-US"/>
              <a:t>Address Line 2</a:t>
            </a:r>
          </a:p>
          <a:p>
            <a:r>
              <a:rPr lang="en-US"/>
              <a:t>Zip Code</a:t>
            </a:r>
          </a:p>
          <a:p>
            <a:r>
              <a:rPr lang="en-US"/>
              <a:t>Country</a:t>
            </a:r>
          </a:p>
        </p:txBody>
      </p:sp>
      <p:cxnSp>
        <p:nvCxnSpPr>
          <p:cNvPr id="25" name="Straight Connector 24">
            <a:extLst>
              <a:ext uri="{FF2B5EF4-FFF2-40B4-BE49-F238E27FC236}">
                <a16:creationId xmlns:a16="http://schemas.microsoft.com/office/drawing/2014/main" id="{2220AE1B-3F63-5786-F8E4-A27E35078BA1}"/>
              </a:ext>
            </a:extLst>
          </p:cNvPr>
          <p:cNvCxnSpPr>
            <a:cxnSpLocks/>
          </p:cNvCxnSpPr>
          <p:nvPr userDrawn="1"/>
        </p:nvCxnSpPr>
        <p:spPr>
          <a:xfrm>
            <a:off x="6008594" y="1981200"/>
            <a:ext cx="6248400" cy="0"/>
          </a:xfrm>
          <a:prstGeom prst="line">
            <a:avLst/>
          </a:prstGeom>
          <a:ln w="6350">
            <a:solidFill>
              <a:schemeClr val="bg1">
                <a:alpha val="65123"/>
              </a:schemeClr>
            </a:solidFill>
          </a:ln>
        </p:spPr>
        <p:style>
          <a:lnRef idx="1">
            <a:schemeClr val="accent1"/>
          </a:lnRef>
          <a:fillRef idx="0">
            <a:schemeClr val="accent1"/>
          </a:fillRef>
          <a:effectRef idx="0">
            <a:schemeClr val="accent1"/>
          </a:effectRef>
          <a:fontRef idx="minor">
            <a:schemeClr val="tx1"/>
          </a:fontRef>
        </p:style>
      </p:cxnSp>
      <p:grpSp>
        <p:nvGrpSpPr>
          <p:cNvPr id="26" name="Group 25">
            <a:extLst>
              <a:ext uri="{FF2B5EF4-FFF2-40B4-BE49-F238E27FC236}">
                <a16:creationId xmlns:a16="http://schemas.microsoft.com/office/drawing/2014/main" id="{DF33C6F7-FA2E-6B08-33A9-37FDFF26A31B}"/>
              </a:ext>
            </a:extLst>
          </p:cNvPr>
          <p:cNvGrpSpPr/>
          <p:nvPr userDrawn="1"/>
        </p:nvGrpSpPr>
        <p:grpSpPr>
          <a:xfrm>
            <a:off x="610888" y="6472556"/>
            <a:ext cx="372834" cy="131175"/>
            <a:chOff x="14288" y="2035175"/>
            <a:chExt cx="10039350" cy="3532188"/>
          </a:xfrm>
          <a:solidFill>
            <a:schemeClr val="bg1"/>
          </a:solidFill>
        </p:grpSpPr>
        <p:sp>
          <p:nvSpPr>
            <p:cNvPr id="27" name="Freeform 1">
              <a:extLst>
                <a:ext uri="{FF2B5EF4-FFF2-40B4-BE49-F238E27FC236}">
                  <a16:creationId xmlns:a16="http://schemas.microsoft.com/office/drawing/2014/main" id="{F2E77280-F6AB-F350-4404-BD681B56D366}"/>
                </a:ext>
              </a:extLst>
            </p:cNvPr>
            <p:cNvSpPr>
              <a:spLocks noChangeArrowheads="1"/>
            </p:cNvSpPr>
            <p:nvPr/>
          </p:nvSpPr>
          <p:spPr bwMode="auto">
            <a:xfrm>
              <a:off x="1519238" y="2035175"/>
              <a:ext cx="1336675" cy="2836863"/>
            </a:xfrm>
            <a:custGeom>
              <a:avLst/>
              <a:gdLst>
                <a:gd name="T0" fmla="*/ 390493 w 3714"/>
                <a:gd name="T1" fmla="*/ 1200682 h 7882"/>
                <a:gd name="T2" fmla="*/ 945462 w 3714"/>
                <a:gd name="T3" fmla="*/ 1200682 h 7882"/>
                <a:gd name="T4" fmla="*/ 945462 w 3714"/>
                <a:gd name="T5" fmla="*/ 611498 h 7882"/>
                <a:gd name="T6" fmla="*/ 698929 w 3714"/>
                <a:gd name="T7" fmla="*/ 364596 h 7882"/>
                <a:gd name="T8" fmla="*/ 637386 w 3714"/>
                <a:gd name="T9" fmla="*/ 364596 h 7882"/>
                <a:gd name="T10" fmla="*/ 390493 w 3714"/>
                <a:gd name="T11" fmla="*/ 611498 h 7882"/>
                <a:gd name="T12" fmla="*/ 390493 w 3714"/>
                <a:gd name="T13" fmla="*/ 1200682 h 7882"/>
                <a:gd name="T14" fmla="*/ 389414 w 3714"/>
                <a:gd name="T15" fmla="*/ 1576795 h 7882"/>
                <a:gd name="T16" fmla="*/ 390493 w 3714"/>
                <a:gd name="T17" fmla="*/ 2224645 h 7882"/>
                <a:gd name="T18" fmla="*/ 637386 w 3714"/>
                <a:gd name="T19" fmla="*/ 2471548 h 7882"/>
                <a:gd name="T20" fmla="*/ 709366 w 3714"/>
                <a:gd name="T21" fmla="*/ 2471548 h 7882"/>
                <a:gd name="T22" fmla="*/ 955899 w 3714"/>
                <a:gd name="T23" fmla="*/ 2224645 h 7882"/>
                <a:gd name="T24" fmla="*/ 955899 w 3714"/>
                <a:gd name="T25" fmla="*/ 1906119 h 7882"/>
                <a:gd name="T26" fmla="*/ 1336315 w 3714"/>
                <a:gd name="T27" fmla="*/ 1906119 h 7882"/>
                <a:gd name="T28" fmla="*/ 1336315 w 3714"/>
                <a:gd name="T29" fmla="*/ 2209528 h 7882"/>
                <a:gd name="T30" fmla="*/ 709366 w 3714"/>
                <a:gd name="T31" fmla="*/ 2836503 h 7882"/>
                <a:gd name="T32" fmla="*/ 626949 w 3714"/>
                <a:gd name="T33" fmla="*/ 2836503 h 7882"/>
                <a:gd name="T34" fmla="*/ 0 w 3714"/>
                <a:gd name="T35" fmla="*/ 2258117 h 7882"/>
                <a:gd name="T36" fmla="*/ 0 w 3714"/>
                <a:gd name="T37" fmla="*/ 675564 h 7882"/>
                <a:gd name="T38" fmla="*/ 626949 w 3714"/>
                <a:gd name="T39" fmla="*/ 0 h 7882"/>
                <a:gd name="T40" fmla="*/ 709366 w 3714"/>
                <a:gd name="T41" fmla="*/ 0 h 7882"/>
                <a:gd name="T42" fmla="*/ 1336315 w 3714"/>
                <a:gd name="T43" fmla="*/ 626975 h 7882"/>
                <a:gd name="T44" fmla="*/ 1334875 w 3714"/>
                <a:gd name="T45" fmla="*/ 1576795 h 7882"/>
                <a:gd name="T46" fmla="*/ 389414 w 3714"/>
                <a:gd name="T47" fmla="*/ 1576795 h 7882"/>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3714" h="7882">
                  <a:moveTo>
                    <a:pt x="1085" y="3336"/>
                  </a:moveTo>
                  <a:lnTo>
                    <a:pt x="2627" y="3336"/>
                  </a:lnTo>
                  <a:lnTo>
                    <a:pt x="2627" y="1699"/>
                  </a:lnTo>
                  <a:cubicBezTo>
                    <a:pt x="2627" y="1242"/>
                    <a:pt x="2399" y="1013"/>
                    <a:pt x="1942" y="1013"/>
                  </a:cubicBezTo>
                  <a:lnTo>
                    <a:pt x="1771" y="1013"/>
                  </a:lnTo>
                  <a:cubicBezTo>
                    <a:pt x="1314" y="1013"/>
                    <a:pt x="1085" y="1242"/>
                    <a:pt x="1085" y="1699"/>
                  </a:cubicBezTo>
                  <a:lnTo>
                    <a:pt x="1085" y="3336"/>
                  </a:lnTo>
                  <a:close/>
                  <a:moveTo>
                    <a:pt x="1082" y="4381"/>
                  </a:moveTo>
                  <a:lnTo>
                    <a:pt x="1085" y="6181"/>
                  </a:lnTo>
                  <a:cubicBezTo>
                    <a:pt x="1085" y="6638"/>
                    <a:pt x="1314" y="6867"/>
                    <a:pt x="1771" y="6867"/>
                  </a:cubicBezTo>
                  <a:lnTo>
                    <a:pt x="1971" y="6867"/>
                  </a:lnTo>
                  <a:cubicBezTo>
                    <a:pt x="2428" y="6867"/>
                    <a:pt x="2656" y="6638"/>
                    <a:pt x="2656" y="6181"/>
                  </a:cubicBezTo>
                  <a:lnTo>
                    <a:pt x="2656" y="5296"/>
                  </a:lnTo>
                  <a:lnTo>
                    <a:pt x="3713" y="5296"/>
                  </a:lnTo>
                  <a:lnTo>
                    <a:pt x="3713" y="6139"/>
                  </a:lnTo>
                  <a:cubicBezTo>
                    <a:pt x="3713" y="7295"/>
                    <a:pt x="3127" y="7881"/>
                    <a:pt x="1971" y="7881"/>
                  </a:cubicBezTo>
                  <a:lnTo>
                    <a:pt x="1742" y="7881"/>
                  </a:lnTo>
                  <a:cubicBezTo>
                    <a:pt x="585" y="7881"/>
                    <a:pt x="0" y="7295"/>
                    <a:pt x="0" y="6274"/>
                  </a:cubicBezTo>
                  <a:lnTo>
                    <a:pt x="0" y="1877"/>
                  </a:lnTo>
                  <a:cubicBezTo>
                    <a:pt x="0" y="585"/>
                    <a:pt x="585" y="0"/>
                    <a:pt x="1742" y="0"/>
                  </a:cubicBezTo>
                  <a:lnTo>
                    <a:pt x="1971" y="0"/>
                  </a:lnTo>
                  <a:cubicBezTo>
                    <a:pt x="3127" y="0"/>
                    <a:pt x="3713" y="585"/>
                    <a:pt x="3713" y="1742"/>
                  </a:cubicBezTo>
                  <a:lnTo>
                    <a:pt x="3709" y="4381"/>
                  </a:lnTo>
                  <a:lnTo>
                    <a:pt x="1082" y="4381"/>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endParaRPr lang="en-US"/>
            </a:p>
          </p:txBody>
        </p:sp>
        <p:sp>
          <p:nvSpPr>
            <p:cNvPr id="28" name="Freeform 2">
              <a:extLst>
                <a:ext uri="{FF2B5EF4-FFF2-40B4-BE49-F238E27FC236}">
                  <a16:creationId xmlns:a16="http://schemas.microsoft.com/office/drawing/2014/main" id="{76D1CD50-2BF2-92D4-638A-8E6DD5C53E55}"/>
                </a:ext>
              </a:extLst>
            </p:cNvPr>
            <p:cNvSpPr>
              <a:spLocks noChangeArrowheads="1"/>
            </p:cNvSpPr>
            <p:nvPr/>
          </p:nvSpPr>
          <p:spPr bwMode="auto">
            <a:xfrm>
              <a:off x="3109913" y="2035175"/>
              <a:ext cx="1368425" cy="3532188"/>
            </a:xfrm>
            <a:custGeom>
              <a:avLst/>
              <a:gdLst>
                <a:gd name="T0" fmla="*/ 390721 w 3800"/>
                <a:gd name="T1" fmla="*/ 2322993 h 9812"/>
                <a:gd name="T2" fmla="*/ 750833 w 3800"/>
                <a:gd name="T3" fmla="*/ 2466628 h 9812"/>
                <a:gd name="T4" fmla="*/ 976983 w 3800"/>
                <a:gd name="T5" fmla="*/ 2240556 h 9812"/>
                <a:gd name="T6" fmla="*/ 976983 w 3800"/>
                <a:gd name="T7" fmla="*/ 596138 h 9812"/>
                <a:gd name="T8" fmla="*/ 750833 w 3800"/>
                <a:gd name="T9" fmla="*/ 370066 h 9812"/>
                <a:gd name="T10" fmla="*/ 390721 w 3800"/>
                <a:gd name="T11" fmla="*/ 514061 h 9812"/>
                <a:gd name="T12" fmla="*/ 390721 w 3800"/>
                <a:gd name="T13" fmla="*/ 2322993 h 9812"/>
                <a:gd name="T14" fmla="*/ 0 w 3800"/>
                <a:gd name="T15" fmla="*/ 30599 h 9812"/>
                <a:gd name="T16" fmla="*/ 390721 w 3800"/>
                <a:gd name="T17" fmla="*/ 30599 h 9812"/>
                <a:gd name="T18" fmla="*/ 390721 w 3800"/>
                <a:gd name="T19" fmla="*/ 210592 h 9812"/>
                <a:gd name="T20" fmla="*/ 868950 w 3800"/>
                <a:gd name="T21" fmla="*/ 0 h 9812"/>
                <a:gd name="T22" fmla="*/ 1368065 w 3800"/>
                <a:gd name="T23" fmla="*/ 549699 h 9812"/>
                <a:gd name="T24" fmla="*/ 1368065 w 3800"/>
                <a:gd name="T25" fmla="*/ 2286995 h 9812"/>
                <a:gd name="T26" fmla="*/ 868950 w 3800"/>
                <a:gd name="T27" fmla="*/ 2837054 h 9812"/>
                <a:gd name="T28" fmla="*/ 390721 w 3800"/>
                <a:gd name="T29" fmla="*/ 2636541 h 9812"/>
                <a:gd name="T30" fmla="*/ 390721 w 3800"/>
                <a:gd name="T31" fmla="*/ 3531828 h 9812"/>
                <a:gd name="T32" fmla="*/ 0 w 3800"/>
                <a:gd name="T33" fmla="*/ 3531828 h 9812"/>
                <a:gd name="T34" fmla="*/ 0 w 3800"/>
                <a:gd name="T35" fmla="*/ 30599 h 9812"/>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3800" h="9812">
                  <a:moveTo>
                    <a:pt x="1085" y="6453"/>
                  </a:moveTo>
                  <a:cubicBezTo>
                    <a:pt x="1385" y="6710"/>
                    <a:pt x="1728" y="6852"/>
                    <a:pt x="2085" y="6852"/>
                  </a:cubicBezTo>
                  <a:cubicBezTo>
                    <a:pt x="2485" y="6852"/>
                    <a:pt x="2713" y="6667"/>
                    <a:pt x="2713" y="6224"/>
                  </a:cubicBezTo>
                  <a:lnTo>
                    <a:pt x="2713" y="1656"/>
                  </a:lnTo>
                  <a:cubicBezTo>
                    <a:pt x="2713" y="1213"/>
                    <a:pt x="2485" y="1028"/>
                    <a:pt x="2085" y="1028"/>
                  </a:cubicBezTo>
                  <a:cubicBezTo>
                    <a:pt x="1728" y="1028"/>
                    <a:pt x="1385" y="1170"/>
                    <a:pt x="1085" y="1428"/>
                  </a:cubicBezTo>
                  <a:lnTo>
                    <a:pt x="1085" y="6453"/>
                  </a:lnTo>
                  <a:close/>
                  <a:moveTo>
                    <a:pt x="0" y="85"/>
                  </a:moveTo>
                  <a:lnTo>
                    <a:pt x="1085" y="85"/>
                  </a:lnTo>
                  <a:lnTo>
                    <a:pt x="1085" y="585"/>
                  </a:lnTo>
                  <a:cubicBezTo>
                    <a:pt x="1342" y="314"/>
                    <a:pt x="1785" y="0"/>
                    <a:pt x="2413" y="0"/>
                  </a:cubicBezTo>
                  <a:cubicBezTo>
                    <a:pt x="3342" y="0"/>
                    <a:pt x="3799" y="614"/>
                    <a:pt x="3799" y="1527"/>
                  </a:cubicBezTo>
                  <a:lnTo>
                    <a:pt x="3799" y="6353"/>
                  </a:lnTo>
                  <a:cubicBezTo>
                    <a:pt x="3799" y="7267"/>
                    <a:pt x="3342" y="7881"/>
                    <a:pt x="2413" y="7881"/>
                  </a:cubicBezTo>
                  <a:cubicBezTo>
                    <a:pt x="1785" y="7881"/>
                    <a:pt x="1342" y="7581"/>
                    <a:pt x="1085" y="7324"/>
                  </a:cubicBezTo>
                  <a:lnTo>
                    <a:pt x="1085" y="9811"/>
                  </a:lnTo>
                  <a:lnTo>
                    <a:pt x="0" y="9811"/>
                  </a:lnTo>
                  <a:lnTo>
                    <a:pt x="0" y="85"/>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endParaRPr lang="en-US"/>
            </a:p>
          </p:txBody>
        </p:sp>
        <p:sp>
          <p:nvSpPr>
            <p:cNvPr id="29" name="Freeform 3">
              <a:extLst>
                <a:ext uri="{FF2B5EF4-FFF2-40B4-BE49-F238E27FC236}">
                  <a16:creationId xmlns:a16="http://schemas.microsoft.com/office/drawing/2014/main" id="{989E05A2-75DA-E47E-387F-1468DC69A90C}"/>
                </a:ext>
              </a:extLst>
            </p:cNvPr>
            <p:cNvSpPr>
              <a:spLocks noChangeArrowheads="1"/>
            </p:cNvSpPr>
            <p:nvPr/>
          </p:nvSpPr>
          <p:spPr bwMode="auto">
            <a:xfrm>
              <a:off x="4711700" y="2035175"/>
              <a:ext cx="1328738" cy="2836863"/>
            </a:xfrm>
            <a:custGeom>
              <a:avLst/>
              <a:gdLst>
                <a:gd name="T0" fmla="*/ 937679 w 3690"/>
                <a:gd name="T1" fmla="*/ 2338019 h 7882"/>
                <a:gd name="T2" fmla="*/ 937679 w 3690"/>
                <a:gd name="T3" fmla="*/ 1422750 h 7882"/>
                <a:gd name="T4" fmla="*/ 582988 w 3690"/>
                <a:gd name="T5" fmla="*/ 1556999 h 7882"/>
                <a:gd name="T6" fmla="*/ 392500 w 3690"/>
                <a:gd name="T7" fmla="*/ 1844573 h 7882"/>
                <a:gd name="T8" fmla="*/ 392500 w 3690"/>
                <a:gd name="T9" fmla="*/ 2266035 h 7882"/>
                <a:gd name="T10" fmla="*/ 582988 w 3690"/>
                <a:gd name="T11" fmla="*/ 2466149 h 7882"/>
                <a:gd name="T12" fmla="*/ 937679 w 3690"/>
                <a:gd name="T13" fmla="*/ 2338019 h 7882"/>
                <a:gd name="T14" fmla="*/ 2161 w 3690"/>
                <a:gd name="T15" fmla="*/ 1839174 h 7882"/>
                <a:gd name="T16" fmla="*/ 413025 w 3690"/>
                <a:gd name="T17" fmla="*/ 1253950 h 7882"/>
                <a:gd name="T18" fmla="*/ 937679 w 3690"/>
                <a:gd name="T19" fmla="*/ 1073991 h 7882"/>
                <a:gd name="T20" fmla="*/ 937679 w 3690"/>
                <a:gd name="T21" fmla="*/ 611498 h 7882"/>
                <a:gd name="T22" fmla="*/ 690656 w 3690"/>
                <a:gd name="T23" fmla="*/ 359557 h 7882"/>
                <a:gd name="T24" fmla="*/ 627280 w 3690"/>
                <a:gd name="T25" fmla="*/ 359557 h 7882"/>
                <a:gd name="T26" fmla="*/ 380257 w 3690"/>
                <a:gd name="T27" fmla="*/ 611498 h 7882"/>
                <a:gd name="T28" fmla="*/ 380257 w 3690"/>
                <a:gd name="T29" fmla="*/ 1004527 h 7882"/>
                <a:gd name="T30" fmla="*/ 0 w 3690"/>
                <a:gd name="T31" fmla="*/ 1004527 h 7882"/>
                <a:gd name="T32" fmla="*/ 0 w 3690"/>
                <a:gd name="T33" fmla="*/ 626975 h 7882"/>
                <a:gd name="T34" fmla="*/ 627280 w 3690"/>
                <a:gd name="T35" fmla="*/ 0 h 7882"/>
                <a:gd name="T36" fmla="*/ 701098 w 3690"/>
                <a:gd name="T37" fmla="*/ 0 h 7882"/>
                <a:gd name="T38" fmla="*/ 1328378 w 3690"/>
                <a:gd name="T39" fmla="*/ 626975 h 7882"/>
                <a:gd name="T40" fmla="*/ 1328378 w 3690"/>
                <a:gd name="T41" fmla="*/ 2805550 h 7882"/>
                <a:gd name="T42" fmla="*/ 937679 w 3690"/>
                <a:gd name="T43" fmla="*/ 2805550 h 7882"/>
                <a:gd name="T44" fmla="*/ 937679 w 3690"/>
                <a:gd name="T45" fmla="*/ 2630631 h 7882"/>
                <a:gd name="T46" fmla="*/ 459477 w 3690"/>
                <a:gd name="T47" fmla="*/ 2836503 h 7882"/>
                <a:gd name="T48" fmla="*/ 2161 w 3690"/>
                <a:gd name="T49" fmla="*/ 2348096 h 7882"/>
                <a:gd name="T50" fmla="*/ 2161 w 3690"/>
                <a:gd name="T51" fmla="*/ 1839174 h 7882"/>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3690" h="7882">
                  <a:moveTo>
                    <a:pt x="2604" y="6496"/>
                  </a:moveTo>
                  <a:lnTo>
                    <a:pt x="2604" y="3953"/>
                  </a:lnTo>
                  <a:lnTo>
                    <a:pt x="1619" y="4326"/>
                  </a:lnTo>
                  <a:cubicBezTo>
                    <a:pt x="1219" y="4483"/>
                    <a:pt x="1090" y="4683"/>
                    <a:pt x="1090" y="5125"/>
                  </a:cubicBezTo>
                  <a:lnTo>
                    <a:pt x="1090" y="6296"/>
                  </a:lnTo>
                  <a:cubicBezTo>
                    <a:pt x="1090" y="6667"/>
                    <a:pt x="1276" y="6852"/>
                    <a:pt x="1619" y="6852"/>
                  </a:cubicBezTo>
                  <a:cubicBezTo>
                    <a:pt x="1947" y="6852"/>
                    <a:pt x="2247" y="6738"/>
                    <a:pt x="2604" y="6496"/>
                  </a:cubicBezTo>
                  <a:close/>
                  <a:moveTo>
                    <a:pt x="6" y="5110"/>
                  </a:moveTo>
                  <a:cubicBezTo>
                    <a:pt x="6" y="4155"/>
                    <a:pt x="320" y="3769"/>
                    <a:pt x="1147" y="3484"/>
                  </a:cubicBezTo>
                  <a:lnTo>
                    <a:pt x="2604" y="2984"/>
                  </a:lnTo>
                  <a:lnTo>
                    <a:pt x="2604" y="1699"/>
                  </a:lnTo>
                  <a:cubicBezTo>
                    <a:pt x="2604" y="1242"/>
                    <a:pt x="2375" y="999"/>
                    <a:pt x="1918" y="999"/>
                  </a:cubicBezTo>
                  <a:lnTo>
                    <a:pt x="1742" y="999"/>
                  </a:lnTo>
                  <a:cubicBezTo>
                    <a:pt x="1285" y="999"/>
                    <a:pt x="1056" y="1242"/>
                    <a:pt x="1056" y="1699"/>
                  </a:cubicBezTo>
                  <a:lnTo>
                    <a:pt x="1056" y="2791"/>
                  </a:lnTo>
                  <a:lnTo>
                    <a:pt x="0" y="2791"/>
                  </a:lnTo>
                  <a:lnTo>
                    <a:pt x="0" y="1742"/>
                  </a:lnTo>
                  <a:cubicBezTo>
                    <a:pt x="0" y="585"/>
                    <a:pt x="586" y="0"/>
                    <a:pt x="1742" y="0"/>
                  </a:cubicBezTo>
                  <a:lnTo>
                    <a:pt x="1947" y="0"/>
                  </a:lnTo>
                  <a:cubicBezTo>
                    <a:pt x="3104" y="0"/>
                    <a:pt x="3689" y="585"/>
                    <a:pt x="3689" y="1742"/>
                  </a:cubicBezTo>
                  <a:lnTo>
                    <a:pt x="3689" y="7795"/>
                  </a:lnTo>
                  <a:lnTo>
                    <a:pt x="2604" y="7795"/>
                  </a:lnTo>
                  <a:lnTo>
                    <a:pt x="2604" y="7309"/>
                  </a:lnTo>
                  <a:cubicBezTo>
                    <a:pt x="2304" y="7595"/>
                    <a:pt x="1904" y="7881"/>
                    <a:pt x="1276" y="7881"/>
                  </a:cubicBezTo>
                  <a:cubicBezTo>
                    <a:pt x="406" y="7881"/>
                    <a:pt x="6" y="7381"/>
                    <a:pt x="6" y="6524"/>
                  </a:cubicBezTo>
                  <a:lnTo>
                    <a:pt x="6" y="5110"/>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endParaRPr lang="en-US"/>
            </a:p>
          </p:txBody>
        </p:sp>
        <p:sp>
          <p:nvSpPr>
            <p:cNvPr id="30" name="Freeform 4">
              <a:extLst>
                <a:ext uri="{FF2B5EF4-FFF2-40B4-BE49-F238E27FC236}">
                  <a16:creationId xmlns:a16="http://schemas.microsoft.com/office/drawing/2014/main" id="{4A8812DD-BE00-0E39-3752-28C7E938E92C}"/>
                </a:ext>
              </a:extLst>
            </p:cNvPr>
            <p:cNvSpPr>
              <a:spLocks noChangeArrowheads="1"/>
            </p:cNvSpPr>
            <p:nvPr/>
          </p:nvSpPr>
          <p:spPr bwMode="auto">
            <a:xfrm>
              <a:off x="6292850" y="2035175"/>
              <a:ext cx="2262188" cy="2806700"/>
            </a:xfrm>
            <a:custGeom>
              <a:avLst/>
              <a:gdLst>
                <a:gd name="T0" fmla="*/ 1326358 w 6285"/>
                <a:gd name="T1" fmla="*/ 2806340 h 7796"/>
                <a:gd name="T2" fmla="*/ 935470 w 6285"/>
                <a:gd name="T3" fmla="*/ 2806340 h 7796"/>
                <a:gd name="T4" fmla="*/ 935470 w 6285"/>
                <a:gd name="T5" fmla="*/ 570628 h 7796"/>
                <a:gd name="T6" fmla="*/ 750463 w 6285"/>
                <a:gd name="T7" fmla="*/ 370098 h 7796"/>
                <a:gd name="T8" fmla="*/ 390889 w 6285"/>
                <a:gd name="T9" fmla="*/ 508705 h 7796"/>
                <a:gd name="T10" fmla="*/ 390889 w 6285"/>
                <a:gd name="T11" fmla="*/ 2806340 h 7796"/>
                <a:gd name="T12" fmla="*/ 0 w 6285"/>
                <a:gd name="T13" fmla="*/ 2806340 h 7796"/>
                <a:gd name="T14" fmla="*/ 0 w 6285"/>
                <a:gd name="T15" fmla="*/ 30602 h 7796"/>
                <a:gd name="T16" fmla="*/ 390889 w 6285"/>
                <a:gd name="T17" fmla="*/ 30602 h 7796"/>
                <a:gd name="T18" fmla="*/ 390889 w 6285"/>
                <a:gd name="T19" fmla="*/ 210611 h 7796"/>
                <a:gd name="T20" fmla="*/ 868882 w 6285"/>
                <a:gd name="T21" fmla="*/ 0 h 7796"/>
                <a:gd name="T22" fmla="*/ 1274888 w 6285"/>
                <a:gd name="T23" fmla="*/ 226091 h 7796"/>
                <a:gd name="T24" fmla="*/ 1804351 w 6285"/>
                <a:gd name="T25" fmla="*/ 0 h 7796"/>
                <a:gd name="T26" fmla="*/ 2261828 w 6285"/>
                <a:gd name="T27" fmla="*/ 488184 h 7796"/>
                <a:gd name="T28" fmla="*/ 2261828 w 6285"/>
                <a:gd name="T29" fmla="*/ 2806340 h 7796"/>
                <a:gd name="T30" fmla="*/ 1870939 w 6285"/>
                <a:gd name="T31" fmla="*/ 2806340 h 7796"/>
                <a:gd name="T32" fmla="*/ 1870939 w 6285"/>
                <a:gd name="T33" fmla="*/ 570628 h 7796"/>
                <a:gd name="T34" fmla="*/ 1685933 w 6285"/>
                <a:gd name="T35" fmla="*/ 370098 h 7796"/>
                <a:gd name="T36" fmla="*/ 1326358 w 6285"/>
                <a:gd name="T37" fmla="*/ 508705 h 7796"/>
                <a:gd name="T38" fmla="*/ 1326358 w 6285"/>
                <a:gd name="T39" fmla="*/ 2806340 h 779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6285" h="7796">
                  <a:moveTo>
                    <a:pt x="3685" y="7795"/>
                  </a:moveTo>
                  <a:lnTo>
                    <a:pt x="2599" y="7795"/>
                  </a:lnTo>
                  <a:lnTo>
                    <a:pt x="2599" y="1585"/>
                  </a:lnTo>
                  <a:cubicBezTo>
                    <a:pt x="2599" y="1199"/>
                    <a:pt x="2414" y="1028"/>
                    <a:pt x="2085" y="1028"/>
                  </a:cubicBezTo>
                  <a:cubicBezTo>
                    <a:pt x="1785" y="1028"/>
                    <a:pt x="1471" y="1142"/>
                    <a:pt x="1086" y="1413"/>
                  </a:cubicBezTo>
                  <a:lnTo>
                    <a:pt x="1086" y="7795"/>
                  </a:lnTo>
                  <a:lnTo>
                    <a:pt x="0" y="7795"/>
                  </a:lnTo>
                  <a:lnTo>
                    <a:pt x="0" y="85"/>
                  </a:lnTo>
                  <a:lnTo>
                    <a:pt x="1086" y="85"/>
                  </a:lnTo>
                  <a:lnTo>
                    <a:pt x="1086" y="585"/>
                  </a:lnTo>
                  <a:cubicBezTo>
                    <a:pt x="1400" y="285"/>
                    <a:pt x="1814" y="0"/>
                    <a:pt x="2414" y="0"/>
                  </a:cubicBezTo>
                  <a:cubicBezTo>
                    <a:pt x="2971" y="0"/>
                    <a:pt x="3342" y="228"/>
                    <a:pt x="3542" y="628"/>
                  </a:cubicBezTo>
                  <a:cubicBezTo>
                    <a:pt x="3928" y="299"/>
                    <a:pt x="4385" y="0"/>
                    <a:pt x="5013" y="0"/>
                  </a:cubicBezTo>
                  <a:cubicBezTo>
                    <a:pt x="5855" y="0"/>
                    <a:pt x="6284" y="514"/>
                    <a:pt x="6284" y="1356"/>
                  </a:cubicBezTo>
                  <a:lnTo>
                    <a:pt x="6284" y="7795"/>
                  </a:lnTo>
                  <a:lnTo>
                    <a:pt x="5198" y="7795"/>
                  </a:lnTo>
                  <a:lnTo>
                    <a:pt x="5198" y="1585"/>
                  </a:lnTo>
                  <a:cubicBezTo>
                    <a:pt x="5198" y="1199"/>
                    <a:pt x="5013" y="1028"/>
                    <a:pt x="4684" y="1028"/>
                  </a:cubicBezTo>
                  <a:cubicBezTo>
                    <a:pt x="4385" y="1028"/>
                    <a:pt x="4070" y="1142"/>
                    <a:pt x="3685" y="1413"/>
                  </a:cubicBezTo>
                  <a:lnTo>
                    <a:pt x="3685" y="7795"/>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endParaRPr lang="en-US"/>
            </a:p>
          </p:txBody>
        </p:sp>
        <p:sp>
          <p:nvSpPr>
            <p:cNvPr id="31" name="Freeform 5">
              <a:extLst>
                <a:ext uri="{FF2B5EF4-FFF2-40B4-BE49-F238E27FC236}">
                  <a16:creationId xmlns:a16="http://schemas.microsoft.com/office/drawing/2014/main" id="{F61D556A-5F28-F7EE-A0AB-A718BA1FB976}"/>
                </a:ext>
              </a:extLst>
            </p:cNvPr>
            <p:cNvSpPr>
              <a:spLocks noChangeArrowheads="1"/>
            </p:cNvSpPr>
            <p:nvPr/>
          </p:nvSpPr>
          <p:spPr bwMode="auto">
            <a:xfrm>
              <a:off x="14288" y="2322513"/>
              <a:ext cx="1004887" cy="2274887"/>
            </a:xfrm>
            <a:custGeom>
              <a:avLst/>
              <a:gdLst>
                <a:gd name="T0" fmla="*/ 1004527 w 2790"/>
                <a:gd name="T1" fmla="*/ 0 h 6317"/>
                <a:gd name="T2" fmla="*/ 1004527 w 2790"/>
                <a:gd name="T3" fmla="*/ 510652 h 6317"/>
                <a:gd name="T4" fmla="*/ 346488 w 2790"/>
                <a:gd name="T5" fmla="*/ 1137624 h 6317"/>
                <a:gd name="T6" fmla="*/ 1004527 w 2790"/>
                <a:gd name="T7" fmla="*/ 1752711 h 6317"/>
                <a:gd name="T8" fmla="*/ 1004527 w 2790"/>
                <a:gd name="T9" fmla="*/ 2274527 h 6317"/>
                <a:gd name="T10" fmla="*/ 0 w 2790"/>
                <a:gd name="T11" fmla="*/ 1331009 h 6317"/>
                <a:gd name="T12" fmla="*/ 0 w 2790"/>
                <a:gd name="T13" fmla="*/ 955042 h 6317"/>
                <a:gd name="T14" fmla="*/ 1004527 w 2790"/>
                <a:gd name="T15" fmla="*/ 0 h 6317"/>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2790" h="6317">
                  <a:moveTo>
                    <a:pt x="2789" y="0"/>
                  </a:moveTo>
                  <a:lnTo>
                    <a:pt x="2789" y="1418"/>
                  </a:lnTo>
                  <a:lnTo>
                    <a:pt x="962" y="3159"/>
                  </a:lnTo>
                  <a:lnTo>
                    <a:pt x="2789" y="4867"/>
                  </a:lnTo>
                  <a:lnTo>
                    <a:pt x="2789" y="6316"/>
                  </a:lnTo>
                  <a:lnTo>
                    <a:pt x="0" y="3696"/>
                  </a:lnTo>
                  <a:lnTo>
                    <a:pt x="0" y="2652"/>
                  </a:lnTo>
                  <a:lnTo>
                    <a:pt x="2789"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endParaRPr lang="en-US"/>
            </a:p>
          </p:txBody>
        </p:sp>
        <p:sp>
          <p:nvSpPr>
            <p:cNvPr id="32" name="Freeform 6">
              <a:extLst>
                <a:ext uri="{FF2B5EF4-FFF2-40B4-BE49-F238E27FC236}">
                  <a16:creationId xmlns:a16="http://schemas.microsoft.com/office/drawing/2014/main" id="{73E306DA-AAA8-9A07-12FE-21949C4F27E3}"/>
                </a:ext>
              </a:extLst>
            </p:cNvPr>
            <p:cNvSpPr>
              <a:spLocks noChangeArrowheads="1"/>
            </p:cNvSpPr>
            <p:nvPr/>
          </p:nvSpPr>
          <p:spPr bwMode="auto">
            <a:xfrm>
              <a:off x="9050338" y="2322513"/>
              <a:ext cx="1003300" cy="2274887"/>
            </a:xfrm>
            <a:custGeom>
              <a:avLst/>
              <a:gdLst>
                <a:gd name="T0" fmla="*/ 1002940 w 2789"/>
                <a:gd name="T1" fmla="*/ 955042 h 6317"/>
                <a:gd name="T2" fmla="*/ 1002940 w 2789"/>
                <a:gd name="T3" fmla="*/ 1331009 h 6317"/>
                <a:gd name="T4" fmla="*/ 0 w 2789"/>
                <a:gd name="T5" fmla="*/ 2274527 h 6317"/>
                <a:gd name="T6" fmla="*/ 0 w 2789"/>
                <a:gd name="T7" fmla="*/ 1752711 h 6317"/>
                <a:gd name="T8" fmla="*/ 656876 w 2789"/>
                <a:gd name="T9" fmla="*/ 1137624 h 6317"/>
                <a:gd name="T10" fmla="*/ 0 w 2789"/>
                <a:gd name="T11" fmla="*/ 510652 h 6317"/>
                <a:gd name="T12" fmla="*/ 0 w 2789"/>
                <a:gd name="T13" fmla="*/ 0 h 6317"/>
                <a:gd name="T14" fmla="*/ 1002940 w 2789"/>
                <a:gd name="T15" fmla="*/ 955042 h 6317"/>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2789" h="6317">
                  <a:moveTo>
                    <a:pt x="2788" y="2652"/>
                  </a:moveTo>
                  <a:lnTo>
                    <a:pt x="2788" y="3696"/>
                  </a:lnTo>
                  <a:lnTo>
                    <a:pt x="0" y="6316"/>
                  </a:lnTo>
                  <a:lnTo>
                    <a:pt x="0" y="4867"/>
                  </a:lnTo>
                  <a:lnTo>
                    <a:pt x="1826" y="3159"/>
                  </a:lnTo>
                  <a:lnTo>
                    <a:pt x="0" y="1418"/>
                  </a:lnTo>
                  <a:lnTo>
                    <a:pt x="0" y="0"/>
                  </a:lnTo>
                  <a:lnTo>
                    <a:pt x="2788" y="2652"/>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endParaRPr lang="en-US"/>
            </a:p>
          </p:txBody>
        </p:sp>
      </p:grpSp>
      <p:sp>
        <p:nvSpPr>
          <p:cNvPr id="33" name="Footer Placeholder 14">
            <a:extLst>
              <a:ext uri="{FF2B5EF4-FFF2-40B4-BE49-F238E27FC236}">
                <a16:creationId xmlns:a16="http://schemas.microsoft.com/office/drawing/2014/main" id="{6BBA5C16-7B74-0810-FABC-F79D400D35AE}"/>
              </a:ext>
            </a:extLst>
          </p:cNvPr>
          <p:cNvSpPr txBox="1">
            <a:spLocks/>
          </p:cNvSpPr>
          <p:nvPr userDrawn="1"/>
        </p:nvSpPr>
        <p:spPr>
          <a:xfrm>
            <a:off x="1206203" y="6411603"/>
            <a:ext cx="2157779" cy="228599"/>
          </a:xfrm>
          <a:prstGeom prst="rect">
            <a:avLst/>
          </a:prstGeom>
        </p:spPr>
        <p:txBody>
          <a:bodyPr vert="horz" lIns="0" tIns="0" rIns="0" bIns="0" rtlCol="0" anchor="ctr"/>
          <a:lstStyle>
            <a:defPPr>
              <a:defRPr lang="en-US"/>
            </a:defPPr>
            <a:lvl1pPr marL="0" algn="r" defTabSz="914400" rtl="0" eaLnBrk="1" latinLnBrk="0" hangingPunct="1">
              <a:defRPr sz="600" b="0" i="0" kern="1200">
                <a:solidFill>
                  <a:schemeClr val="tx1"/>
                </a:solidFill>
                <a:latin typeface="+mn-lt"/>
                <a:ea typeface="Calibri" panose="020F0502020204030204" pitchFamily="34" charset="0"/>
                <a:cs typeface="Calibri" panose="020F050202020403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b="0" i="0">
                <a:solidFill>
                  <a:schemeClr val="bg1"/>
                </a:solidFill>
                <a:latin typeface="+mn-lt"/>
              </a:rPr>
              <a:t>EPAM Proprietary &amp; Confidential</a:t>
            </a:r>
            <a:r>
              <a:rPr lang="ru-RU" b="0" i="0">
                <a:solidFill>
                  <a:schemeClr val="bg1"/>
                </a:solidFill>
                <a:latin typeface="+mn-lt"/>
              </a:rPr>
              <a:t> </a:t>
            </a:r>
            <a:endParaRPr lang="en-US" b="0" i="0">
              <a:solidFill>
                <a:schemeClr val="bg1"/>
              </a:solidFill>
              <a:latin typeface="+mn-lt"/>
            </a:endParaRPr>
          </a:p>
        </p:txBody>
      </p:sp>
      <p:pic>
        <p:nvPicPr>
          <p:cNvPr id="2" name="Graphic 1">
            <a:extLst>
              <a:ext uri="{FF2B5EF4-FFF2-40B4-BE49-F238E27FC236}">
                <a16:creationId xmlns:a16="http://schemas.microsoft.com/office/drawing/2014/main" id="{84BD6B3E-8147-E3C4-4C79-6A287778DF04}"/>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820266" y="6419060"/>
            <a:ext cx="762921" cy="205636"/>
          </a:xfrm>
          <a:prstGeom prst="rect">
            <a:avLst/>
          </a:prstGeom>
        </p:spPr>
      </p:pic>
    </p:spTree>
    <p:extLst>
      <p:ext uri="{BB962C8B-B14F-4D97-AF65-F5344CB8AC3E}">
        <p14:creationId xmlns:p14="http://schemas.microsoft.com/office/powerpoint/2010/main" val="3840887390"/>
      </p:ext>
    </p:extLst>
  </p:cSld>
  <p:clrMapOvr>
    <a:masterClrMapping/>
  </p:clrMapOvr>
  <p:extLst>
    <p:ext uri="{DCECCB84-F9BA-43D5-87BE-67443E8EF086}">
      <p15:sldGuideLst xmlns:p15="http://schemas.microsoft.com/office/powerpoint/2012/main"/>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hank_you_photo">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79C487BF-0EFB-7D6C-3495-E817AE08A6AD}"/>
              </a:ext>
            </a:extLst>
          </p:cNvPr>
          <p:cNvSpPr>
            <a:spLocks noGrp="1"/>
          </p:cNvSpPr>
          <p:nvPr>
            <p:ph type="pic" sz="quarter" idx="24"/>
          </p:nvPr>
        </p:nvSpPr>
        <p:spPr>
          <a:xfrm>
            <a:off x="6096000" y="0"/>
            <a:ext cx="6096000" cy="6858000"/>
          </a:xfrm>
          <a:prstGeom prst="rect">
            <a:avLst/>
          </a:prstGeom>
        </p:spPr>
        <p:txBody>
          <a:bodyPr/>
          <a:lstStyle/>
          <a:p>
            <a:endParaRPr lang="en-US"/>
          </a:p>
        </p:txBody>
      </p:sp>
      <p:sp>
        <p:nvSpPr>
          <p:cNvPr id="2" name="Title 2">
            <a:extLst>
              <a:ext uri="{FF2B5EF4-FFF2-40B4-BE49-F238E27FC236}">
                <a16:creationId xmlns:a16="http://schemas.microsoft.com/office/drawing/2014/main" id="{C4526B2C-80FA-F150-338B-DB03C5073388}"/>
              </a:ext>
            </a:extLst>
          </p:cNvPr>
          <p:cNvSpPr>
            <a:spLocks noGrp="1"/>
          </p:cNvSpPr>
          <p:nvPr>
            <p:ph type="title" hasCustomPrompt="1"/>
          </p:nvPr>
        </p:nvSpPr>
        <p:spPr>
          <a:xfrm>
            <a:off x="639074" y="1035424"/>
            <a:ext cx="4648200" cy="1107996"/>
          </a:xfrm>
          <a:prstGeom prst="rect">
            <a:avLst/>
          </a:prstGeom>
        </p:spPr>
        <p:txBody>
          <a:bodyPr wrap="square" lIns="0" tIns="0" rIns="0" bIns="0">
            <a:spAutoFit/>
          </a:bodyPr>
          <a:lstStyle>
            <a:lvl1pPr>
              <a:defRPr lang="en-US" sz="7200" b="0" dirty="0">
                <a:solidFill>
                  <a:schemeClr val="tx1"/>
                </a:solidFill>
                <a:latin typeface="Calibri" panose="020F0502020204030204" pitchFamily="34" charset="0"/>
              </a:defRPr>
            </a:lvl1pPr>
          </a:lstStyle>
          <a:p>
            <a:pPr lvl="0"/>
            <a:r>
              <a:rPr lang="en-US"/>
              <a:t>Thank you!</a:t>
            </a:r>
          </a:p>
        </p:txBody>
      </p:sp>
      <p:sp>
        <p:nvSpPr>
          <p:cNvPr id="5" name="Text Placeholder 2">
            <a:extLst>
              <a:ext uri="{FF2B5EF4-FFF2-40B4-BE49-F238E27FC236}">
                <a16:creationId xmlns:a16="http://schemas.microsoft.com/office/drawing/2014/main" id="{7AF9CC8A-BAB0-4529-6083-A3D7F01CE458}"/>
              </a:ext>
            </a:extLst>
          </p:cNvPr>
          <p:cNvSpPr>
            <a:spLocks noGrp="1"/>
          </p:cNvSpPr>
          <p:nvPr>
            <p:ph type="body" sz="quarter" idx="12"/>
          </p:nvPr>
        </p:nvSpPr>
        <p:spPr>
          <a:xfrm>
            <a:off x="639074" y="2540616"/>
            <a:ext cx="3827462" cy="257250"/>
          </a:xfrm>
          <a:prstGeom prst="rect">
            <a:avLst/>
          </a:prstGeom>
        </p:spPr>
        <p:txBody>
          <a:bodyPr/>
          <a:lstStyle>
            <a:lvl1pPr>
              <a:defRPr sz="1600" b="0" i="0">
                <a:latin typeface="Calibri" panose="020F0502020204030204" pitchFamily="34" charset="0"/>
                <a:cs typeface="Calibri" panose="020F0502020204030204" pitchFamily="34" charset="0"/>
              </a:defRPr>
            </a:lvl1pPr>
          </a:lstStyle>
          <a:p>
            <a:r>
              <a:rPr lang="en-US"/>
              <a:t>For more information, contact</a:t>
            </a:r>
          </a:p>
        </p:txBody>
      </p:sp>
      <p:sp>
        <p:nvSpPr>
          <p:cNvPr id="6" name="Text Placeholder 3">
            <a:extLst>
              <a:ext uri="{FF2B5EF4-FFF2-40B4-BE49-F238E27FC236}">
                <a16:creationId xmlns:a16="http://schemas.microsoft.com/office/drawing/2014/main" id="{25054708-622B-37B7-6E33-486A71C9526E}"/>
              </a:ext>
            </a:extLst>
          </p:cNvPr>
          <p:cNvSpPr>
            <a:spLocks noGrp="1"/>
          </p:cNvSpPr>
          <p:nvPr>
            <p:ph type="body" sz="quarter" idx="13"/>
          </p:nvPr>
        </p:nvSpPr>
        <p:spPr>
          <a:xfrm>
            <a:off x="639074" y="3313799"/>
            <a:ext cx="3827462" cy="289438"/>
          </a:xfrm>
          <a:prstGeom prst="rect">
            <a:avLst/>
          </a:prstGeom>
        </p:spPr>
        <p:txBody>
          <a:bodyPr/>
          <a:lstStyle>
            <a:lvl1pPr>
              <a:defRPr sz="1800" b="1" i="0">
                <a:solidFill>
                  <a:schemeClr val="accent6"/>
                </a:solidFill>
                <a:latin typeface="Calibri" panose="020F0502020204030204" pitchFamily="34" charset="0"/>
                <a:cs typeface="Calibri" panose="020F0502020204030204" pitchFamily="34" charset="0"/>
              </a:defRPr>
            </a:lvl1pPr>
          </a:lstStyle>
          <a:p>
            <a:r>
              <a:rPr lang="en-US"/>
              <a:t>Name</a:t>
            </a:r>
          </a:p>
        </p:txBody>
      </p:sp>
      <p:sp>
        <p:nvSpPr>
          <p:cNvPr id="7" name="Text Placeholder 4">
            <a:extLst>
              <a:ext uri="{FF2B5EF4-FFF2-40B4-BE49-F238E27FC236}">
                <a16:creationId xmlns:a16="http://schemas.microsoft.com/office/drawing/2014/main" id="{756D2A3F-CCA1-F399-D035-1BB32FED6345}"/>
              </a:ext>
            </a:extLst>
          </p:cNvPr>
          <p:cNvSpPr>
            <a:spLocks noGrp="1"/>
          </p:cNvSpPr>
          <p:nvPr>
            <p:ph type="body" sz="quarter" idx="14"/>
          </p:nvPr>
        </p:nvSpPr>
        <p:spPr>
          <a:xfrm>
            <a:off x="639074" y="3672220"/>
            <a:ext cx="3827462" cy="225126"/>
          </a:xfrm>
          <a:prstGeom prst="rect">
            <a:avLst/>
          </a:prstGeom>
        </p:spPr>
        <p:txBody>
          <a:bodyPr/>
          <a:lstStyle>
            <a:lvl1pPr>
              <a:defRPr sz="1400" b="0" i="0">
                <a:solidFill>
                  <a:schemeClr val="accent6"/>
                </a:solidFill>
                <a:latin typeface="Calibri Light" panose="020F0302020204030204" pitchFamily="34" charset="0"/>
                <a:cs typeface="Calibri Light" panose="020F0302020204030204" pitchFamily="34" charset="0"/>
              </a:defRPr>
            </a:lvl1pPr>
          </a:lstStyle>
          <a:p>
            <a:r>
              <a:rPr lang="en-US"/>
              <a:t>Position title</a:t>
            </a:r>
          </a:p>
        </p:txBody>
      </p:sp>
      <p:sp>
        <p:nvSpPr>
          <p:cNvPr id="8" name="Text Placeholder 5">
            <a:extLst>
              <a:ext uri="{FF2B5EF4-FFF2-40B4-BE49-F238E27FC236}">
                <a16:creationId xmlns:a16="http://schemas.microsoft.com/office/drawing/2014/main" id="{D50C7B71-5C80-8C3A-B66C-42F7296EB9CC}"/>
              </a:ext>
            </a:extLst>
          </p:cNvPr>
          <p:cNvSpPr>
            <a:spLocks noGrp="1"/>
          </p:cNvSpPr>
          <p:nvPr>
            <p:ph type="body" sz="quarter" idx="15"/>
          </p:nvPr>
        </p:nvSpPr>
        <p:spPr>
          <a:xfrm>
            <a:off x="639074" y="4201305"/>
            <a:ext cx="3827462" cy="225126"/>
          </a:xfrm>
          <a:prstGeom prst="rect">
            <a:avLst/>
          </a:prstGeom>
        </p:spPr>
        <p:txBody>
          <a:bodyPr/>
          <a:lstStyle>
            <a:lvl1pPr>
              <a:defRPr sz="1400" b="0" i="0">
                <a:latin typeface="Calibri Light" panose="020F0302020204030204" pitchFamily="34" charset="0"/>
                <a:cs typeface="Calibri Light" panose="020F0302020204030204" pitchFamily="34" charset="0"/>
              </a:defRPr>
            </a:lvl1pPr>
          </a:lstStyle>
          <a:p>
            <a:r>
              <a:rPr lang="en-US"/>
              <a:t>Insert email</a:t>
            </a:r>
          </a:p>
        </p:txBody>
      </p:sp>
      <p:sp>
        <p:nvSpPr>
          <p:cNvPr id="9" name="Text Placeholder 6">
            <a:extLst>
              <a:ext uri="{FF2B5EF4-FFF2-40B4-BE49-F238E27FC236}">
                <a16:creationId xmlns:a16="http://schemas.microsoft.com/office/drawing/2014/main" id="{0BFDDCB6-69BB-2359-40AB-46BA1DA744F3}"/>
              </a:ext>
            </a:extLst>
          </p:cNvPr>
          <p:cNvSpPr>
            <a:spLocks noGrp="1"/>
          </p:cNvSpPr>
          <p:nvPr>
            <p:ph type="body" sz="quarter" idx="16"/>
          </p:nvPr>
        </p:nvSpPr>
        <p:spPr>
          <a:xfrm>
            <a:off x="639074" y="4488235"/>
            <a:ext cx="3827462" cy="225126"/>
          </a:xfrm>
          <a:prstGeom prst="rect">
            <a:avLst/>
          </a:prstGeom>
        </p:spPr>
        <p:txBody>
          <a:bodyPr/>
          <a:lstStyle>
            <a:lvl1pPr>
              <a:defRPr sz="1400" b="0" i="0">
                <a:latin typeface="Calibri Light" panose="020F0302020204030204" pitchFamily="34" charset="0"/>
                <a:cs typeface="Calibri Light" panose="020F0302020204030204" pitchFamily="34" charset="0"/>
              </a:defRPr>
            </a:lvl1pPr>
          </a:lstStyle>
          <a:p>
            <a:r>
              <a:rPr lang="en-US"/>
              <a:t>+1 000 000 000</a:t>
            </a:r>
          </a:p>
        </p:txBody>
      </p:sp>
      <p:sp>
        <p:nvSpPr>
          <p:cNvPr id="10" name="Text Placeholder 7">
            <a:extLst>
              <a:ext uri="{FF2B5EF4-FFF2-40B4-BE49-F238E27FC236}">
                <a16:creationId xmlns:a16="http://schemas.microsoft.com/office/drawing/2014/main" id="{3D16F9E7-5E17-1B62-F499-C761278885E7}"/>
              </a:ext>
            </a:extLst>
          </p:cNvPr>
          <p:cNvSpPr>
            <a:spLocks noGrp="1"/>
          </p:cNvSpPr>
          <p:nvPr>
            <p:ph type="body" sz="quarter" idx="17"/>
          </p:nvPr>
        </p:nvSpPr>
        <p:spPr>
          <a:xfrm>
            <a:off x="639074" y="4897078"/>
            <a:ext cx="3827462" cy="1173078"/>
          </a:xfrm>
          <a:prstGeom prst="rect">
            <a:avLst/>
          </a:prstGeom>
        </p:spPr>
        <p:txBody>
          <a:bodyPr/>
          <a:lstStyle>
            <a:lvl1pPr>
              <a:defRPr sz="1400" b="0" i="0">
                <a:latin typeface="Calibri Light" panose="020F0302020204030204" pitchFamily="34" charset="0"/>
                <a:cs typeface="Calibri Light" panose="020F0302020204030204" pitchFamily="34" charset="0"/>
              </a:defRPr>
            </a:lvl1pPr>
          </a:lstStyle>
          <a:p>
            <a:r>
              <a:rPr lang="en-US"/>
              <a:t>Address Line 1</a:t>
            </a:r>
          </a:p>
          <a:p>
            <a:r>
              <a:rPr lang="en-US"/>
              <a:t>Address Line 2</a:t>
            </a:r>
          </a:p>
          <a:p>
            <a:r>
              <a:rPr lang="en-US"/>
              <a:t>Zip Code</a:t>
            </a:r>
          </a:p>
          <a:p>
            <a:r>
              <a:rPr lang="en-US"/>
              <a:t>Country</a:t>
            </a:r>
          </a:p>
        </p:txBody>
      </p:sp>
      <p:cxnSp>
        <p:nvCxnSpPr>
          <p:cNvPr id="11" name="Straight Connector 10">
            <a:extLst>
              <a:ext uri="{FF2B5EF4-FFF2-40B4-BE49-F238E27FC236}">
                <a16:creationId xmlns:a16="http://schemas.microsoft.com/office/drawing/2014/main" id="{68FF80AE-E38B-EC18-E1B5-2B5AAE36C2F4}"/>
              </a:ext>
            </a:extLst>
          </p:cNvPr>
          <p:cNvCxnSpPr>
            <a:cxnSpLocks/>
          </p:cNvCxnSpPr>
          <p:nvPr userDrawn="1"/>
        </p:nvCxnSpPr>
        <p:spPr>
          <a:xfrm>
            <a:off x="639074" y="2935941"/>
            <a:ext cx="3534335" cy="0"/>
          </a:xfrm>
          <a:prstGeom prst="line">
            <a:avLst/>
          </a:prstGeom>
          <a:ln w="6350">
            <a:solidFill>
              <a:schemeClr val="bg1">
                <a:alpha val="65123"/>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30091051"/>
      </p:ext>
    </p:extLst>
  </p:cSld>
  <p:clrMapOvr>
    <a:masterClrMapping/>
  </p:clrMapOvr>
  <p:extLst>
    <p:ext uri="{DCECCB84-F9BA-43D5-87BE-67443E8EF086}">
      <p15:sldGuideLst xmlns:p15="http://schemas.microsoft.com/office/powerpoint/2012/main"/>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hank you-Pictur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72D1CE3-09AB-4B8F-B4EA-802DA1F8168A}"/>
              </a:ext>
            </a:extLst>
          </p:cNvPr>
          <p:cNvSpPr/>
          <p:nvPr userDrawn="1"/>
        </p:nvSpPr>
        <p:spPr bwMode="auto">
          <a:xfrm>
            <a:off x="0" y="0"/>
            <a:ext cx="12192000" cy="6858000"/>
          </a:xfrm>
          <a:prstGeom prst="rect">
            <a:avLst/>
          </a:prstGeom>
          <a:solidFill>
            <a:schemeClr val="tx1"/>
          </a:solidFill>
          <a:ln>
            <a:noFill/>
          </a:ln>
          <a:effectLst/>
        </p:spPr>
        <p:txBody>
          <a:bodyPr wrap="none" rtlCol="0" anchor="ctr"/>
          <a:lstStyle/>
          <a:p>
            <a:pPr algn="ctr"/>
            <a:endParaRPr lang="en-US" sz="2400" err="1">
              <a:solidFill>
                <a:schemeClr val="bg1"/>
              </a:solidFill>
              <a:latin typeface="Calibri Light" panose="020F0302020204030204" pitchFamily="34" charset="0"/>
              <a:ea typeface="Human Sans ExtraLight" charset="0"/>
              <a:cs typeface="Human Sans ExtraLight" charset="0"/>
            </a:endParaRPr>
          </a:p>
        </p:txBody>
      </p:sp>
      <p:sp>
        <p:nvSpPr>
          <p:cNvPr id="3" name="Title 2">
            <a:extLst>
              <a:ext uri="{FF2B5EF4-FFF2-40B4-BE49-F238E27FC236}">
                <a16:creationId xmlns:a16="http://schemas.microsoft.com/office/drawing/2014/main" id="{BDF03CD9-50C7-44B7-B928-FC1A6F91398C}"/>
              </a:ext>
            </a:extLst>
          </p:cNvPr>
          <p:cNvSpPr>
            <a:spLocks noGrp="1"/>
          </p:cNvSpPr>
          <p:nvPr>
            <p:ph type="title" hasCustomPrompt="1"/>
          </p:nvPr>
        </p:nvSpPr>
        <p:spPr>
          <a:xfrm>
            <a:off x="457201" y="1181100"/>
            <a:ext cx="4426771" cy="1107996"/>
          </a:xfrm>
          <a:prstGeom prst="rect">
            <a:avLst/>
          </a:prstGeom>
        </p:spPr>
        <p:txBody>
          <a:bodyPr wrap="square">
            <a:spAutoFit/>
          </a:bodyPr>
          <a:lstStyle>
            <a:lvl1pPr>
              <a:defRPr sz="7200">
                <a:solidFill>
                  <a:schemeClr val="bg1"/>
                </a:solidFill>
                <a:latin typeface="Calibri Light" panose="020F0302020204030204" pitchFamily="34" charset="0"/>
                <a:cs typeface="Calibri Light" panose="020F0302020204030204" pitchFamily="34" charset="0"/>
              </a:defRPr>
            </a:lvl1pPr>
          </a:lstStyle>
          <a:p>
            <a:r>
              <a:rPr lang="en-US"/>
              <a:t>Thank you!</a:t>
            </a:r>
          </a:p>
        </p:txBody>
      </p:sp>
      <p:sp>
        <p:nvSpPr>
          <p:cNvPr id="14" name="Picture Placeholder 2">
            <a:extLst>
              <a:ext uri="{FF2B5EF4-FFF2-40B4-BE49-F238E27FC236}">
                <a16:creationId xmlns:a16="http://schemas.microsoft.com/office/drawing/2014/main" id="{D26DCF78-A14C-7743-94BB-7E13C2AD8622}"/>
              </a:ext>
            </a:extLst>
          </p:cNvPr>
          <p:cNvSpPr>
            <a:spLocks noGrp="1"/>
          </p:cNvSpPr>
          <p:nvPr>
            <p:ph type="pic" sz="quarter" idx="16"/>
          </p:nvPr>
        </p:nvSpPr>
        <p:spPr>
          <a:xfrm>
            <a:off x="6095998" y="0"/>
            <a:ext cx="6096001" cy="6858000"/>
          </a:xfrm>
          <a:prstGeom prst="rect">
            <a:avLst/>
          </a:prstGeom>
          <a:solidFill>
            <a:schemeClr val="bg2"/>
          </a:solidFill>
        </p:spPr>
        <p:txBody>
          <a:bodyPr/>
          <a:lstStyle>
            <a:lvl1pPr>
              <a:defRPr/>
            </a:lvl1pPr>
          </a:lstStyle>
          <a:p>
            <a:endParaRPr lang="en-US"/>
          </a:p>
        </p:txBody>
      </p:sp>
      <p:sp>
        <p:nvSpPr>
          <p:cNvPr id="4" name="Text Placeholder 2">
            <a:extLst>
              <a:ext uri="{FF2B5EF4-FFF2-40B4-BE49-F238E27FC236}">
                <a16:creationId xmlns:a16="http://schemas.microsoft.com/office/drawing/2014/main" id="{A54CD715-5029-A04B-C86E-9249D98C21D2}"/>
              </a:ext>
            </a:extLst>
          </p:cNvPr>
          <p:cNvSpPr>
            <a:spLocks noGrp="1"/>
          </p:cNvSpPr>
          <p:nvPr>
            <p:ph type="body" sz="quarter" idx="12"/>
          </p:nvPr>
        </p:nvSpPr>
        <p:spPr>
          <a:xfrm>
            <a:off x="623950" y="2540616"/>
            <a:ext cx="3827462" cy="257250"/>
          </a:xfrm>
          <a:prstGeom prst="rect">
            <a:avLst/>
          </a:prstGeom>
        </p:spPr>
        <p:txBody>
          <a:bodyPr/>
          <a:lstStyle>
            <a:lvl1pPr>
              <a:defRPr sz="1600" b="0" i="0">
                <a:solidFill>
                  <a:schemeClr val="bg1"/>
                </a:solidFill>
                <a:latin typeface="Calibri" panose="020F0502020204030204" pitchFamily="34" charset="0"/>
                <a:cs typeface="Calibri" panose="020F0502020204030204" pitchFamily="34" charset="0"/>
              </a:defRPr>
            </a:lvl1pPr>
          </a:lstStyle>
          <a:p>
            <a:r>
              <a:rPr lang="en-US"/>
              <a:t>For more information, contact</a:t>
            </a:r>
          </a:p>
        </p:txBody>
      </p:sp>
      <p:sp>
        <p:nvSpPr>
          <p:cNvPr id="5" name="Text Placeholder 3">
            <a:extLst>
              <a:ext uri="{FF2B5EF4-FFF2-40B4-BE49-F238E27FC236}">
                <a16:creationId xmlns:a16="http://schemas.microsoft.com/office/drawing/2014/main" id="{BA996D09-CCCD-86F0-CB74-7B35F4B50B35}"/>
              </a:ext>
            </a:extLst>
          </p:cNvPr>
          <p:cNvSpPr>
            <a:spLocks noGrp="1"/>
          </p:cNvSpPr>
          <p:nvPr>
            <p:ph type="body" sz="quarter" idx="13"/>
          </p:nvPr>
        </p:nvSpPr>
        <p:spPr>
          <a:xfrm>
            <a:off x="623950" y="3313799"/>
            <a:ext cx="3827462" cy="289438"/>
          </a:xfrm>
          <a:prstGeom prst="rect">
            <a:avLst/>
          </a:prstGeom>
        </p:spPr>
        <p:txBody>
          <a:bodyPr/>
          <a:lstStyle>
            <a:lvl1pPr>
              <a:defRPr sz="1800" b="1" i="0">
                <a:solidFill>
                  <a:schemeClr val="bg1"/>
                </a:solidFill>
                <a:latin typeface="Calibri" panose="020F0502020204030204" pitchFamily="34" charset="0"/>
                <a:cs typeface="Calibri" panose="020F0502020204030204" pitchFamily="34" charset="0"/>
              </a:defRPr>
            </a:lvl1pPr>
          </a:lstStyle>
          <a:p>
            <a:r>
              <a:rPr lang="en-US"/>
              <a:t>Name</a:t>
            </a:r>
          </a:p>
        </p:txBody>
      </p:sp>
      <p:sp>
        <p:nvSpPr>
          <p:cNvPr id="7" name="Text Placeholder 4">
            <a:extLst>
              <a:ext uri="{FF2B5EF4-FFF2-40B4-BE49-F238E27FC236}">
                <a16:creationId xmlns:a16="http://schemas.microsoft.com/office/drawing/2014/main" id="{AFA00C86-CF48-20A1-6950-AD5A31049E6F}"/>
              </a:ext>
            </a:extLst>
          </p:cNvPr>
          <p:cNvSpPr>
            <a:spLocks noGrp="1"/>
          </p:cNvSpPr>
          <p:nvPr>
            <p:ph type="body" sz="quarter" idx="14"/>
          </p:nvPr>
        </p:nvSpPr>
        <p:spPr>
          <a:xfrm>
            <a:off x="623950" y="3672220"/>
            <a:ext cx="3827462" cy="225126"/>
          </a:xfrm>
          <a:prstGeom prst="rect">
            <a:avLst/>
          </a:prstGeom>
        </p:spPr>
        <p:txBody>
          <a:bodyPr/>
          <a:lstStyle>
            <a:lvl1pPr>
              <a:defRPr sz="1400" b="0" i="0">
                <a:solidFill>
                  <a:schemeClr val="bg1"/>
                </a:solidFill>
                <a:latin typeface="Calibri Light" panose="020F0302020204030204" pitchFamily="34" charset="0"/>
                <a:cs typeface="Calibri Light" panose="020F0302020204030204" pitchFamily="34" charset="0"/>
              </a:defRPr>
            </a:lvl1pPr>
          </a:lstStyle>
          <a:p>
            <a:r>
              <a:rPr lang="en-US"/>
              <a:t>Position title</a:t>
            </a:r>
          </a:p>
        </p:txBody>
      </p:sp>
      <p:sp>
        <p:nvSpPr>
          <p:cNvPr id="8" name="Text Placeholder 5">
            <a:extLst>
              <a:ext uri="{FF2B5EF4-FFF2-40B4-BE49-F238E27FC236}">
                <a16:creationId xmlns:a16="http://schemas.microsoft.com/office/drawing/2014/main" id="{BBB322FB-99C0-42C7-5BDE-D4858AC19E8D}"/>
              </a:ext>
            </a:extLst>
          </p:cNvPr>
          <p:cNvSpPr>
            <a:spLocks noGrp="1"/>
          </p:cNvSpPr>
          <p:nvPr>
            <p:ph type="body" sz="quarter" idx="15"/>
          </p:nvPr>
        </p:nvSpPr>
        <p:spPr>
          <a:xfrm>
            <a:off x="623950" y="4201305"/>
            <a:ext cx="3827462" cy="225126"/>
          </a:xfrm>
          <a:prstGeom prst="rect">
            <a:avLst/>
          </a:prstGeom>
        </p:spPr>
        <p:txBody>
          <a:bodyPr/>
          <a:lstStyle>
            <a:lvl1pPr>
              <a:defRPr sz="1400" b="0" i="0">
                <a:solidFill>
                  <a:schemeClr val="bg1"/>
                </a:solidFill>
                <a:latin typeface="Calibri Light" panose="020F0302020204030204" pitchFamily="34" charset="0"/>
                <a:cs typeface="Calibri Light" panose="020F0302020204030204" pitchFamily="34" charset="0"/>
              </a:defRPr>
            </a:lvl1pPr>
          </a:lstStyle>
          <a:p>
            <a:r>
              <a:rPr lang="en-US"/>
              <a:t>Insert email</a:t>
            </a:r>
          </a:p>
        </p:txBody>
      </p:sp>
      <p:sp>
        <p:nvSpPr>
          <p:cNvPr id="15" name="Text Placeholder 6">
            <a:extLst>
              <a:ext uri="{FF2B5EF4-FFF2-40B4-BE49-F238E27FC236}">
                <a16:creationId xmlns:a16="http://schemas.microsoft.com/office/drawing/2014/main" id="{EC85097F-F8BD-3020-2B4F-3B98A38BBA13}"/>
              </a:ext>
            </a:extLst>
          </p:cNvPr>
          <p:cNvSpPr>
            <a:spLocks noGrp="1"/>
          </p:cNvSpPr>
          <p:nvPr>
            <p:ph type="body" sz="quarter" idx="17"/>
          </p:nvPr>
        </p:nvSpPr>
        <p:spPr>
          <a:xfrm>
            <a:off x="623950" y="4488235"/>
            <a:ext cx="3827462" cy="225126"/>
          </a:xfrm>
          <a:prstGeom prst="rect">
            <a:avLst/>
          </a:prstGeom>
        </p:spPr>
        <p:txBody>
          <a:bodyPr/>
          <a:lstStyle>
            <a:lvl1pPr>
              <a:defRPr sz="1400" b="0" i="0">
                <a:solidFill>
                  <a:schemeClr val="bg1"/>
                </a:solidFill>
                <a:latin typeface="Calibri Light" panose="020F0302020204030204" pitchFamily="34" charset="0"/>
                <a:cs typeface="Calibri Light" panose="020F0302020204030204" pitchFamily="34" charset="0"/>
              </a:defRPr>
            </a:lvl1pPr>
          </a:lstStyle>
          <a:p>
            <a:r>
              <a:rPr lang="en-US"/>
              <a:t>+1 000 000 000</a:t>
            </a:r>
          </a:p>
        </p:txBody>
      </p:sp>
      <p:sp>
        <p:nvSpPr>
          <p:cNvPr id="16" name="Text Placeholder 7">
            <a:extLst>
              <a:ext uri="{FF2B5EF4-FFF2-40B4-BE49-F238E27FC236}">
                <a16:creationId xmlns:a16="http://schemas.microsoft.com/office/drawing/2014/main" id="{F9DDE0F1-1E2D-03F1-BD26-670ECCC71F31}"/>
              </a:ext>
            </a:extLst>
          </p:cNvPr>
          <p:cNvSpPr>
            <a:spLocks noGrp="1"/>
          </p:cNvSpPr>
          <p:nvPr>
            <p:ph type="body" sz="quarter" idx="18"/>
          </p:nvPr>
        </p:nvSpPr>
        <p:spPr>
          <a:xfrm>
            <a:off x="623950" y="4897078"/>
            <a:ext cx="3827462" cy="1173078"/>
          </a:xfrm>
          <a:prstGeom prst="rect">
            <a:avLst/>
          </a:prstGeom>
        </p:spPr>
        <p:txBody>
          <a:bodyPr/>
          <a:lstStyle>
            <a:lvl1pPr>
              <a:defRPr sz="1400" b="0" i="0">
                <a:solidFill>
                  <a:schemeClr val="bg1"/>
                </a:solidFill>
                <a:latin typeface="Calibri Light" panose="020F0302020204030204" pitchFamily="34" charset="0"/>
                <a:cs typeface="Calibri Light" panose="020F0302020204030204" pitchFamily="34" charset="0"/>
              </a:defRPr>
            </a:lvl1pPr>
          </a:lstStyle>
          <a:p>
            <a:r>
              <a:rPr lang="en-US"/>
              <a:t>Address Line 1</a:t>
            </a:r>
          </a:p>
          <a:p>
            <a:r>
              <a:rPr lang="en-US"/>
              <a:t>Address Line 2</a:t>
            </a:r>
          </a:p>
          <a:p>
            <a:r>
              <a:rPr lang="en-US"/>
              <a:t>Zip Code</a:t>
            </a:r>
          </a:p>
          <a:p>
            <a:r>
              <a:rPr lang="en-US"/>
              <a:t>Country</a:t>
            </a:r>
          </a:p>
        </p:txBody>
      </p:sp>
      <p:cxnSp>
        <p:nvCxnSpPr>
          <p:cNvPr id="17" name="Straight Connector 16">
            <a:extLst>
              <a:ext uri="{FF2B5EF4-FFF2-40B4-BE49-F238E27FC236}">
                <a16:creationId xmlns:a16="http://schemas.microsoft.com/office/drawing/2014/main" id="{AAE04AB7-6A3B-5E51-ABEB-5C3D6423F45E}"/>
              </a:ext>
            </a:extLst>
          </p:cNvPr>
          <p:cNvCxnSpPr>
            <a:cxnSpLocks/>
          </p:cNvCxnSpPr>
          <p:nvPr userDrawn="1"/>
        </p:nvCxnSpPr>
        <p:spPr>
          <a:xfrm>
            <a:off x="623950" y="2935941"/>
            <a:ext cx="3534335" cy="0"/>
          </a:xfrm>
          <a:prstGeom prst="line">
            <a:avLst/>
          </a:prstGeom>
          <a:ln w="6350">
            <a:solidFill>
              <a:schemeClr val="bg1">
                <a:alpha val="65123"/>
              </a:schemeClr>
            </a:solidFill>
          </a:ln>
        </p:spPr>
        <p:style>
          <a:lnRef idx="1">
            <a:schemeClr val="accent1"/>
          </a:lnRef>
          <a:fillRef idx="0">
            <a:schemeClr val="accent1"/>
          </a:fillRef>
          <a:effectRef idx="0">
            <a:schemeClr val="accent1"/>
          </a:effectRef>
          <a:fontRef idx="minor">
            <a:schemeClr val="tx1"/>
          </a:fontRef>
        </p:style>
      </p:cxnSp>
      <p:grpSp>
        <p:nvGrpSpPr>
          <p:cNvPr id="18" name="Group 17">
            <a:extLst>
              <a:ext uri="{FF2B5EF4-FFF2-40B4-BE49-F238E27FC236}">
                <a16:creationId xmlns:a16="http://schemas.microsoft.com/office/drawing/2014/main" id="{0B2B0E62-5E6B-139F-4A81-DE5B8F0A8CB9}"/>
              </a:ext>
            </a:extLst>
          </p:cNvPr>
          <p:cNvGrpSpPr/>
          <p:nvPr userDrawn="1"/>
        </p:nvGrpSpPr>
        <p:grpSpPr>
          <a:xfrm>
            <a:off x="610888" y="6472556"/>
            <a:ext cx="372834" cy="131175"/>
            <a:chOff x="14288" y="2035175"/>
            <a:chExt cx="10039350" cy="3532188"/>
          </a:xfrm>
          <a:solidFill>
            <a:schemeClr val="bg1"/>
          </a:solidFill>
        </p:grpSpPr>
        <p:sp>
          <p:nvSpPr>
            <p:cNvPr id="19" name="Freeform 1">
              <a:extLst>
                <a:ext uri="{FF2B5EF4-FFF2-40B4-BE49-F238E27FC236}">
                  <a16:creationId xmlns:a16="http://schemas.microsoft.com/office/drawing/2014/main" id="{9FD9498E-D12D-79A7-38FD-B9C6539E023E}"/>
                </a:ext>
              </a:extLst>
            </p:cNvPr>
            <p:cNvSpPr>
              <a:spLocks noChangeArrowheads="1"/>
            </p:cNvSpPr>
            <p:nvPr/>
          </p:nvSpPr>
          <p:spPr bwMode="auto">
            <a:xfrm>
              <a:off x="1519238" y="2035175"/>
              <a:ext cx="1336675" cy="2836863"/>
            </a:xfrm>
            <a:custGeom>
              <a:avLst/>
              <a:gdLst>
                <a:gd name="T0" fmla="*/ 390493 w 3714"/>
                <a:gd name="T1" fmla="*/ 1200682 h 7882"/>
                <a:gd name="T2" fmla="*/ 945462 w 3714"/>
                <a:gd name="T3" fmla="*/ 1200682 h 7882"/>
                <a:gd name="T4" fmla="*/ 945462 w 3714"/>
                <a:gd name="T5" fmla="*/ 611498 h 7882"/>
                <a:gd name="T6" fmla="*/ 698929 w 3714"/>
                <a:gd name="T7" fmla="*/ 364596 h 7882"/>
                <a:gd name="T8" fmla="*/ 637386 w 3714"/>
                <a:gd name="T9" fmla="*/ 364596 h 7882"/>
                <a:gd name="T10" fmla="*/ 390493 w 3714"/>
                <a:gd name="T11" fmla="*/ 611498 h 7882"/>
                <a:gd name="T12" fmla="*/ 390493 w 3714"/>
                <a:gd name="T13" fmla="*/ 1200682 h 7882"/>
                <a:gd name="T14" fmla="*/ 389414 w 3714"/>
                <a:gd name="T15" fmla="*/ 1576795 h 7882"/>
                <a:gd name="T16" fmla="*/ 390493 w 3714"/>
                <a:gd name="T17" fmla="*/ 2224645 h 7882"/>
                <a:gd name="T18" fmla="*/ 637386 w 3714"/>
                <a:gd name="T19" fmla="*/ 2471548 h 7882"/>
                <a:gd name="T20" fmla="*/ 709366 w 3714"/>
                <a:gd name="T21" fmla="*/ 2471548 h 7882"/>
                <a:gd name="T22" fmla="*/ 955899 w 3714"/>
                <a:gd name="T23" fmla="*/ 2224645 h 7882"/>
                <a:gd name="T24" fmla="*/ 955899 w 3714"/>
                <a:gd name="T25" fmla="*/ 1906119 h 7882"/>
                <a:gd name="T26" fmla="*/ 1336315 w 3714"/>
                <a:gd name="T27" fmla="*/ 1906119 h 7882"/>
                <a:gd name="T28" fmla="*/ 1336315 w 3714"/>
                <a:gd name="T29" fmla="*/ 2209528 h 7882"/>
                <a:gd name="T30" fmla="*/ 709366 w 3714"/>
                <a:gd name="T31" fmla="*/ 2836503 h 7882"/>
                <a:gd name="T32" fmla="*/ 626949 w 3714"/>
                <a:gd name="T33" fmla="*/ 2836503 h 7882"/>
                <a:gd name="T34" fmla="*/ 0 w 3714"/>
                <a:gd name="T35" fmla="*/ 2258117 h 7882"/>
                <a:gd name="T36" fmla="*/ 0 w 3714"/>
                <a:gd name="T37" fmla="*/ 675564 h 7882"/>
                <a:gd name="T38" fmla="*/ 626949 w 3714"/>
                <a:gd name="T39" fmla="*/ 0 h 7882"/>
                <a:gd name="T40" fmla="*/ 709366 w 3714"/>
                <a:gd name="T41" fmla="*/ 0 h 7882"/>
                <a:gd name="T42" fmla="*/ 1336315 w 3714"/>
                <a:gd name="T43" fmla="*/ 626975 h 7882"/>
                <a:gd name="T44" fmla="*/ 1334875 w 3714"/>
                <a:gd name="T45" fmla="*/ 1576795 h 7882"/>
                <a:gd name="T46" fmla="*/ 389414 w 3714"/>
                <a:gd name="T47" fmla="*/ 1576795 h 7882"/>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3714" h="7882">
                  <a:moveTo>
                    <a:pt x="1085" y="3336"/>
                  </a:moveTo>
                  <a:lnTo>
                    <a:pt x="2627" y="3336"/>
                  </a:lnTo>
                  <a:lnTo>
                    <a:pt x="2627" y="1699"/>
                  </a:lnTo>
                  <a:cubicBezTo>
                    <a:pt x="2627" y="1242"/>
                    <a:pt x="2399" y="1013"/>
                    <a:pt x="1942" y="1013"/>
                  </a:cubicBezTo>
                  <a:lnTo>
                    <a:pt x="1771" y="1013"/>
                  </a:lnTo>
                  <a:cubicBezTo>
                    <a:pt x="1314" y="1013"/>
                    <a:pt x="1085" y="1242"/>
                    <a:pt x="1085" y="1699"/>
                  </a:cubicBezTo>
                  <a:lnTo>
                    <a:pt x="1085" y="3336"/>
                  </a:lnTo>
                  <a:close/>
                  <a:moveTo>
                    <a:pt x="1082" y="4381"/>
                  </a:moveTo>
                  <a:lnTo>
                    <a:pt x="1085" y="6181"/>
                  </a:lnTo>
                  <a:cubicBezTo>
                    <a:pt x="1085" y="6638"/>
                    <a:pt x="1314" y="6867"/>
                    <a:pt x="1771" y="6867"/>
                  </a:cubicBezTo>
                  <a:lnTo>
                    <a:pt x="1971" y="6867"/>
                  </a:lnTo>
                  <a:cubicBezTo>
                    <a:pt x="2428" y="6867"/>
                    <a:pt x="2656" y="6638"/>
                    <a:pt x="2656" y="6181"/>
                  </a:cubicBezTo>
                  <a:lnTo>
                    <a:pt x="2656" y="5296"/>
                  </a:lnTo>
                  <a:lnTo>
                    <a:pt x="3713" y="5296"/>
                  </a:lnTo>
                  <a:lnTo>
                    <a:pt x="3713" y="6139"/>
                  </a:lnTo>
                  <a:cubicBezTo>
                    <a:pt x="3713" y="7295"/>
                    <a:pt x="3127" y="7881"/>
                    <a:pt x="1971" y="7881"/>
                  </a:cubicBezTo>
                  <a:lnTo>
                    <a:pt x="1742" y="7881"/>
                  </a:lnTo>
                  <a:cubicBezTo>
                    <a:pt x="585" y="7881"/>
                    <a:pt x="0" y="7295"/>
                    <a:pt x="0" y="6274"/>
                  </a:cubicBezTo>
                  <a:lnTo>
                    <a:pt x="0" y="1877"/>
                  </a:lnTo>
                  <a:cubicBezTo>
                    <a:pt x="0" y="585"/>
                    <a:pt x="585" y="0"/>
                    <a:pt x="1742" y="0"/>
                  </a:cubicBezTo>
                  <a:lnTo>
                    <a:pt x="1971" y="0"/>
                  </a:lnTo>
                  <a:cubicBezTo>
                    <a:pt x="3127" y="0"/>
                    <a:pt x="3713" y="585"/>
                    <a:pt x="3713" y="1742"/>
                  </a:cubicBezTo>
                  <a:lnTo>
                    <a:pt x="3709" y="4381"/>
                  </a:lnTo>
                  <a:lnTo>
                    <a:pt x="1082" y="4381"/>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endParaRPr lang="en-US"/>
            </a:p>
          </p:txBody>
        </p:sp>
        <p:sp>
          <p:nvSpPr>
            <p:cNvPr id="20" name="Freeform 2">
              <a:extLst>
                <a:ext uri="{FF2B5EF4-FFF2-40B4-BE49-F238E27FC236}">
                  <a16:creationId xmlns:a16="http://schemas.microsoft.com/office/drawing/2014/main" id="{720530C4-965B-3B47-A65E-92A9DC151035}"/>
                </a:ext>
              </a:extLst>
            </p:cNvPr>
            <p:cNvSpPr>
              <a:spLocks noChangeArrowheads="1"/>
            </p:cNvSpPr>
            <p:nvPr/>
          </p:nvSpPr>
          <p:spPr bwMode="auto">
            <a:xfrm>
              <a:off x="3109913" y="2035175"/>
              <a:ext cx="1368425" cy="3532188"/>
            </a:xfrm>
            <a:custGeom>
              <a:avLst/>
              <a:gdLst>
                <a:gd name="T0" fmla="*/ 390721 w 3800"/>
                <a:gd name="T1" fmla="*/ 2322993 h 9812"/>
                <a:gd name="T2" fmla="*/ 750833 w 3800"/>
                <a:gd name="T3" fmla="*/ 2466628 h 9812"/>
                <a:gd name="T4" fmla="*/ 976983 w 3800"/>
                <a:gd name="T5" fmla="*/ 2240556 h 9812"/>
                <a:gd name="T6" fmla="*/ 976983 w 3800"/>
                <a:gd name="T7" fmla="*/ 596138 h 9812"/>
                <a:gd name="T8" fmla="*/ 750833 w 3800"/>
                <a:gd name="T9" fmla="*/ 370066 h 9812"/>
                <a:gd name="T10" fmla="*/ 390721 w 3800"/>
                <a:gd name="T11" fmla="*/ 514061 h 9812"/>
                <a:gd name="T12" fmla="*/ 390721 w 3800"/>
                <a:gd name="T13" fmla="*/ 2322993 h 9812"/>
                <a:gd name="T14" fmla="*/ 0 w 3800"/>
                <a:gd name="T15" fmla="*/ 30599 h 9812"/>
                <a:gd name="T16" fmla="*/ 390721 w 3800"/>
                <a:gd name="T17" fmla="*/ 30599 h 9812"/>
                <a:gd name="T18" fmla="*/ 390721 w 3800"/>
                <a:gd name="T19" fmla="*/ 210592 h 9812"/>
                <a:gd name="T20" fmla="*/ 868950 w 3800"/>
                <a:gd name="T21" fmla="*/ 0 h 9812"/>
                <a:gd name="T22" fmla="*/ 1368065 w 3800"/>
                <a:gd name="T23" fmla="*/ 549699 h 9812"/>
                <a:gd name="T24" fmla="*/ 1368065 w 3800"/>
                <a:gd name="T25" fmla="*/ 2286995 h 9812"/>
                <a:gd name="T26" fmla="*/ 868950 w 3800"/>
                <a:gd name="T27" fmla="*/ 2837054 h 9812"/>
                <a:gd name="T28" fmla="*/ 390721 w 3800"/>
                <a:gd name="T29" fmla="*/ 2636541 h 9812"/>
                <a:gd name="T30" fmla="*/ 390721 w 3800"/>
                <a:gd name="T31" fmla="*/ 3531828 h 9812"/>
                <a:gd name="T32" fmla="*/ 0 w 3800"/>
                <a:gd name="T33" fmla="*/ 3531828 h 9812"/>
                <a:gd name="T34" fmla="*/ 0 w 3800"/>
                <a:gd name="T35" fmla="*/ 30599 h 9812"/>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3800" h="9812">
                  <a:moveTo>
                    <a:pt x="1085" y="6453"/>
                  </a:moveTo>
                  <a:cubicBezTo>
                    <a:pt x="1385" y="6710"/>
                    <a:pt x="1728" y="6852"/>
                    <a:pt x="2085" y="6852"/>
                  </a:cubicBezTo>
                  <a:cubicBezTo>
                    <a:pt x="2485" y="6852"/>
                    <a:pt x="2713" y="6667"/>
                    <a:pt x="2713" y="6224"/>
                  </a:cubicBezTo>
                  <a:lnTo>
                    <a:pt x="2713" y="1656"/>
                  </a:lnTo>
                  <a:cubicBezTo>
                    <a:pt x="2713" y="1213"/>
                    <a:pt x="2485" y="1028"/>
                    <a:pt x="2085" y="1028"/>
                  </a:cubicBezTo>
                  <a:cubicBezTo>
                    <a:pt x="1728" y="1028"/>
                    <a:pt x="1385" y="1170"/>
                    <a:pt x="1085" y="1428"/>
                  </a:cubicBezTo>
                  <a:lnTo>
                    <a:pt x="1085" y="6453"/>
                  </a:lnTo>
                  <a:close/>
                  <a:moveTo>
                    <a:pt x="0" y="85"/>
                  </a:moveTo>
                  <a:lnTo>
                    <a:pt x="1085" y="85"/>
                  </a:lnTo>
                  <a:lnTo>
                    <a:pt x="1085" y="585"/>
                  </a:lnTo>
                  <a:cubicBezTo>
                    <a:pt x="1342" y="314"/>
                    <a:pt x="1785" y="0"/>
                    <a:pt x="2413" y="0"/>
                  </a:cubicBezTo>
                  <a:cubicBezTo>
                    <a:pt x="3342" y="0"/>
                    <a:pt x="3799" y="614"/>
                    <a:pt x="3799" y="1527"/>
                  </a:cubicBezTo>
                  <a:lnTo>
                    <a:pt x="3799" y="6353"/>
                  </a:lnTo>
                  <a:cubicBezTo>
                    <a:pt x="3799" y="7267"/>
                    <a:pt x="3342" y="7881"/>
                    <a:pt x="2413" y="7881"/>
                  </a:cubicBezTo>
                  <a:cubicBezTo>
                    <a:pt x="1785" y="7881"/>
                    <a:pt x="1342" y="7581"/>
                    <a:pt x="1085" y="7324"/>
                  </a:cubicBezTo>
                  <a:lnTo>
                    <a:pt x="1085" y="9811"/>
                  </a:lnTo>
                  <a:lnTo>
                    <a:pt x="0" y="9811"/>
                  </a:lnTo>
                  <a:lnTo>
                    <a:pt x="0" y="85"/>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endParaRPr lang="en-US"/>
            </a:p>
          </p:txBody>
        </p:sp>
        <p:sp>
          <p:nvSpPr>
            <p:cNvPr id="21" name="Freeform 3">
              <a:extLst>
                <a:ext uri="{FF2B5EF4-FFF2-40B4-BE49-F238E27FC236}">
                  <a16:creationId xmlns:a16="http://schemas.microsoft.com/office/drawing/2014/main" id="{A855532B-5C67-13FF-D0D5-D106BE34A8EB}"/>
                </a:ext>
              </a:extLst>
            </p:cNvPr>
            <p:cNvSpPr>
              <a:spLocks noChangeArrowheads="1"/>
            </p:cNvSpPr>
            <p:nvPr/>
          </p:nvSpPr>
          <p:spPr bwMode="auto">
            <a:xfrm>
              <a:off x="4711700" y="2035175"/>
              <a:ext cx="1328738" cy="2836863"/>
            </a:xfrm>
            <a:custGeom>
              <a:avLst/>
              <a:gdLst>
                <a:gd name="T0" fmla="*/ 937679 w 3690"/>
                <a:gd name="T1" fmla="*/ 2338019 h 7882"/>
                <a:gd name="T2" fmla="*/ 937679 w 3690"/>
                <a:gd name="T3" fmla="*/ 1422750 h 7882"/>
                <a:gd name="T4" fmla="*/ 582988 w 3690"/>
                <a:gd name="T5" fmla="*/ 1556999 h 7882"/>
                <a:gd name="T6" fmla="*/ 392500 w 3690"/>
                <a:gd name="T7" fmla="*/ 1844573 h 7882"/>
                <a:gd name="T8" fmla="*/ 392500 w 3690"/>
                <a:gd name="T9" fmla="*/ 2266035 h 7882"/>
                <a:gd name="T10" fmla="*/ 582988 w 3690"/>
                <a:gd name="T11" fmla="*/ 2466149 h 7882"/>
                <a:gd name="T12" fmla="*/ 937679 w 3690"/>
                <a:gd name="T13" fmla="*/ 2338019 h 7882"/>
                <a:gd name="T14" fmla="*/ 2161 w 3690"/>
                <a:gd name="T15" fmla="*/ 1839174 h 7882"/>
                <a:gd name="T16" fmla="*/ 413025 w 3690"/>
                <a:gd name="T17" fmla="*/ 1253950 h 7882"/>
                <a:gd name="T18" fmla="*/ 937679 w 3690"/>
                <a:gd name="T19" fmla="*/ 1073991 h 7882"/>
                <a:gd name="T20" fmla="*/ 937679 w 3690"/>
                <a:gd name="T21" fmla="*/ 611498 h 7882"/>
                <a:gd name="T22" fmla="*/ 690656 w 3690"/>
                <a:gd name="T23" fmla="*/ 359557 h 7882"/>
                <a:gd name="T24" fmla="*/ 627280 w 3690"/>
                <a:gd name="T25" fmla="*/ 359557 h 7882"/>
                <a:gd name="T26" fmla="*/ 380257 w 3690"/>
                <a:gd name="T27" fmla="*/ 611498 h 7882"/>
                <a:gd name="T28" fmla="*/ 380257 w 3690"/>
                <a:gd name="T29" fmla="*/ 1004527 h 7882"/>
                <a:gd name="T30" fmla="*/ 0 w 3690"/>
                <a:gd name="T31" fmla="*/ 1004527 h 7882"/>
                <a:gd name="T32" fmla="*/ 0 w 3690"/>
                <a:gd name="T33" fmla="*/ 626975 h 7882"/>
                <a:gd name="T34" fmla="*/ 627280 w 3690"/>
                <a:gd name="T35" fmla="*/ 0 h 7882"/>
                <a:gd name="T36" fmla="*/ 701098 w 3690"/>
                <a:gd name="T37" fmla="*/ 0 h 7882"/>
                <a:gd name="T38" fmla="*/ 1328378 w 3690"/>
                <a:gd name="T39" fmla="*/ 626975 h 7882"/>
                <a:gd name="T40" fmla="*/ 1328378 w 3690"/>
                <a:gd name="T41" fmla="*/ 2805550 h 7882"/>
                <a:gd name="T42" fmla="*/ 937679 w 3690"/>
                <a:gd name="T43" fmla="*/ 2805550 h 7882"/>
                <a:gd name="T44" fmla="*/ 937679 w 3690"/>
                <a:gd name="T45" fmla="*/ 2630631 h 7882"/>
                <a:gd name="T46" fmla="*/ 459477 w 3690"/>
                <a:gd name="T47" fmla="*/ 2836503 h 7882"/>
                <a:gd name="T48" fmla="*/ 2161 w 3690"/>
                <a:gd name="T49" fmla="*/ 2348096 h 7882"/>
                <a:gd name="T50" fmla="*/ 2161 w 3690"/>
                <a:gd name="T51" fmla="*/ 1839174 h 7882"/>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3690" h="7882">
                  <a:moveTo>
                    <a:pt x="2604" y="6496"/>
                  </a:moveTo>
                  <a:lnTo>
                    <a:pt x="2604" y="3953"/>
                  </a:lnTo>
                  <a:lnTo>
                    <a:pt x="1619" y="4326"/>
                  </a:lnTo>
                  <a:cubicBezTo>
                    <a:pt x="1219" y="4483"/>
                    <a:pt x="1090" y="4683"/>
                    <a:pt x="1090" y="5125"/>
                  </a:cubicBezTo>
                  <a:lnTo>
                    <a:pt x="1090" y="6296"/>
                  </a:lnTo>
                  <a:cubicBezTo>
                    <a:pt x="1090" y="6667"/>
                    <a:pt x="1276" y="6852"/>
                    <a:pt x="1619" y="6852"/>
                  </a:cubicBezTo>
                  <a:cubicBezTo>
                    <a:pt x="1947" y="6852"/>
                    <a:pt x="2247" y="6738"/>
                    <a:pt x="2604" y="6496"/>
                  </a:cubicBezTo>
                  <a:close/>
                  <a:moveTo>
                    <a:pt x="6" y="5110"/>
                  </a:moveTo>
                  <a:cubicBezTo>
                    <a:pt x="6" y="4155"/>
                    <a:pt x="320" y="3769"/>
                    <a:pt x="1147" y="3484"/>
                  </a:cubicBezTo>
                  <a:lnTo>
                    <a:pt x="2604" y="2984"/>
                  </a:lnTo>
                  <a:lnTo>
                    <a:pt x="2604" y="1699"/>
                  </a:lnTo>
                  <a:cubicBezTo>
                    <a:pt x="2604" y="1242"/>
                    <a:pt x="2375" y="999"/>
                    <a:pt x="1918" y="999"/>
                  </a:cubicBezTo>
                  <a:lnTo>
                    <a:pt x="1742" y="999"/>
                  </a:lnTo>
                  <a:cubicBezTo>
                    <a:pt x="1285" y="999"/>
                    <a:pt x="1056" y="1242"/>
                    <a:pt x="1056" y="1699"/>
                  </a:cubicBezTo>
                  <a:lnTo>
                    <a:pt x="1056" y="2791"/>
                  </a:lnTo>
                  <a:lnTo>
                    <a:pt x="0" y="2791"/>
                  </a:lnTo>
                  <a:lnTo>
                    <a:pt x="0" y="1742"/>
                  </a:lnTo>
                  <a:cubicBezTo>
                    <a:pt x="0" y="585"/>
                    <a:pt x="586" y="0"/>
                    <a:pt x="1742" y="0"/>
                  </a:cubicBezTo>
                  <a:lnTo>
                    <a:pt x="1947" y="0"/>
                  </a:lnTo>
                  <a:cubicBezTo>
                    <a:pt x="3104" y="0"/>
                    <a:pt x="3689" y="585"/>
                    <a:pt x="3689" y="1742"/>
                  </a:cubicBezTo>
                  <a:lnTo>
                    <a:pt x="3689" y="7795"/>
                  </a:lnTo>
                  <a:lnTo>
                    <a:pt x="2604" y="7795"/>
                  </a:lnTo>
                  <a:lnTo>
                    <a:pt x="2604" y="7309"/>
                  </a:lnTo>
                  <a:cubicBezTo>
                    <a:pt x="2304" y="7595"/>
                    <a:pt x="1904" y="7881"/>
                    <a:pt x="1276" y="7881"/>
                  </a:cubicBezTo>
                  <a:cubicBezTo>
                    <a:pt x="406" y="7881"/>
                    <a:pt x="6" y="7381"/>
                    <a:pt x="6" y="6524"/>
                  </a:cubicBezTo>
                  <a:lnTo>
                    <a:pt x="6" y="5110"/>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endParaRPr lang="en-US"/>
            </a:p>
          </p:txBody>
        </p:sp>
        <p:sp>
          <p:nvSpPr>
            <p:cNvPr id="22" name="Freeform 4">
              <a:extLst>
                <a:ext uri="{FF2B5EF4-FFF2-40B4-BE49-F238E27FC236}">
                  <a16:creationId xmlns:a16="http://schemas.microsoft.com/office/drawing/2014/main" id="{2477DD35-D316-1D31-AC8F-307416BA363A}"/>
                </a:ext>
              </a:extLst>
            </p:cNvPr>
            <p:cNvSpPr>
              <a:spLocks noChangeArrowheads="1"/>
            </p:cNvSpPr>
            <p:nvPr/>
          </p:nvSpPr>
          <p:spPr bwMode="auto">
            <a:xfrm>
              <a:off x="6292850" y="2035175"/>
              <a:ext cx="2262188" cy="2806700"/>
            </a:xfrm>
            <a:custGeom>
              <a:avLst/>
              <a:gdLst>
                <a:gd name="T0" fmla="*/ 1326358 w 6285"/>
                <a:gd name="T1" fmla="*/ 2806340 h 7796"/>
                <a:gd name="T2" fmla="*/ 935470 w 6285"/>
                <a:gd name="T3" fmla="*/ 2806340 h 7796"/>
                <a:gd name="T4" fmla="*/ 935470 w 6285"/>
                <a:gd name="T5" fmla="*/ 570628 h 7796"/>
                <a:gd name="T6" fmla="*/ 750463 w 6285"/>
                <a:gd name="T7" fmla="*/ 370098 h 7796"/>
                <a:gd name="T8" fmla="*/ 390889 w 6285"/>
                <a:gd name="T9" fmla="*/ 508705 h 7796"/>
                <a:gd name="T10" fmla="*/ 390889 w 6285"/>
                <a:gd name="T11" fmla="*/ 2806340 h 7796"/>
                <a:gd name="T12" fmla="*/ 0 w 6285"/>
                <a:gd name="T13" fmla="*/ 2806340 h 7796"/>
                <a:gd name="T14" fmla="*/ 0 w 6285"/>
                <a:gd name="T15" fmla="*/ 30602 h 7796"/>
                <a:gd name="T16" fmla="*/ 390889 w 6285"/>
                <a:gd name="T17" fmla="*/ 30602 h 7796"/>
                <a:gd name="T18" fmla="*/ 390889 w 6285"/>
                <a:gd name="T19" fmla="*/ 210611 h 7796"/>
                <a:gd name="T20" fmla="*/ 868882 w 6285"/>
                <a:gd name="T21" fmla="*/ 0 h 7796"/>
                <a:gd name="T22" fmla="*/ 1274888 w 6285"/>
                <a:gd name="T23" fmla="*/ 226091 h 7796"/>
                <a:gd name="T24" fmla="*/ 1804351 w 6285"/>
                <a:gd name="T25" fmla="*/ 0 h 7796"/>
                <a:gd name="T26" fmla="*/ 2261828 w 6285"/>
                <a:gd name="T27" fmla="*/ 488184 h 7796"/>
                <a:gd name="T28" fmla="*/ 2261828 w 6285"/>
                <a:gd name="T29" fmla="*/ 2806340 h 7796"/>
                <a:gd name="T30" fmla="*/ 1870939 w 6285"/>
                <a:gd name="T31" fmla="*/ 2806340 h 7796"/>
                <a:gd name="T32" fmla="*/ 1870939 w 6285"/>
                <a:gd name="T33" fmla="*/ 570628 h 7796"/>
                <a:gd name="T34" fmla="*/ 1685933 w 6285"/>
                <a:gd name="T35" fmla="*/ 370098 h 7796"/>
                <a:gd name="T36" fmla="*/ 1326358 w 6285"/>
                <a:gd name="T37" fmla="*/ 508705 h 7796"/>
                <a:gd name="T38" fmla="*/ 1326358 w 6285"/>
                <a:gd name="T39" fmla="*/ 2806340 h 779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6285" h="7796">
                  <a:moveTo>
                    <a:pt x="3685" y="7795"/>
                  </a:moveTo>
                  <a:lnTo>
                    <a:pt x="2599" y="7795"/>
                  </a:lnTo>
                  <a:lnTo>
                    <a:pt x="2599" y="1585"/>
                  </a:lnTo>
                  <a:cubicBezTo>
                    <a:pt x="2599" y="1199"/>
                    <a:pt x="2414" y="1028"/>
                    <a:pt x="2085" y="1028"/>
                  </a:cubicBezTo>
                  <a:cubicBezTo>
                    <a:pt x="1785" y="1028"/>
                    <a:pt x="1471" y="1142"/>
                    <a:pt x="1086" y="1413"/>
                  </a:cubicBezTo>
                  <a:lnTo>
                    <a:pt x="1086" y="7795"/>
                  </a:lnTo>
                  <a:lnTo>
                    <a:pt x="0" y="7795"/>
                  </a:lnTo>
                  <a:lnTo>
                    <a:pt x="0" y="85"/>
                  </a:lnTo>
                  <a:lnTo>
                    <a:pt x="1086" y="85"/>
                  </a:lnTo>
                  <a:lnTo>
                    <a:pt x="1086" y="585"/>
                  </a:lnTo>
                  <a:cubicBezTo>
                    <a:pt x="1400" y="285"/>
                    <a:pt x="1814" y="0"/>
                    <a:pt x="2414" y="0"/>
                  </a:cubicBezTo>
                  <a:cubicBezTo>
                    <a:pt x="2971" y="0"/>
                    <a:pt x="3342" y="228"/>
                    <a:pt x="3542" y="628"/>
                  </a:cubicBezTo>
                  <a:cubicBezTo>
                    <a:pt x="3928" y="299"/>
                    <a:pt x="4385" y="0"/>
                    <a:pt x="5013" y="0"/>
                  </a:cubicBezTo>
                  <a:cubicBezTo>
                    <a:pt x="5855" y="0"/>
                    <a:pt x="6284" y="514"/>
                    <a:pt x="6284" y="1356"/>
                  </a:cubicBezTo>
                  <a:lnTo>
                    <a:pt x="6284" y="7795"/>
                  </a:lnTo>
                  <a:lnTo>
                    <a:pt x="5198" y="7795"/>
                  </a:lnTo>
                  <a:lnTo>
                    <a:pt x="5198" y="1585"/>
                  </a:lnTo>
                  <a:cubicBezTo>
                    <a:pt x="5198" y="1199"/>
                    <a:pt x="5013" y="1028"/>
                    <a:pt x="4684" y="1028"/>
                  </a:cubicBezTo>
                  <a:cubicBezTo>
                    <a:pt x="4385" y="1028"/>
                    <a:pt x="4070" y="1142"/>
                    <a:pt x="3685" y="1413"/>
                  </a:cubicBezTo>
                  <a:lnTo>
                    <a:pt x="3685" y="7795"/>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endParaRPr lang="en-US"/>
            </a:p>
          </p:txBody>
        </p:sp>
        <p:sp>
          <p:nvSpPr>
            <p:cNvPr id="23" name="Freeform 5">
              <a:extLst>
                <a:ext uri="{FF2B5EF4-FFF2-40B4-BE49-F238E27FC236}">
                  <a16:creationId xmlns:a16="http://schemas.microsoft.com/office/drawing/2014/main" id="{86FECE7B-DD27-51D2-3EE3-CBF901983D70}"/>
                </a:ext>
              </a:extLst>
            </p:cNvPr>
            <p:cNvSpPr>
              <a:spLocks noChangeArrowheads="1"/>
            </p:cNvSpPr>
            <p:nvPr/>
          </p:nvSpPr>
          <p:spPr bwMode="auto">
            <a:xfrm>
              <a:off x="14288" y="2322513"/>
              <a:ext cx="1004887" cy="2274887"/>
            </a:xfrm>
            <a:custGeom>
              <a:avLst/>
              <a:gdLst>
                <a:gd name="T0" fmla="*/ 1004527 w 2790"/>
                <a:gd name="T1" fmla="*/ 0 h 6317"/>
                <a:gd name="T2" fmla="*/ 1004527 w 2790"/>
                <a:gd name="T3" fmla="*/ 510652 h 6317"/>
                <a:gd name="T4" fmla="*/ 346488 w 2790"/>
                <a:gd name="T5" fmla="*/ 1137624 h 6317"/>
                <a:gd name="T6" fmla="*/ 1004527 w 2790"/>
                <a:gd name="T7" fmla="*/ 1752711 h 6317"/>
                <a:gd name="T8" fmla="*/ 1004527 w 2790"/>
                <a:gd name="T9" fmla="*/ 2274527 h 6317"/>
                <a:gd name="T10" fmla="*/ 0 w 2790"/>
                <a:gd name="T11" fmla="*/ 1331009 h 6317"/>
                <a:gd name="T12" fmla="*/ 0 w 2790"/>
                <a:gd name="T13" fmla="*/ 955042 h 6317"/>
                <a:gd name="T14" fmla="*/ 1004527 w 2790"/>
                <a:gd name="T15" fmla="*/ 0 h 6317"/>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2790" h="6317">
                  <a:moveTo>
                    <a:pt x="2789" y="0"/>
                  </a:moveTo>
                  <a:lnTo>
                    <a:pt x="2789" y="1418"/>
                  </a:lnTo>
                  <a:lnTo>
                    <a:pt x="962" y="3159"/>
                  </a:lnTo>
                  <a:lnTo>
                    <a:pt x="2789" y="4867"/>
                  </a:lnTo>
                  <a:lnTo>
                    <a:pt x="2789" y="6316"/>
                  </a:lnTo>
                  <a:lnTo>
                    <a:pt x="0" y="3696"/>
                  </a:lnTo>
                  <a:lnTo>
                    <a:pt x="0" y="2652"/>
                  </a:lnTo>
                  <a:lnTo>
                    <a:pt x="2789"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endParaRPr lang="en-US"/>
            </a:p>
          </p:txBody>
        </p:sp>
        <p:sp>
          <p:nvSpPr>
            <p:cNvPr id="24" name="Freeform 6">
              <a:extLst>
                <a:ext uri="{FF2B5EF4-FFF2-40B4-BE49-F238E27FC236}">
                  <a16:creationId xmlns:a16="http://schemas.microsoft.com/office/drawing/2014/main" id="{519E9D54-2FD0-56E5-1E27-5BF2C20C85FC}"/>
                </a:ext>
              </a:extLst>
            </p:cNvPr>
            <p:cNvSpPr>
              <a:spLocks noChangeArrowheads="1"/>
            </p:cNvSpPr>
            <p:nvPr/>
          </p:nvSpPr>
          <p:spPr bwMode="auto">
            <a:xfrm>
              <a:off x="9050338" y="2322513"/>
              <a:ext cx="1003300" cy="2274887"/>
            </a:xfrm>
            <a:custGeom>
              <a:avLst/>
              <a:gdLst>
                <a:gd name="T0" fmla="*/ 1002940 w 2789"/>
                <a:gd name="T1" fmla="*/ 955042 h 6317"/>
                <a:gd name="T2" fmla="*/ 1002940 w 2789"/>
                <a:gd name="T3" fmla="*/ 1331009 h 6317"/>
                <a:gd name="T4" fmla="*/ 0 w 2789"/>
                <a:gd name="T5" fmla="*/ 2274527 h 6317"/>
                <a:gd name="T6" fmla="*/ 0 w 2789"/>
                <a:gd name="T7" fmla="*/ 1752711 h 6317"/>
                <a:gd name="T8" fmla="*/ 656876 w 2789"/>
                <a:gd name="T9" fmla="*/ 1137624 h 6317"/>
                <a:gd name="T10" fmla="*/ 0 w 2789"/>
                <a:gd name="T11" fmla="*/ 510652 h 6317"/>
                <a:gd name="T12" fmla="*/ 0 w 2789"/>
                <a:gd name="T13" fmla="*/ 0 h 6317"/>
                <a:gd name="T14" fmla="*/ 1002940 w 2789"/>
                <a:gd name="T15" fmla="*/ 955042 h 6317"/>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2789" h="6317">
                  <a:moveTo>
                    <a:pt x="2788" y="2652"/>
                  </a:moveTo>
                  <a:lnTo>
                    <a:pt x="2788" y="3696"/>
                  </a:lnTo>
                  <a:lnTo>
                    <a:pt x="0" y="6316"/>
                  </a:lnTo>
                  <a:lnTo>
                    <a:pt x="0" y="4867"/>
                  </a:lnTo>
                  <a:lnTo>
                    <a:pt x="1826" y="3159"/>
                  </a:lnTo>
                  <a:lnTo>
                    <a:pt x="0" y="1418"/>
                  </a:lnTo>
                  <a:lnTo>
                    <a:pt x="0" y="0"/>
                  </a:lnTo>
                  <a:lnTo>
                    <a:pt x="2788" y="2652"/>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endParaRPr lang="en-US"/>
            </a:p>
          </p:txBody>
        </p:sp>
      </p:grpSp>
      <p:sp>
        <p:nvSpPr>
          <p:cNvPr id="25" name="Footer Placeholder 14">
            <a:extLst>
              <a:ext uri="{FF2B5EF4-FFF2-40B4-BE49-F238E27FC236}">
                <a16:creationId xmlns:a16="http://schemas.microsoft.com/office/drawing/2014/main" id="{60F941D2-8EBB-CBDA-42CA-5C51391A2F66}"/>
              </a:ext>
            </a:extLst>
          </p:cNvPr>
          <p:cNvSpPr txBox="1">
            <a:spLocks/>
          </p:cNvSpPr>
          <p:nvPr userDrawn="1"/>
        </p:nvSpPr>
        <p:spPr>
          <a:xfrm>
            <a:off x="1206203" y="6411603"/>
            <a:ext cx="2157779" cy="228599"/>
          </a:xfrm>
          <a:prstGeom prst="rect">
            <a:avLst/>
          </a:prstGeom>
        </p:spPr>
        <p:txBody>
          <a:bodyPr vert="horz" lIns="0" tIns="0" rIns="0" bIns="0" rtlCol="0" anchor="ctr"/>
          <a:lstStyle>
            <a:defPPr>
              <a:defRPr lang="en-US"/>
            </a:defPPr>
            <a:lvl1pPr marL="0" algn="r" defTabSz="914400" rtl="0" eaLnBrk="1" latinLnBrk="0" hangingPunct="1">
              <a:defRPr sz="600" b="0" i="0" kern="1200">
                <a:solidFill>
                  <a:schemeClr val="tx1"/>
                </a:solidFill>
                <a:latin typeface="+mn-lt"/>
                <a:ea typeface="Calibri" panose="020F0502020204030204" pitchFamily="34" charset="0"/>
                <a:cs typeface="Calibri" panose="020F050202020403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b="0" i="0">
                <a:solidFill>
                  <a:schemeClr val="bg1"/>
                </a:solidFill>
                <a:latin typeface="+mn-lt"/>
              </a:rPr>
              <a:t>EPAM Proprietary &amp; Confidential</a:t>
            </a:r>
            <a:r>
              <a:rPr lang="ru-RU" b="0" i="0">
                <a:solidFill>
                  <a:schemeClr val="bg1"/>
                </a:solidFill>
                <a:latin typeface="+mn-lt"/>
              </a:rPr>
              <a:t> </a:t>
            </a:r>
            <a:endParaRPr lang="en-US" b="0" i="0">
              <a:solidFill>
                <a:schemeClr val="bg1"/>
              </a:solidFill>
              <a:latin typeface="+mn-lt"/>
            </a:endParaRPr>
          </a:p>
        </p:txBody>
      </p:sp>
      <p:pic>
        <p:nvPicPr>
          <p:cNvPr id="9" name="Graphic 8">
            <a:extLst>
              <a:ext uri="{FF2B5EF4-FFF2-40B4-BE49-F238E27FC236}">
                <a16:creationId xmlns:a16="http://schemas.microsoft.com/office/drawing/2014/main" id="{65A623E3-F881-EE83-C985-4EC35E3B94DB}"/>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820266" y="6419060"/>
            <a:ext cx="762921" cy="205636"/>
          </a:xfrm>
          <a:prstGeom prst="rect">
            <a:avLst/>
          </a:prstGeom>
        </p:spPr>
      </p:pic>
    </p:spTree>
    <p:extLst>
      <p:ext uri="{BB962C8B-B14F-4D97-AF65-F5344CB8AC3E}">
        <p14:creationId xmlns:p14="http://schemas.microsoft.com/office/powerpoint/2010/main" val="4035479818"/>
      </p:ext>
    </p:extLst>
  </p:cSld>
  <p:clrMapOvr>
    <a:masterClrMapping/>
  </p:clrMapOvr>
  <p:extLst>
    <p:ext uri="{DCECCB84-F9BA-43D5-87BE-67443E8EF086}">
      <p15:sldGuideLst xmlns:p15="http://schemas.microsoft.com/office/powerpoint/2012/main"/>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x_Photo_+_Caption_A">
    <p:bg>
      <p:bgPr>
        <a:solidFill>
          <a:schemeClr val="bg1"/>
        </a:solidFill>
        <a:effectLst/>
      </p:bgPr>
    </p:bg>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C50EF9F7-1BDD-C412-DA7B-D3D0D1ABA091}"/>
              </a:ext>
            </a:extLst>
          </p:cNvPr>
          <p:cNvSpPr>
            <a:spLocks noGrp="1"/>
          </p:cNvSpPr>
          <p:nvPr>
            <p:ph type="pic" sz="quarter" idx="13"/>
          </p:nvPr>
        </p:nvSpPr>
        <p:spPr>
          <a:xfrm>
            <a:off x="647700" y="670773"/>
            <a:ext cx="10896600" cy="5539527"/>
          </a:xfrm>
          <a:prstGeom prst="rect">
            <a:avLst/>
          </a:prstGeom>
        </p:spPr>
        <p:txBody>
          <a:bodyPr/>
          <a:lstStyle/>
          <a:p>
            <a:endParaRPr lang="en-US"/>
          </a:p>
        </p:txBody>
      </p:sp>
      <p:sp>
        <p:nvSpPr>
          <p:cNvPr id="2" name="Rectangle 1">
            <a:extLst>
              <a:ext uri="{FF2B5EF4-FFF2-40B4-BE49-F238E27FC236}">
                <a16:creationId xmlns:a16="http://schemas.microsoft.com/office/drawing/2014/main" id="{F7C1B8CB-9FFB-8D0A-F788-18710501B096}"/>
              </a:ext>
            </a:extLst>
          </p:cNvPr>
          <p:cNvSpPr/>
          <p:nvPr userDrawn="1"/>
        </p:nvSpPr>
        <p:spPr bwMode="auto">
          <a:xfrm>
            <a:off x="0" y="2679405"/>
            <a:ext cx="4924396" cy="4178595"/>
          </a:xfrm>
          <a:prstGeom prst="rect">
            <a:avLst/>
          </a:prstGeom>
          <a:solidFill>
            <a:schemeClr val="bg1"/>
          </a:solidFill>
          <a:ln>
            <a:noFill/>
          </a:ln>
          <a:effectLst/>
        </p:spPr>
        <p:txBody>
          <a:bodyPr wrap="none" rtlCol="0" anchor="ctr"/>
          <a:lstStyle/>
          <a:p>
            <a:pPr algn="ctr"/>
            <a:endParaRPr lang="en-US" sz="2400" err="1">
              <a:solidFill>
                <a:schemeClr val="bg1"/>
              </a:solidFill>
              <a:latin typeface="Calibri Light" panose="020F0302020204030204" pitchFamily="34" charset="0"/>
              <a:ea typeface="Human Sans ExtraLight" charset="0"/>
              <a:cs typeface="Human Sans ExtraLight" charset="0"/>
            </a:endParaRPr>
          </a:p>
        </p:txBody>
      </p:sp>
      <p:sp>
        <p:nvSpPr>
          <p:cNvPr id="5" name="Text Placeholder 4">
            <a:extLst>
              <a:ext uri="{FF2B5EF4-FFF2-40B4-BE49-F238E27FC236}">
                <a16:creationId xmlns:a16="http://schemas.microsoft.com/office/drawing/2014/main" id="{A2159C2A-0FC8-422F-92E4-B92935AAE5A0}"/>
              </a:ext>
            </a:extLst>
          </p:cNvPr>
          <p:cNvSpPr>
            <a:spLocks noGrp="1"/>
          </p:cNvSpPr>
          <p:nvPr>
            <p:ph type="body" sz="quarter" idx="10" hasCustomPrompt="1"/>
          </p:nvPr>
        </p:nvSpPr>
        <p:spPr>
          <a:xfrm>
            <a:off x="647699" y="3809007"/>
            <a:ext cx="3722281" cy="1169551"/>
          </a:xfrm>
          <a:prstGeom prst="rect">
            <a:avLst/>
          </a:prstGeom>
        </p:spPr>
        <p:txBody>
          <a:bodyPr wrap="square">
            <a:spAutoFit/>
          </a:bodyPr>
          <a:lstStyle>
            <a:lvl1pPr>
              <a:lnSpc>
                <a:spcPct val="100000"/>
              </a:lnSpc>
              <a:spcBef>
                <a:spcPts val="0"/>
              </a:spcBef>
              <a:defRPr sz="3800" b="0" i="0">
                <a:solidFill>
                  <a:schemeClr val="tx1"/>
                </a:solidFill>
                <a:latin typeface="Calibri Light" panose="020F0302020204030204" pitchFamily="34" charset="0"/>
                <a:cs typeface="Calibri Light" panose="020F0302020204030204" pitchFamily="34" charset="0"/>
              </a:defRPr>
            </a:lvl1pPr>
            <a:lvl2pPr>
              <a:buNone/>
              <a:defRPr/>
            </a:lvl2pPr>
          </a:lstStyle>
          <a:p>
            <a:pPr lvl="0"/>
            <a:r>
              <a:rPr lang="en-US"/>
              <a:t>Caption with two or more lines</a:t>
            </a:r>
          </a:p>
        </p:txBody>
      </p:sp>
      <p:sp>
        <p:nvSpPr>
          <p:cNvPr id="13" name="Text Placeholder 4">
            <a:extLst>
              <a:ext uri="{FF2B5EF4-FFF2-40B4-BE49-F238E27FC236}">
                <a16:creationId xmlns:a16="http://schemas.microsoft.com/office/drawing/2014/main" id="{B8E369A2-FC86-4140-9080-E549260B9180}"/>
              </a:ext>
            </a:extLst>
          </p:cNvPr>
          <p:cNvSpPr>
            <a:spLocks noGrp="1"/>
          </p:cNvSpPr>
          <p:nvPr>
            <p:ph type="body" sz="quarter" idx="11" hasCustomPrompt="1"/>
          </p:nvPr>
        </p:nvSpPr>
        <p:spPr>
          <a:xfrm>
            <a:off x="647700" y="3428999"/>
            <a:ext cx="3732914" cy="184666"/>
          </a:xfrm>
          <a:prstGeom prst="rect">
            <a:avLst/>
          </a:prstGeom>
        </p:spPr>
        <p:txBody>
          <a:bodyPr wrap="square">
            <a:spAutoFit/>
          </a:bodyPr>
          <a:lstStyle>
            <a:lvl1pPr>
              <a:lnSpc>
                <a:spcPct val="100000"/>
              </a:lnSpc>
              <a:spcBef>
                <a:spcPts val="0"/>
              </a:spcBef>
              <a:defRPr sz="1200" b="1" spc="300">
                <a:solidFill>
                  <a:schemeClr val="tx1"/>
                </a:solidFill>
                <a:latin typeface="+mj-lt"/>
                <a:cs typeface="Calibri Light" panose="020F0302020204030204" pitchFamily="34" charset="0"/>
              </a:defRPr>
            </a:lvl1pPr>
            <a:lvl2pPr>
              <a:buNone/>
              <a:defRPr/>
            </a:lvl2pPr>
          </a:lstStyle>
          <a:p>
            <a:pPr lvl="0"/>
            <a:r>
              <a:rPr lang="en-US">
                <a:effectLst/>
              </a:rPr>
              <a:t>PREHEADER</a:t>
            </a:r>
            <a:endParaRPr lang="en-US"/>
          </a:p>
        </p:txBody>
      </p:sp>
      <p:sp>
        <p:nvSpPr>
          <p:cNvPr id="3" name="Text Placeholder 4">
            <a:extLst>
              <a:ext uri="{FF2B5EF4-FFF2-40B4-BE49-F238E27FC236}">
                <a16:creationId xmlns:a16="http://schemas.microsoft.com/office/drawing/2014/main" id="{184CEF6B-33E9-BCE0-3818-CFEBB6352D89}"/>
              </a:ext>
            </a:extLst>
          </p:cNvPr>
          <p:cNvSpPr>
            <a:spLocks noGrp="1"/>
          </p:cNvSpPr>
          <p:nvPr>
            <p:ph type="body" sz="quarter" idx="12" hasCustomPrompt="1"/>
          </p:nvPr>
        </p:nvSpPr>
        <p:spPr>
          <a:xfrm>
            <a:off x="647700" y="5438001"/>
            <a:ext cx="3690384" cy="276999"/>
          </a:xfrm>
          <a:prstGeom prst="rect">
            <a:avLst/>
          </a:prstGeom>
        </p:spPr>
        <p:txBody>
          <a:bodyPr wrap="square">
            <a:spAutoFit/>
          </a:bodyPr>
          <a:lstStyle>
            <a:lvl1pPr>
              <a:lnSpc>
                <a:spcPct val="100000"/>
              </a:lnSpc>
              <a:spcBef>
                <a:spcPts val="0"/>
              </a:spcBef>
              <a:defRPr sz="1800">
                <a:solidFill>
                  <a:schemeClr val="tx1"/>
                </a:solidFill>
                <a:latin typeface="Calibri Light" panose="020F0302020204030204" pitchFamily="34" charset="0"/>
                <a:cs typeface="Calibri Light" panose="020F0302020204030204" pitchFamily="34" charset="0"/>
              </a:defRPr>
            </a:lvl1pPr>
            <a:lvl2pPr>
              <a:buNone/>
              <a:defRPr/>
            </a:lvl2pPr>
          </a:lstStyle>
          <a:p>
            <a:pPr lvl="0"/>
            <a:r>
              <a:rPr lang="en-US">
                <a:effectLst/>
              </a:rPr>
              <a:t>Sub-description text goes here</a:t>
            </a:r>
            <a:endParaRPr lang="en-US"/>
          </a:p>
        </p:txBody>
      </p:sp>
      <p:sp>
        <p:nvSpPr>
          <p:cNvPr id="4" name="TextBox 3">
            <a:extLst>
              <a:ext uri="{FF2B5EF4-FFF2-40B4-BE49-F238E27FC236}">
                <a16:creationId xmlns:a16="http://schemas.microsoft.com/office/drawing/2014/main" id="{332FADFE-CDC9-BCE0-575D-8C2B21EF5ECA}"/>
              </a:ext>
            </a:extLst>
          </p:cNvPr>
          <p:cNvSpPr txBox="1"/>
          <p:nvPr userDrawn="1"/>
        </p:nvSpPr>
        <p:spPr>
          <a:xfrm>
            <a:off x="2271713" y="-857250"/>
            <a:ext cx="0" cy="0"/>
          </a:xfrm>
          <a:prstGeom prst="rect">
            <a:avLst/>
          </a:prstGeom>
          <a:noFill/>
        </p:spPr>
        <p:txBody>
          <a:bodyPr wrap="none" lIns="0" tIns="0" rIns="0" bIns="0" rtlCol="0">
            <a:noAutofit/>
          </a:bodyPr>
          <a:lstStyle/>
          <a:p>
            <a:pPr>
              <a:lnSpc>
                <a:spcPct val="110000"/>
              </a:lnSpc>
              <a:spcBef>
                <a:spcPts val="600"/>
              </a:spcBef>
            </a:pPr>
            <a:endParaRPr lang="en-US" sz="1200" err="1">
              <a:ea typeface="Human Sans" charset="0"/>
              <a:cs typeface="Human Sans" charset="0"/>
            </a:endParaRPr>
          </a:p>
        </p:txBody>
      </p:sp>
      <p:pic>
        <p:nvPicPr>
          <p:cNvPr id="6" name="Picture 5">
            <a:extLst>
              <a:ext uri="{FF2B5EF4-FFF2-40B4-BE49-F238E27FC236}">
                <a16:creationId xmlns:a16="http://schemas.microsoft.com/office/drawing/2014/main" id="{B7FE3F6A-717B-D671-C21C-B99B4FB2316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47701" y="237004"/>
            <a:ext cx="495300" cy="182096"/>
          </a:xfrm>
          <a:prstGeom prst="rect">
            <a:avLst/>
          </a:prstGeom>
        </p:spPr>
      </p:pic>
      <p:sp>
        <p:nvSpPr>
          <p:cNvPr id="9" name="TextBox 8">
            <a:extLst>
              <a:ext uri="{FF2B5EF4-FFF2-40B4-BE49-F238E27FC236}">
                <a16:creationId xmlns:a16="http://schemas.microsoft.com/office/drawing/2014/main" id="{CD5434AD-5AC2-9852-2EE5-0B7825009419}"/>
              </a:ext>
            </a:extLst>
          </p:cNvPr>
          <p:cNvSpPr txBox="1"/>
          <p:nvPr userDrawn="1"/>
        </p:nvSpPr>
        <p:spPr>
          <a:xfrm>
            <a:off x="-914400" y="2743200"/>
            <a:ext cx="0" cy="0"/>
          </a:xfrm>
          <a:prstGeom prst="rect">
            <a:avLst/>
          </a:prstGeom>
          <a:noFill/>
        </p:spPr>
        <p:txBody>
          <a:bodyPr wrap="none" lIns="0" tIns="0" rIns="0" bIns="0" rtlCol="0">
            <a:noAutofit/>
          </a:bodyPr>
          <a:lstStyle/>
          <a:p>
            <a:pPr>
              <a:lnSpc>
                <a:spcPct val="110000"/>
              </a:lnSpc>
              <a:spcBef>
                <a:spcPts val="600"/>
              </a:spcBef>
            </a:pPr>
            <a:endParaRPr lang="en-US" sz="1200" err="1">
              <a:ea typeface="Human Sans" charset="0"/>
              <a:cs typeface="Human Sans" charset="0"/>
            </a:endParaRPr>
          </a:p>
        </p:txBody>
      </p:sp>
    </p:spTree>
    <p:extLst>
      <p:ext uri="{BB962C8B-B14F-4D97-AF65-F5344CB8AC3E}">
        <p14:creationId xmlns:p14="http://schemas.microsoft.com/office/powerpoint/2010/main" val="1859482842"/>
      </p:ext>
    </p:extLst>
  </p:cSld>
  <p:clrMapOvr>
    <a:masterClrMapping/>
  </p:clrMapOvr>
  <p:extLst>
    <p:ext uri="{DCECCB84-F9BA-43D5-87BE-67443E8EF086}">
      <p15:sldGuideLst xmlns:p15="http://schemas.microsoft.com/office/powerpoint/2012/main"/>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itle + SubTitle + Text - 2 columns_Shor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201" y="457200"/>
            <a:ext cx="9360544" cy="338554"/>
          </a:xfrm>
        </p:spPr>
        <p:txBody>
          <a:bodyPr vert="horz" wrap="square" lIns="0" tIns="0" rIns="0" bIns="0" rtlCol="0" anchor="t" anchorCtr="0">
            <a:spAutoFit/>
          </a:bodyPr>
          <a:lstStyle>
            <a:lvl1pPr>
              <a:defRPr lang="en-US" dirty="0"/>
            </a:lvl1pPr>
          </a:lstStyle>
          <a:p>
            <a:pPr lvl="0"/>
            <a:r>
              <a:rPr lang="en-US"/>
              <a:t>Success Story: Generally what did we do for the customer</a:t>
            </a:r>
          </a:p>
        </p:txBody>
      </p:sp>
      <p:sp>
        <p:nvSpPr>
          <p:cNvPr id="4" name="Picture Placeholder 3">
            <a:extLst>
              <a:ext uri="{FF2B5EF4-FFF2-40B4-BE49-F238E27FC236}">
                <a16:creationId xmlns:a16="http://schemas.microsoft.com/office/drawing/2014/main" id="{76A3BDF4-FE97-E14C-A097-9FAE5DD248AF}"/>
              </a:ext>
            </a:extLst>
          </p:cNvPr>
          <p:cNvSpPr>
            <a:spLocks noGrp="1"/>
          </p:cNvSpPr>
          <p:nvPr>
            <p:ph type="pic" sz="quarter" idx="10" hasCustomPrompt="1"/>
          </p:nvPr>
        </p:nvSpPr>
        <p:spPr>
          <a:xfrm>
            <a:off x="10031142" y="442082"/>
            <a:ext cx="1684609" cy="414867"/>
          </a:xfrm>
        </p:spPr>
        <p:txBody>
          <a:bodyPr>
            <a:normAutofit/>
          </a:bodyPr>
          <a:lstStyle>
            <a:lvl1pPr>
              <a:defRPr sz="1600" b="0"/>
            </a:lvl1pPr>
          </a:lstStyle>
          <a:p>
            <a:r>
              <a:rPr lang="en-UA"/>
              <a:t>Client logo</a:t>
            </a:r>
          </a:p>
        </p:txBody>
      </p:sp>
      <p:sp>
        <p:nvSpPr>
          <p:cNvPr id="28" name="Text Placeholder 27">
            <a:extLst>
              <a:ext uri="{FF2B5EF4-FFF2-40B4-BE49-F238E27FC236}">
                <a16:creationId xmlns:a16="http://schemas.microsoft.com/office/drawing/2014/main" id="{C2F72496-7466-6941-8D8C-AFFE638263DF}"/>
              </a:ext>
            </a:extLst>
          </p:cNvPr>
          <p:cNvSpPr>
            <a:spLocks noGrp="1"/>
          </p:cNvSpPr>
          <p:nvPr userDrawn="1">
            <p:ph type="body" sz="quarter" idx="14" hasCustomPrompt="1"/>
          </p:nvPr>
        </p:nvSpPr>
        <p:spPr>
          <a:xfrm>
            <a:off x="1053989" y="930138"/>
            <a:ext cx="1025441" cy="268817"/>
          </a:xfrm>
        </p:spPr>
        <p:txBody>
          <a:bodyPr>
            <a:noAutofit/>
          </a:bodyPr>
          <a:lstStyle>
            <a:lvl1pPr>
              <a:defRPr sz="1200" b="0" i="0">
                <a:latin typeface="Calibri Light" panose="020F0302020204030204" pitchFamily="34" charset="0"/>
                <a:cs typeface="Calibri Light" panose="020F0302020204030204" pitchFamily="34" charset="0"/>
              </a:defRPr>
            </a:lvl1pPr>
            <a:lvl2pPr>
              <a:defRPr sz="1200"/>
            </a:lvl2pPr>
            <a:lvl3pPr>
              <a:defRPr sz="1200"/>
            </a:lvl3pPr>
            <a:lvl4pPr>
              <a:defRPr sz="1200"/>
            </a:lvl4pPr>
            <a:lvl5pPr>
              <a:defRPr sz="1200"/>
            </a:lvl5pPr>
          </a:lstStyle>
          <a:p>
            <a:pPr lvl="0"/>
            <a:r>
              <a:rPr lang="en-UA"/>
              <a:t>-</a:t>
            </a:r>
          </a:p>
        </p:txBody>
      </p:sp>
      <p:sp>
        <p:nvSpPr>
          <p:cNvPr id="29" name="Text Placeholder 27">
            <a:extLst>
              <a:ext uri="{FF2B5EF4-FFF2-40B4-BE49-F238E27FC236}">
                <a16:creationId xmlns:a16="http://schemas.microsoft.com/office/drawing/2014/main" id="{B0111BE1-3B97-4745-80D6-404331BE7267}"/>
              </a:ext>
            </a:extLst>
          </p:cNvPr>
          <p:cNvSpPr>
            <a:spLocks noGrp="1"/>
          </p:cNvSpPr>
          <p:nvPr userDrawn="1">
            <p:ph type="body" sz="quarter" idx="15" hasCustomPrompt="1"/>
          </p:nvPr>
        </p:nvSpPr>
        <p:spPr>
          <a:xfrm>
            <a:off x="3008925" y="930138"/>
            <a:ext cx="1025441" cy="268817"/>
          </a:xfrm>
        </p:spPr>
        <p:txBody>
          <a:bodyPr>
            <a:noAutofit/>
          </a:bodyPr>
          <a:lstStyle>
            <a:lvl1pPr>
              <a:defRPr sz="1200" b="0" i="0">
                <a:latin typeface="Calibri Light" panose="020F0302020204030204" pitchFamily="34" charset="0"/>
                <a:cs typeface="Calibri Light" panose="020F0302020204030204" pitchFamily="34" charset="0"/>
              </a:defRPr>
            </a:lvl1pPr>
            <a:lvl2pPr>
              <a:defRPr sz="1200"/>
            </a:lvl2pPr>
            <a:lvl3pPr>
              <a:defRPr sz="1200"/>
            </a:lvl3pPr>
            <a:lvl4pPr>
              <a:defRPr sz="1200"/>
            </a:lvl4pPr>
            <a:lvl5pPr>
              <a:defRPr sz="1200"/>
            </a:lvl5pPr>
          </a:lstStyle>
          <a:p>
            <a:pPr lvl="0"/>
            <a:r>
              <a:rPr lang="en-UA"/>
              <a:t>-</a:t>
            </a:r>
          </a:p>
        </p:txBody>
      </p:sp>
      <p:sp>
        <p:nvSpPr>
          <p:cNvPr id="30" name="Text Placeholder 27">
            <a:extLst>
              <a:ext uri="{FF2B5EF4-FFF2-40B4-BE49-F238E27FC236}">
                <a16:creationId xmlns:a16="http://schemas.microsoft.com/office/drawing/2014/main" id="{C457E12C-5A34-3448-A92D-6DFDA026F971}"/>
              </a:ext>
            </a:extLst>
          </p:cNvPr>
          <p:cNvSpPr>
            <a:spLocks noGrp="1"/>
          </p:cNvSpPr>
          <p:nvPr userDrawn="1">
            <p:ph type="body" sz="quarter" idx="16" hasCustomPrompt="1"/>
          </p:nvPr>
        </p:nvSpPr>
        <p:spPr>
          <a:xfrm>
            <a:off x="5070558" y="925905"/>
            <a:ext cx="1025441" cy="268817"/>
          </a:xfrm>
        </p:spPr>
        <p:txBody>
          <a:bodyPr>
            <a:noAutofit/>
          </a:bodyPr>
          <a:lstStyle>
            <a:lvl1pPr>
              <a:defRPr sz="1200" b="0" i="0">
                <a:latin typeface="Calibri Light" panose="020F0302020204030204" pitchFamily="34" charset="0"/>
                <a:cs typeface="Calibri Light" panose="020F0302020204030204" pitchFamily="34" charset="0"/>
              </a:defRPr>
            </a:lvl1pPr>
            <a:lvl2pPr>
              <a:defRPr sz="1200"/>
            </a:lvl2pPr>
            <a:lvl3pPr>
              <a:defRPr sz="1200"/>
            </a:lvl3pPr>
            <a:lvl4pPr>
              <a:defRPr sz="1200"/>
            </a:lvl4pPr>
            <a:lvl5pPr>
              <a:defRPr sz="1200"/>
            </a:lvl5pPr>
          </a:lstStyle>
          <a:p>
            <a:pPr lvl="0"/>
            <a:r>
              <a:rPr lang="en-UA"/>
              <a:t>-</a:t>
            </a:r>
          </a:p>
        </p:txBody>
      </p:sp>
      <p:sp>
        <p:nvSpPr>
          <p:cNvPr id="36" name="Text Placeholder 35">
            <a:extLst>
              <a:ext uri="{FF2B5EF4-FFF2-40B4-BE49-F238E27FC236}">
                <a16:creationId xmlns:a16="http://schemas.microsoft.com/office/drawing/2014/main" id="{5E48F6D0-458A-D749-B901-E5C420AB7189}"/>
              </a:ext>
            </a:extLst>
          </p:cNvPr>
          <p:cNvSpPr>
            <a:spLocks noGrp="1"/>
          </p:cNvSpPr>
          <p:nvPr userDrawn="1">
            <p:ph type="body" sz="quarter" idx="17" hasCustomPrompt="1"/>
          </p:nvPr>
        </p:nvSpPr>
        <p:spPr>
          <a:xfrm>
            <a:off x="461365" y="1759801"/>
            <a:ext cx="5438692" cy="499533"/>
          </a:xfrm>
        </p:spPr>
        <p:txBody>
          <a:bodyPr>
            <a:normAutofit/>
          </a:bodyPr>
          <a:lstStyle>
            <a:lvl1pPr>
              <a:lnSpc>
                <a:spcPct val="100000"/>
              </a:lnSpc>
              <a:spcBef>
                <a:spcPts val="267"/>
              </a:spcBef>
              <a:spcAft>
                <a:spcPts val="533"/>
              </a:spcAft>
              <a:defRPr sz="1267" b="1"/>
            </a:lvl1pPr>
          </a:lstStyle>
          <a:p>
            <a:pPr lvl="0"/>
            <a:r>
              <a:rPr lang="en-UA"/>
              <a:t>2-5 sentences to provide a background / context for the engagement. Do not use bullets.</a:t>
            </a:r>
          </a:p>
        </p:txBody>
      </p:sp>
      <p:sp>
        <p:nvSpPr>
          <p:cNvPr id="48" name="Text Placeholder 35">
            <a:extLst>
              <a:ext uri="{FF2B5EF4-FFF2-40B4-BE49-F238E27FC236}">
                <a16:creationId xmlns:a16="http://schemas.microsoft.com/office/drawing/2014/main" id="{38DE6258-BDEB-5349-BF3B-0EA8DB4B18D6}"/>
              </a:ext>
            </a:extLst>
          </p:cNvPr>
          <p:cNvSpPr>
            <a:spLocks noGrp="1"/>
          </p:cNvSpPr>
          <p:nvPr userDrawn="1">
            <p:ph type="body" sz="quarter" idx="24" hasCustomPrompt="1"/>
          </p:nvPr>
        </p:nvSpPr>
        <p:spPr>
          <a:xfrm>
            <a:off x="6277963" y="1763087"/>
            <a:ext cx="5438692" cy="1175524"/>
          </a:xfrm>
        </p:spPr>
        <p:txBody>
          <a:bodyPr>
            <a:normAutofit/>
          </a:bodyPr>
          <a:lstStyle>
            <a:lvl1pPr marL="172796" marR="0" indent="-172796" algn="l" defTabSz="1219170" rtl="0" eaLnBrk="1" fontAlgn="base" latinLnBrk="0" hangingPunct="1">
              <a:lnSpc>
                <a:spcPct val="100000"/>
              </a:lnSpc>
              <a:spcBef>
                <a:spcPts val="267"/>
              </a:spcBef>
              <a:spcAft>
                <a:spcPts val="400"/>
              </a:spcAft>
              <a:buClr>
                <a:srgbClr val="39C2D7"/>
              </a:buClr>
              <a:buSzTx/>
              <a:buFont typeface="Arial" panose="020B0604020202020204" pitchFamily="34" charset="0"/>
              <a:buChar char="•"/>
              <a:tabLst/>
              <a:defRPr sz="1267" b="0" i="0">
                <a:latin typeface="Calibri Light" panose="020F0302020204030204" pitchFamily="34" charset="0"/>
                <a:cs typeface="Calibri Light" panose="020F0302020204030204" pitchFamily="34" charset="0"/>
              </a:defRPr>
            </a:lvl1pPr>
          </a:lstStyle>
          <a:p>
            <a:pPr marL="129600" indent="-129600" fontAlgn="base">
              <a:spcBef>
                <a:spcPts val="200"/>
              </a:spcBef>
              <a:buClr>
                <a:schemeClr val="accent2"/>
              </a:buClr>
              <a:buFont typeface="Arial" panose="020B0604020202020204" pitchFamily="34" charset="0"/>
              <a:buChar char="•"/>
            </a:pPr>
            <a:r>
              <a:rPr lang="en-US" sz="1267">
                <a:solidFill>
                  <a:srgbClr val="000000"/>
                </a:solidFill>
                <a:latin typeface="Calibri" panose="020F0502020204030204" pitchFamily="34" charset="0"/>
              </a:rPr>
              <a:t>3-7 bullets describing the outcomes in measurable (quantitative or qualitative) business terms. </a:t>
            </a:r>
          </a:p>
          <a:p>
            <a:pPr marL="172796" marR="0" lvl="0" indent="-172796" algn="l" defTabSz="1219170" rtl="0" eaLnBrk="1" fontAlgn="base" latinLnBrk="0" hangingPunct="1">
              <a:lnSpc>
                <a:spcPct val="100000"/>
              </a:lnSpc>
              <a:spcBef>
                <a:spcPts val="267"/>
              </a:spcBef>
              <a:spcAft>
                <a:spcPts val="400"/>
              </a:spcAft>
              <a:buClr>
                <a:srgbClr val="39C2D7"/>
              </a:buClr>
              <a:buSzTx/>
              <a:buFont typeface="Arial" panose="020B0604020202020204" pitchFamily="34" charset="0"/>
              <a:buChar char="•"/>
              <a:tabLst/>
              <a:defRPr/>
            </a:pPr>
            <a:endParaRPr lang="en-US" sz="1267">
              <a:solidFill>
                <a:srgbClr val="000000"/>
              </a:solidFill>
              <a:latin typeface="Calibri" panose="020F0502020204030204" pitchFamily="34" charset="0"/>
            </a:endParaRPr>
          </a:p>
          <a:p>
            <a:pPr marL="129600" indent="-129600" fontAlgn="base">
              <a:spcBef>
                <a:spcPts val="200"/>
              </a:spcBef>
              <a:buClr>
                <a:srgbClr val="39C2D7"/>
              </a:buClr>
              <a:buFont typeface="Arial" panose="020B0604020202020204" pitchFamily="34" charset="0"/>
              <a:buChar char="•"/>
            </a:pPr>
            <a:endParaRPr lang="en-US" sz="1267">
              <a:solidFill>
                <a:srgbClr val="000000"/>
              </a:solidFill>
              <a:latin typeface="Calibri" panose="020F0502020204030204" pitchFamily="34" charset="0"/>
            </a:endParaRPr>
          </a:p>
          <a:p>
            <a:pPr marL="129600" indent="-129600" fontAlgn="base">
              <a:spcBef>
                <a:spcPts val="200"/>
              </a:spcBef>
              <a:buClr>
                <a:srgbClr val="39C2D7"/>
              </a:buClr>
              <a:buFont typeface="Arial" panose="020B0604020202020204" pitchFamily="34" charset="0"/>
              <a:buChar char="•"/>
            </a:pPr>
            <a:endParaRPr lang="en-US" sz="1267"/>
          </a:p>
        </p:txBody>
      </p:sp>
      <p:sp>
        <p:nvSpPr>
          <p:cNvPr id="67" name="Text Placeholder 66">
            <a:extLst>
              <a:ext uri="{FF2B5EF4-FFF2-40B4-BE49-F238E27FC236}">
                <a16:creationId xmlns:a16="http://schemas.microsoft.com/office/drawing/2014/main" id="{39ABE7C2-BBA2-374F-A935-8632C289050C}"/>
              </a:ext>
            </a:extLst>
          </p:cNvPr>
          <p:cNvSpPr>
            <a:spLocks noGrp="1"/>
          </p:cNvSpPr>
          <p:nvPr>
            <p:ph type="body" sz="quarter" idx="30" hasCustomPrompt="1"/>
          </p:nvPr>
        </p:nvSpPr>
        <p:spPr>
          <a:xfrm>
            <a:off x="462341" y="2280218"/>
            <a:ext cx="5437716" cy="967317"/>
          </a:xfrm>
        </p:spPr>
        <p:txBody>
          <a:bodyPr>
            <a:normAutofit/>
          </a:bodyPr>
          <a:lstStyle>
            <a:lvl1pPr marL="172796" indent="-172796">
              <a:lnSpc>
                <a:spcPct val="100000"/>
              </a:lnSpc>
              <a:spcBef>
                <a:spcPts val="200"/>
              </a:spcBef>
              <a:buClr>
                <a:schemeClr val="tx1"/>
              </a:buClr>
              <a:buFont typeface="Arial" panose="020B0604020202020204" pitchFamily="34" charset="0"/>
              <a:buChar char="•"/>
              <a:defRPr sz="1267" b="0" i="0">
                <a:latin typeface="Calibri Light" panose="020F0302020204030204" pitchFamily="34" charset="0"/>
                <a:cs typeface="Calibri Light" panose="020F0302020204030204" pitchFamily="34" charset="0"/>
              </a:defRPr>
            </a:lvl1pPr>
          </a:lstStyle>
          <a:p>
            <a:pPr lvl="0"/>
            <a:r>
              <a:rPr lang="en-UA"/>
              <a:t>3-5 challenges / Oppportunities in business terms. Why is organization doing this? Why are they paying us</a:t>
            </a:r>
            <a:r>
              <a:rPr lang="en-US"/>
              <a:t>?</a:t>
            </a:r>
            <a:endParaRPr lang="en-UA"/>
          </a:p>
        </p:txBody>
      </p:sp>
    </p:spTree>
    <p:extLst>
      <p:ext uri="{BB962C8B-B14F-4D97-AF65-F5344CB8AC3E}">
        <p14:creationId xmlns:p14="http://schemas.microsoft.com/office/powerpoint/2010/main" val="1020964188"/>
      </p:ext>
    </p:extLst>
  </p:cSld>
  <p:clrMapOvr>
    <a:masterClrMapping/>
  </p:clrMapOvr>
  <p:transition spd="slow">
    <p:push dir="u"/>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genda-Black">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7A51F759-2C51-4E26-B317-26DFEBAE952C}"/>
              </a:ext>
            </a:extLst>
          </p:cNvPr>
          <p:cNvSpPr/>
          <p:nvPr userDrawn="1"/>
        </p:nvSpPr>
        <p:spPr bwMode="auto">
          <a:xfrm>
            <a:off x="0" y="0"/>
            <a:ext cx="12192000" cy="6858000"/>
          </a:xfrm>
          <a:prstGeom prst="rect">
            <a:avLst/>
          </a:prstGeom>
          <a:solidFill>
            <a:schemeClr val="tx1"/>
          </a:solidFill>
          <a:ln>
            <a:noFill/>
          </a:ln>
          <a:effectLst/>
        </p:spPr>
        <p:txBody>
          <a:bodyPr wrap="none" rtlCol="0" anchor="ctr"/>
          <a:lstStyle/>
          <a:p>
            <a:pPr algn="ctr"/>
            <a:endParaRPr lang="en-US" sz="2400" err="1">
              <a:solidFill>
                <a:schemeClr val="bg1"/>
              </a:solidFill>
              <a:latin typeface="Calibri Light" panose="020F0302020204030204" pitchFamily="34" charset="0"/>
              <a:ea typeface="Human Sans ExtraLight" charset="0"/>
              <a:cs typeface="Human Sans ExtraLight" charset="0"/>
            </a:endParaRPr>
          </a:p>
        </p:txBody>
      </p:sp>
      <p:sp>
        <p:nvSpPr>
          <p:cNvPr id="40" name="Title 2">
            <a:extLst>
              <a:ext uri="{FF2B5EF4-FFF2-40B4-BE49-F238E27FC236}">
                <a16:creationId xmlns:a16="http://schemas.microsoft.com/office/drawing/2014/main" id="{412DC935-C29E-A14F-AFE1-7D0A655DDC5D}"/>
              </a:ext>
            </a:extLst>
          </p:cNvPr>
          <p:cNvSpPr>
            <a:spLocks noGrp="1"/>
          </p:cNvSpPr>
          <p:nvPr>
            <p:ph type="title" hasCustomPrompt="1"/>
          </p:nvPr>
        </p:nvSpPr>
        <p:spPr>
          <a:xfrm>
            <a:off x="467140" y="1191039"/>
            <a:ext cx="3024846" cy="923330"/>
          </a:xfrm>
          <a:prstGeom prst="rect">
            <a:avLst/>
          </a:prstGeom>
        </p:spPr>
        <p:txBody>
          <a:bodyPr wrap="square">
            <a:spAutoFit/>
          </a:bodyPr>
          <a:lstStyle>
            <a:lvl1pPr>
              <a:defRPr sz="6000" b="0">
                <a:solidFill>
                  <a:schemeClr val="bg1"/>
                </a:solidFill>
                <a:latin typeface="Calibri Light" panose="020F0302020204030204" pitchFamily="34" charset="0"/>
                <a:cs typeface="Calibri Light" panose="020F0302020204030204" pitchFamily="34" charset="0"/>
              </a:defRPr>
            </a:lvl1pPr>
          </a:lstStyle>
          <a:p>
            <a:r>
              <a:rPr lang="en-US"/>
              <a:t>Contents</a:t>
            </a:r>
          </a:p>
        </p:txBody>
      </p:sp>
      <p:sp>
        <p:nvSpPr>
          <p:cNvPr id="41" name="Text Placeholder 4">
            <a:extLst>
              <a:ext uri="{FF2B5EF4-FFF2-40B4-BE49-F238E27FC236}">
                <a16:creationId xmlns:a16="http://schemas.microsoft.com/office/drawing/2014/main" id="{81306D10-4886-8D43-8AD7-DD198141138F}"/>
              </a:ext>
            </a:extLst>
          </p:cNvPr>
          <p:cNvSpPr>
            <a:spLocks noGrp="1"/>
          </p:cNvSpPr>
          <p:nvPr>
            <p:ph type="body" sz="quarter" idx="10" hasCustomPrompt="1"/>
          </p:nvPr>
        </p:nvSpPr>
        <p:spPr>
          <a:xfrm>
            <a:off x="4086639" y="1191039"/>
            <a:ext cx="498928" cy="321627"/>
          </a:xfrm>
          <a:prstGeom prst="rect">
            <a:avLst/>
          </a:prstGeom>
        </p:spPr>
        <p:txBody>
          <a:bodyPr wrap="square" anchor="t" anchorCtr="0">
            <a:spAutoFit/>
          </a:bodyPr>
          <a:lstStyle>
            <a:lvl1pPr algn="r">
              <a:defRPr sz="2000" b="1" i="0">
                <a:solidFill>
                  <a:schemeClr val="bg1"/>
                </a:solidFill>
                <a:latin typeface="Calibri" panose="020F0502020204030204" pitchFamily="34" charset="0"/>
                <a:cs typeface="Calibri" panose="020F0502020204030204" pitchFamily="34" charset="0"/>
              </a:defRPr>
            </a:lvl1pPr>
          </a:lstStyle>
          <a:p>
            <a:pPr lvl="0"/>
            <a:r>
              <a:rPr lang="en-US"/>
              <a:t>01</a:t>
            </a:r>
          </a:p>
        </p:txBody>
      </p:sp>
      <p:sp>
        <p:nvSpPr>
          <p:cNvPr id="42" name="Text Placeholder 4">
            <a:extLst>
              <a:ext uri="{FF2B5EF4-FFF2-40B4-BE49-F238E27FC236}">
                <a16:creationId xmlns:a16="http://schemas.microsoft.com/office/drawing/2014/main" id="{FE45BD51-7050-F14C-A670-93F5C458BC7D}"/>
              </a:ext>
            </a:extLst>
          </p:cNvPr>
          <p:cNvSpPr>
            <a:spLocks noGrp="1"/>
          </p:cNvSpPr>
          <p:nvPr>
            <p:ph type="body" sz="quarter" idx="11" hasCustomPrompt="1"/>
          </p:nvPr>
        </p:nvSpPr>
        <p:spPr>
          <a:xfrm>
            <a:off x="4086639" y="1884106"/>
            <a:ext cx="498928" cy="321627"/>
          </a:xfrm>
          <a:prstGeom prst="rect">
            <a:avLst/>
          </a:prstGeom>
        </p:spPr>
        <p:txBody>
          <a:bodyPr wrap="square" anchor="t" anchorCtr="0">
            <a:spAutoFit/>
          </a:bodyPr>
          <a:lstStyle>
            <a:lvl1pPr algn="r">
              <a:defRPr sz="2000" b="1" i="0">
                <a:solidFill>
                  <a:schemeClr val="bg1"/>
                </a:solidFill>
                <a:latin typeface="Calibri" panose="020F0502020204030204" pitchFamily="34" charset="0"/>
                <a:cs typeface="Calibri" panose="020F0502020204030204" pitchFamily="34" charset="0"/>
              </a:defRPr>
            </a:lvl1pPr>
          </a:lstStyle>
          <a:p>
            <a:pPr lvl="0"/>
            <a:r>
              <a:rPr lang="en-US"/>
              <a:t>02</a:t>
            </a:r>
          </a:p>
        </p:txBody>
      </p:sp>
      <p:sp>
        <p:nvSpPr>
          <p:cNvPr id="43" name="Text Placeholder 4">
            <a:extLst>
              <a:ext uri="{FF2B5EF4-FFF2-40B4-BE49-F238E27FC236}">
                <a16:creationId xmlns:a16="http://schemas.microsoft.com/office/drawing/2014/main" id="{07F79D62-8F9A-0841-8A03-EF41A1E67C84}"/>
              </a:ext>
            </a:extLst>
          </p:cNvPr>
          <p:cNvSpPr>
            <a:spLocks noGrp="1"/>
          </p:cNvSpPr>
          <p:nvPr>
            <p:ph type="body" sz="quarter" idx="12" hasCustomPrompt="1"/>
          </p:nvPr>
        </p:nvSpPr>
        <p:spPr>
          <a:xfrm>
            <a:off x="4086639" y="2567012"/>
            <a:ext cx="498928" cy="321627"/>
          </a:xfrm>
          <a:prstGeom prst="rect">
            <a:avLst/>
          </a:prstGeom>
        </p:spPr>
        <p:txBody>
          <a:bodyPr wrap="square" anchor="t" anchorCtr="0">
            <a:spAutoFit/>
          </a:bodyPr>
          <a:lstStyle>
            <a:lvl1pPr algn="r">
              <a:defRPr sz="2000" b="1" i="0">
                <a:solidFill>
                  <a:schemeClr val="bg1"/>
                </a:solidFill>
                <a:latin typeface="Calibri" panose="020F0502020204030204" pitchFamily="34" charset="0"/>
                <a:cs typeface="Calibri" panose="020F0502020204030204" pitchFamily="34" charset="0"/>
              </a:defRPr>
            </a:lvl1pPr>
          </a:lstStyle>
          <a:p>
            <a:pPr lvl="0"/>
            <a:r>
              <a:rPr lang="en-US"/>
              <a:t>03</a:t>
            </a:r>
          </a:p>
        </p:txBody>
      </p:sp>
      <p:sp>
        <p:nvSpPr>
          <p:cNvPr id="44" name="Text Placeholder 4">
            <a:extLst>
              <a:ext uri="{FF2B5EF4-FFF2-40B4-BE49-F238E27FC236}">
                <a16:creationId xmlns:a16="http://schemas.microsoft.com/office/drawing/2014/main" id="{65681305-8F2B-D44B-B2FD-A0D051FAAB3C}"/>
              </a:ext>
            </a:extLst>
          </p:cNvPr>
          <p:cNvSpPr>
            <a:spLocks noGrp="1"/>
          </p:cNvSpPr>
          <p:nvPr>
            <p:ph type="body" sz="quarter" idx="13" hasCustomPrompt="1"/>
          </p:nvPr>
        </p:nvSpPr>
        <p:spPr>
          <a:xfrm>
            <a:off x="4086639" y="3260079"/>
            <a:ext cx="498928" cy="321627"/>
          </a:xfrm>
          <a:prstGeom prst="rect">
            <a:avLst/>
          </a:prstGeom>
        </p:spPr>
        <p:txBody>
          <a:bodyPr wrap="square" anchor="t" anchorCtr="0">
            <a:spAutoFit/>
          </a:bodyPr>
          <a:lstStyle>
            <a:lvl1pPr algn="r">
              <a:defRPr sz="2000" b="1" i="0">
                <a:solidFill>
                  <a:schemeClr val="bg1"/>
                </a:solidFill>
                <a:latin typeface="Calibri" panose="020F0502020204030204" pitchFamily="34" charset="0"/>
                <a:cs typeface="Calibri" panose="020F0502020204030204" pitchFamily="34" charset="0"/>
              </a:defRPr>
            </a:lvl1pPr>
          </a:lstStyle>
          <a:p>
            <a:pPr lvl="0"/>
            <a:r>
              <a:rPr lang="en-US"/>
              <a:t>04</a:t>
            </a:r>
          </a:p>
        </p:txBody>
      </p:sp>
      <p:sp>
        <p:nvSpPr>
          <p:cNvPr id="45" name="Text Placeholder 4">
            <a:extLst>
              <a:ext uri="{FF2B5EF4-FFF2-40B4-BE49-F238E27FC236}">
                <a16:creationId xmlns:a16="http://schemas.microsoft.com/office/drawing/2014/main" id="{1030B358-E24F-1640-907B-9FF7A4002316}"/>
              </a:ext>
            </a:extLst>
          </p:cNvPr>
          <p:cNvSpPr>
            <a:spLocks noGrp="1"/>
          </p:cNvSpPr>
          <p:nvPr>
            <p:ph type="body" sz="quarter" idx="14" hasCustomPrompt="1"/>
          </p:nvPr>
        </p:nvSpPr>
        <p:spPr>
          <a:xfrm>
            <a:off x="4086639" y="3942985"/>
            <a:ext cx="498928" cy="321627"/>
          </a:xfrm>
          <a:prstGeom prst="rect">
            <a:avLst/>
          </a:prstGeom>
        </p:spPr>
        <p:txBody>
          <a:bodyPr wrap="square" anchor="t" anchorCtr="0">
            <a:spAutoFit/>
          </a:bodyPr>
          <a:lstStyle>
            <a:lvl1pPr algn="r">
              <a:defRPr sz="2000" b="1" i="0">
                <a:solidFill>
                  <a:schemeClr val="bg1"/>
                </a:solidFill>
                <a:latin typeface="Calibri" panose="020F0502020204030204" pitchFamily="34" charset="0"/>
                <a:cs typeface="Calibri" panose="020F0502020204030204" pitchFamily="34" charset="0"/>
              </a:defRPr>
            </a:lvl1pPr>
          </a:lstStyle>
          <a:p>
            <a:pPr lvl="0"/>
            <a:r>
              <a:rPr lang="en-US"/>
              <a:t>05</a:t>
            </a:r>
          </a:p>
        </p:txBody>
      </p:sp>
      <p:sp>
        <p:nvSpPr>
          <p:cNvPr id="46" name="Text Placeholder 4">
            <a:extLst>
              <a:ext uri="{FF2B5EF4-FFF2-40B4-BE49-F238E27FC236}">
                <a16:creationId xmlns:a16="http://schemas.microsoft.com/office/drawing/2014/main" id="{E43EC608-D062-5346-8223-7D2DB8521CEA}"/>
              </a:ext>
            </a:extLst>
          </p:cNvPr>
          <p:cNvSpPr>
            <a:spLocks noGrp="1"/>
          </p:cNvSpPr>
          <p:nvPr>
            <p:ph type="body" sz="quarter" idx="15" hasCustomPrompt="1"/>
          </p:nvPr>
        </p:nvSpPr>
        <p:spPr>
          <a:xfrm>
            <a:off x="4086639" y="4625892"/>
            <a:ext cx="498928" cy="321627"/>
          </a:xfrm>
          <a:prstGeom prst="rect">
            <a:avLst/>
          </a:prstGeom>
        </p:spPr>
        <p:txBody>
          <a:bodyPr wrap="square" anchor="t" anchorCtr="0">
            <a:spAutoFit/>
          </a:bodyPr>
          <a:lstStyle>
            <a:lvl1pPr algn="r">
              <a:defRPr sz="2000" b="1" i="0">
                <a:solidFill>
                  <a:schemeClr val="bg1"/>
                </a:solidFill>
                <a:latin typeface="Calibri" panose="020F0502020204030204" pitchFamily="34" charset="0"/>
                <a:cs typeface="Calibri" panose="020F0502020204030204" pitchFamily="34" charset="0"/>
              </a:defRPr>
            </a:lvl1pPr>
          </a:lstStyle>
          <a:p>
            <a:pPr lvl="0"/>
            <a:r>
              <a:rPr lang="en-US"/>
              <a:t>06</a:t>
            </a:r>
          </a:p>
        </p:txBody>
      </p:sp>
      <p:sp>
        <p:nvSpPr>
          <p:cNvPr id="47" name="Text Placeholder 4">
            <a:extLst>
              <a:ext uri="{FF2B5EF4-FFF2-40B4-BE49-F238E27FC236}">
                <a16:creationId xmlns:a16="http://schemas.microsoft.com/office/drawing/2014/main" id="{3C9E44A1-779B-5D4F-880A-FEDADDD47CC1}"/>
              </a:ext>
            </a:extLst>
          </p:cNvPr>
          <p:cNvSpPr>
            <a:spLocks noGrp="1"/>
          </p:cNvSpPr>
          <p:nvPr>
            <p:ph type="body" sz="quarter" idx="16" hasCustomPrompt="1"/>
          </p:nvPr>
        </p:nvSpPr>
        <p:spPr>
          <a:xfrm>
            <a:off x="4818930" y="1191039"/>
            <a:ext cx="4554537" cy="321627"/>
          </a:xfrm>
          <a:prstGeom prst="rect">
            <a:avLst/>
          </a:prstGeom>
        </p:spPr>
        <p:txBody>
          <a:bodyPr wrap="square" anchor="t" anchorCtr="0">
            <a:spAutoFit/>
          </a:bodyPr>
          <a:lstStyle>
            <a:lvl1pPr>
              <a:defRPr sz="2000" b="0">
                <a:solidFill>
                  <a:schemeClr val="bg1"/>
                </a:solidFill>
              </a:defRPr>
            </a:lvl1pPr>
          </a:lstStyle>
          <a:p>
            <a:pPr lvl="0"/>
            <a:r>
              <a:rPr lang="en-US"/>
              <a:t>Section header here</a:t>
            </a:r>
          </a:p>
        </p:txBody>
      </p:sp>
      <p:sp>
        <p:nvSpPr>
          <p:cNvPr id="48" name="Text Placeholder 4">
            <a:extLst>
              <a:ext uri="{FF2B5EF4-FFF2-40B4-BE49-F238E27FC236}">
                <a16:creationId xmlns:a16="http://schemas.microsoft.com/office/drawing/2014/main" id="{9EC90B24-D1A9-4247-83CD-A9F058498C1C}"/>
              </a:ext>
            </a:extLst>
          </p:cNvPr>
          <p:cNvSpPr>
            <a:spLocks noGrp="1"/>
          </p:cNvSpPr>
          <p:nvPr>
            <p:ph type="body" sz="quarter" idx="17" hasCustomPrompt="1"/>
          </p:nvPr>
        </p:nvSpPr>
        <p:spPr>
          <a:xfrm>
            <a:off x="4818930" y="1884106"/>
            <a:ext cx="4554537" cy="321627"/>
          </a:xfrm>
          <a:prstGeom prst="rect">
            <a:avLst/>
          </a:prstGeom>
        </p:spPr>
        <p:txBody>
          <a:bodyPr wrap="square" anchor="t" anchorCtr="0">
            <a:spAutoFit/>
          </a:bodyPr>
          <a:lstStyle>
            <a:lvl1pPr>
              <a:defRPr sz="2000" b="0">
                <a:solidFill>
                  <a:schemeClr val="bg1"/>
                </a:solidFill>
              </a:defRPr>
            </a:lvl1pPr>
          </a:lstStyle>
          <a:p>
            <a:pPr lvl="0"/>
            <a:r>
              <a:rPr lang="en-US"/>
              <a:t>Section header here</a:t>
            </a:r>
          </a:p>
        </p:txBody>
      </p:sp>
      <p:sp>
        <p:nvSpPr>
          <p:cNvPr id="49" name="Text Placeholder 4">
            <a:extLst>
              <a:ext uri="{FF2B5EF4-FFF2-40B4-BE49-F238E27FC236}">
                <a16:creationId xmlns:a16="http://schemas.microsoft.com/office/drawing/2014/main" id="{D18552AA-DDEA-C04E-89B7-EED6BFB0403A}"/>
              </a:ext>
            </a:extLst>
          </p:cNvPr>
          <p:cNvSpPr>
            <a:spLocks noGrp="1"/>
          </p:cNvSpPr>
          <p:nvPr>
            <p:ph type="body" sz="quarter" idx="18" hasCustomPrompt="1"/>
          </p:nvPr>
        </p:nvSpPr>
        <p:spPr>
          <a:xfrm>
            <a:off x="4818930" y="2567012"/>
            <a:ext cx="4554537" cy="321627"/>
          </a:xfrm>
          <a:prstGeom prst="rect">
            <a:avLst/>
          </a:prstGeom>
        </p:spPr>
        <p:txBody>
          <a:bodyPr wrap="square" anchor="t" anchorCtr="0">
            <a:spAutoFit/>
          </a:bodyPr>
          <a:lstStyle>
            <a:lvl1pPr>
              <a:defRPr sz="2000" b="0">
                <a:solidFill>
                  <a:schemeClr val="bg1"/>
                </a:solidFill>
              </a:defRPr>
            </a:lvl1pPr>
          </a:lstStyle>
          <a:p>
            <a:pPr lvl="0"/>
            <a:r>
              <a:rPr lang="en-US"/>
              <a:t>Section header here</a:t>
            </a:r>
          </a:p>
        </p:txBody>
      </p:sp>
      <p:sp>
        <p:nvSpPr>
          <p:cNvPr id="50" name="Text Placeholder 4">
            <a:extLst>
              <a:ext uri="{FF2B5EF4-FFF2-40B4-BE49-F238E27FC236}">
                <a16:creationId xmlns:a16="http://schemas.microsoft.com/office/drawing/2014/main" id="{172F500B-80B6-B248-8020-B441FF47A156}"/>
              </a:ext>
            </a:extLst>
          </p:cNvPr>
          <p:cNvSpPr>
            <a:spLocks noGrp="1"/>
          </p:cNvSpPr>
          <p:nvPr>
            <p:ph type="body" sz="quarter" idx="19" hasCustomPrompt="1"/>
          </p:nvPr>
        </p:nvSpPr>
        <p:spPr>
          <a:xfrm>
            <a:off x="4818930" y="3260079"/>
            <a:ext cx="4554537" cy="321627"/>
          </a:xfrm>
          <a:prstGeom prst="rect">
            <a:avLst/>
          </a:prstGeom>
        </p:spPr>
        <p:txBody>
          <a:bodyPr wrap="square" anchor="t" anchorCtr="0">
            <a:spAutoFit/>
          </a:bodyPr>
          <a:lstStyle>
            <a:lvl1pPr>
              <a:defRPr sz="2000" b="0">
                <a:solidFill>
                  <a:schemeClr val="bg1"/>
                </a:solidFill>
              </a:defRPr>
            </a:lvl1pPr>
          </a:lstStyle>
          <a:p>
            <a:pPr lvl="0"/>
            <a:r>
              <a:rPr lang="en-US"/>
              <a:t>Section header here</a:t>
            </a:r>
          </a:p>
        </p:txBody>
      </p:sp>
      <p:sp>
        <p:nvSpPr>
          <p:cNvPr id="51" name="Text Placeholder 4">
            <a:extLst>
              <a:ext uri="{FF2B5EF4-FFF2-40B4-BE49-F238E27FC236}">
                <a16:creationId xmlns:a16="http://schemas.microsoft.com/office/drawing/2014/main" id="{11F98A71-D9E4-D541-BEA3-FDFD90F90AF5}"/>
              </a:ext>
            </a:extLst>
          </p:cNvPr>
          <p:cNvSpPr>
            <a:spLocks noGrp="1"/>
          </p:cNvSpPr>
          <p:nvPr>
            <p:ph type="body" sz="quarter" idx="20" hasCustomPrompt="1"/>
          </p:nvPr>
        </p:nvSpPr>
        <p:spPr>
          <a:xfrm>
            <a:off x="4818930" y="3942985"/>
            <a:ext cx="4554537" cy="321627"/>
          </a:xfrm>
          <a:prstGeom prst="rect">
            <a:avLst/>
          </a:prstGeom>
        </p:spPr>
        <p:txBody>
          <a:bodyPr wrap="square" anchor="t" anchorCtr="0">
            <a:spAutoFit/>
          </a:bodyPr>
          <a:lstStyle>
            <a:lvl1pPr>
              <a:defRPr sz="2000" b="0">
                <a:solidFill>
                  <a:schemeClr val="bg1"/>
                </a:solidFill>
              </a:defRPr>
            </a:lvl1pPr>
          </a:lstStyle>
          <a:p>
            <a:pPr lvl="0"/>
            <a:r>
              <a:rPr lang="en-US"/>
              <a:t>Section header here</a:t>
            </a:r>
          </a:p>
        </p:txBody>
      </p:sp>
      <p:sp>
        <p:nvSpPr>
          <p:cNvPr id="52" name="Text Placeholder 4">
            <a:extLst>
              <a:ext uri="{FF2B5EF4-FFF2-40B4-BE49-F238E27FC236}">
                <a16:creationId xmlns:a16="http://schemas.microsoft.com/office/drawing/2014/main" id="{16600805-4D97-C04F-A6DE-E1299C3A2DB9}"/>
              </a:ext>
            </a:extLst>
          </p:cNvPr>
          <p:cNvSpPr>
            <a:spLocks noGrp="1"/>
          </p:cNvSpPr>
          <p:nvPr>
            <p:ph type="body" sz="quarter" idx="21" hasCustomPrompt="1"/>
          </p:nvPr>
        </p:nvSpPr>
        <p:spPr>
          <a:xfrm>
            <a:off x="4818930" y="4625892"/>
            <a:ext cx="4554537" cy="321627"/>
          </a:xfrm>
          <a:prstGeom prst="rect">
            <a:avLst/>
          </a:prstGeom>
        </p:spPr>
        <p:txBody>
          <a:bodyPr wrap="square" anchor="t" anchorCtr="0">
            <a:spAutoFit/>
          </a:bodyPr>
          <a:lstStyle>
            <a:lvl1pPr>
              <a:defRPr sz="2000" b="0">
                <a:solidFill>
                  <a:schemeClr val="bg1"/>
                </a:solidFill>
              </a:defRPr>
            </a:lvl1pPr>
          </a:lstStyle>
          <a:p>
            <a:pPr lvl="0"/>
            <a:r>
              <a:rPr lang="en-US"/>
              <a:t>Section header here</a:t>
            </a:r>
          </a:p>
        </p:txBody>
      </p:sp>
      <p:cxnSp>
        <p:nvCxnSpPr>
          <p:cNvPr id="53" name="Straight Connector 52">
            <a:extLst>
              <a:ext uri="{FF2B5EF4-FFF2-40B4-BE49-F238E27FC236}">
                <a16:creationId xmlns:a16="http://schemas.microsoft.com/office/drawing/2014/main" id="{21313071-79EA-EB47-95CB-68A8E3DA74C8}"/>
              </a:ext>
            </a:extLst>
          </p:cNvPr>
          <p:cNvCxnSpPr>
            <a:cxnSpLocks/>
          </p:cNvCxnSpPr>
          <p:nvPr userDrawn="1"/>
        </p:nvCxnSpPr>
        <p:spPr>
          <a:xfrm>
            <a:off x="3725348" y="914400"/>
            <a:ext cx="0" cy="5257800"/>
          </a:xfrm>
          <a:prstGeom prst="line">
            <a:avLst/>
          </a:prstGeom>
          <a:ln w="63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4">
            <a:extLst>
              <a:ext uri="{FF2B5EF4-FFF2-40B4-BE49-F238E27FC236}">
                <a16:creationId xmlns:a16="http://schemas.microsoft.com/office/drawing/2014/main" id="{A47BA179-5545-983C-EA9B-4BD562EC0309}"/>
              </a:ext>
            </a:extLst>
          </p:cNvPr>
          <p:cNvSpPr txBox="1">
            <a:spLocks/>
          </p:cNvSpPr>
          <p:nvPr userDrawn="1"/>
        </p:nvSpPr>
        <p:spPr>
          <a:xfrm>
            <a:off x="1206203" y="6411603"/>
            <a:ext cx="2157779" cy="228599"/>
          </a:xfrm>
          <a:prstGeom prst="rect">
            <a:avLst/>
          </a:prstGeom>
        </p:spPr>
        <p:txBody>
          <a:bodyPr vert="horz" lIns="0" tIns="0" rIns="0" bIns="0" rtlCol="0" anchor="ctr"/>
          <a:lstStyle>
            <a:defPPr>
              <a:defRPr lang="en-US"/>
            </a:defPPr>
            <a:lvl1pPr marL="0" algn="r" defTabSz="914400" rtl="0" eaLnBrk="1" latinLnBrk="0" hangingPunct="1">
              <a:defRPr sz="600" b="0" i="0" kern="1200">
                <a:solidFill>
                  <a:schemeClr val="tx1"/>
                </a:solidFill>
                <a:latin typeface="+mn-lt"/>
                <a:ea typeface="Calibri" panose="020F0502020204030204" pitchFamily="34" charset="0"/>
                <a:cs typeface="Calibri" panose="020F050202020403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b="0" i="0">
                <a:solidFill>
                  <a:schemeClr val="bg1"/>
                </a:solidFill>
                <a:latin typeface="+mn-lt"/>
              </a:rPr>
              <a:t>EPAM Proprietary &amp; Confidential</a:t>
            </a:r>
            <a:r>
              <a:rPr lang="ru-RU" b="0" i="0">
                <a:solidFill>
                  <a:schemeClr val="bg1"/>
                </a:solidFill>
                <a:latin typeface="+mn-lt"/>
              </a:rPr>
              <a:t> </a:t>
            </a:r>
            <a:endParaRPr lang="en-US" b="0" i="0">
              <a:solidFill>
                <a:schemeClr val="bg1"/>
              </a:solidFill>
              <a:latin typeface="+mn-lt"/>
            </a:endParaRPr>
          </a:p>
        </p:txBody>
      </p:sp>
      <p:grpSp>
        <p:nvGrpSpPr>
          <p:cNvPr id="3" name="Group 2">
            <a:extLst>
              <a:ext uri="{FF2B5EF4-FFF2-40B4-BE49-F238E27FC236}">
                <a16:creationId xmlns:a16="http://schemas.microsoft.com/office/drawing/2014/main" id="{C3580C8E-D1A3-7DD1-DC31-532463121348}"/>
              </a:ext>
            </a:extLst>
          </p:cNvPr>
          <p:cNvGrpSpPr/>
          <p:nvPr userDrawn="1"/>
        </p:nvGrpSpPr>
        <p:grpSpPr>
          <a:xfrm>
            <a:off x="610888" y="6472556"/>
            <a:ext cx="372834" cy="131175"/>
            <a:chOff x="14288" y="2035175"/>
            <a:chExt cx="10039350" cy="3532188"/>
          </a:xfrm>
          <a:solidFill>
            <a:schemeClr val="bg1"/>
          </a:solidFill>
        </p:grpSpPr>
        <p:sp>
          <p:nvSpPr>
            <p:cNvPr id="5" name="Freeform 1">
              <a:extLst>
                <a:ext uri="{FF2B5EF4-FFF2-40B4-BE49-F238E27FC236}">
                  <a16:creationId xmlns:a16="http://schemas.microsoft.com/office/drawing/2014/main" id="{40653420-7632-9A0D-B3CD-2B7405777209}"/>
                </a:ext>
              </a:extLst>
            </p:cNvPr>
            <p:cNvSpPr>
              <a:spLocks noChangeArrowheads="1"/>
            </p:cNvSpPr>
            <p:nvPr/>
          </p:nvSpPr>
          <p:spPr bwMode="auto">
            <a:xfrm>
              <a:off x="1519238" y="2035175"/>
              <a:ext cx="1336675" cy="2836863"/>
            </a:xfrm>
            <a:custGeom>
              <a:avLst/>
              <a:gdLst>
                <a:gd name="T0" fmla="*/ 390493 w 3714"/>
                <a:gd name="T1" fmla="*/ 1200682 h 7882"/>
                <a:gd name="T2" fmla="*/ 945462 w 3714"/>
                <a:gd name="T3" fmla="*/ 1200682 h 7882"/>
                <a:gd name="T4" fmla="*/ 945462 w 3714"/>
                <a:gd name="T5" fmla="*/ 611498 h 7882"/>
                <a:gd name="T6" fmla="*/ 698929 w 3714"/>
                <a:gd name="T7" fmla="*/ 364596 h 7882"/>
                <a:gd name="T8" fmla="*/ 637386 w 3714"/>
                <a:gd name="T9" fmla="*/ 364596 h 7882"/>
                <a:gd name="T10" fmla="*/ 390493 w 3714"/>
                <a:gd name="T11" fmla="*/ 611498 h 7882"/>
                <a:gd name="T12" fmla="*/ 390493 w 3714"/>
                <a:gd name="T13" fmla="*/ 1200682 h 7882"/>
                <a:gd name="T14" fmla="*/ 389414 w 3714"/>
                <a:gd name="T15" fmla="*/ 1576795 h 7882"/>
                <a:gd name="T16" fmla="*/ 390493 w 3714"/>
                <a:gd name="T17" fmla="*/ 2224645 h 7882"/>
                <a:gd name="T18" fmla="*/ 637386 w 3714"/>
                <a:gd name="T19" fmla="*/ 2471548 h 7882"/>
                <a:gd name="T20" fmla="*/ 709366 w 3714"/>
                <a:gd name="T21" fmla="*/ 2471548 h 7882"/>
                <a:gd name="T22" fmla="*/ 955899 w 3714"/>
                <a:gd name="T23" fmla="*/ 2224645 h 7882"/>
                <a:gd name="T24" fmla="*/ 955899 w 3714"/>
                <a:gd name="T25" fmla="*/ 1906119 h 7882"/>
                <a:gd name="T26" fmla="*/ 1336315 w 3714"/>
                <a:gd name="T27" fmla="*/ 1906119 h 7882"/>
                <a:gd name="T28" fmla="*/ 1336315 w 3714"/>
                <a:gd name="T29" fmla="*/ 2209528 h 7882"/>
                <a:gd name="T30" fmla="*/ 709366 w 3714"/>
                <a:gd name="T31" fmla="*/ 2836503 h 7882"/>
                <a:gd name="T32" fmla="*/ 626949 w 3714"/>
                <a:gd name="T33" fmla="*/ 2836503 h 7882"/>
                <a:gd name="T34" fmla="*/ 0 w 3714"/>
                <a:gd name="T35" fmla="*/ 2258117 h 7882"/>
                <a:gd name="T36" fmla="*/ 0 w 3714"/>
                <a:gd name="T37" fmla="*/ 675564 h 7882"/>
                <a:gd name="T38" fmla="*/ 626949 w 3714"/>
                <a:gd name="T39" fmla="*/ 0 h 7882"/>
                <a:gd name="T40" fmla="*/ 709366 w 3714"/>
                <a:gd name="T41" fmla="*/ 0 h 7882"/>
                <a:gd name="T42" fmla="*/ 1336315 w 3714"/>
                <a:gd name="T43" fmla="*/ 626975 h 7882"/>
                <a:gd name="T44" fmla="*/ 1334875 w 3714"/>
                <a:gd name="T45" fmla="*/ 1576795 h 7882"/>
                <a:gd name="T46" fmla="*/ 389414 w 3714"/>
                <a:gd name="T47" fmla="*/ 1576795 h 7882"/>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3714" h="7882">
                  <a:moveTo>
                    <a:pt x="1085" y="3336"/>
                  </a:moveTo>
                  <a:lnTo>
                    <a:pt x="2627" y="3336"/>
                  </a:lnTo>
                  <a:lnTo>
                    <a:pt x="2627" y="1699"/>
                  </a:lnTo>
                  <a:cubicBezTo>
                    <a:pt x="2627" y="1242"/>
                    <a:pt x="2399" y="1013"/>
                    <a:pt x="1942" y="1013"/>
                  </a:cubicBezTo>
                  <a:lnTo>
                    <a:pt x="1771" y="1013"/>
                  </a:lnTo>
                  <a:cubicBezTo>
                    <a:pt x="1314" y="1013"/>
                    <a:pt x="1085" y="1242"/>
                    <a:pt x="1085" y="1699"/>
                  </a:cubicBezTo>
                  <a:lnTo>
                    <a:pt x="1085" y="3336"/>
                  </a:lnTo>
                  <a:close/>
                  <a:moveTo>
                    <a:pt x="1082" y="4381"/>
                  </a:moveTo>
                  <a:lnTo>
                    <a:pt x="1085" y="6181"/>
                  </a:lnTo>
                  <a:cubicBezTo>
                    <a:pt x="1085" y="6638"/>
                    <a:pt x="1314" y="6867"/>
                    <a:pt x="1771" y="6867"/>
                  </a:cubicBezTo>
                  <a:lnTo>
                    <a:pt x="1971" y="6867"/>
                  </a:lnTo>
                  <a:cubicBezTo>
                    <a:pt x="2428" y="6867"/>
                    <a:pt x="2656" y="6638"/>
                    <a:pt x="2656" y="6181"/>
                  </a:cubicBezTo>
                  <a:lnTo>
                    <a:pt x="2656" y="5296"/>
                  </a:lnTo>
                  <a:lnTo>
                    <a:pt x="3713" y="5296"/>
                  </a:lnTo>
                  <a:lnTo>
                    <a:pt x="3713" y="6139"/>
                  </a:lnTo>
                  <a:cubicBezTo>
                    <a:pt x="3713" y="7295"/>
                    <a:pt x="3127" y="7881"/>
                    <a:pt x="1971" y="7881"/>
                  </a:cubicBezTo>
                  <a:lnTo>
                    <a:pt x="1742" y="7881"/>
                  </a:lnTo>
                  <a:cubicBezTo>
                    <a:pt x="585" y="7881"/>
                    <a:pt x="0" y="7295"/>
                    <a:pt x="0" y="6274"/>
                  </a:cubicBezTo>
                  <a:lnTo>
                    <a:pt x="0" y="1877"/>
                  </a:lnTo>
                  <a:cubicBezTo>
                    <a:pt x="0" y="585"/>
                    <a:pt x="585" y="0"/>
                    <a:pt x="1742" y="0"/>
                  </a:cubicBezTo>
                  <a:lnTo>
                    <a:pt x="1971" y="0"/>
                  </a:lnTo>
                  <a:cubicBezTo>
                    <a:pt x="3127" y="0"/>
                    <a:pt x="3713" y="585"/>
                    <a:pt x="3713" y="1742"/>
                  </a:cubicBezTo>
                  <a:lnTo>
                    <a:pt x="3709" y="4381"/>
                  </a:lnTo>
                  <a:lnTo>
                    <a:pt x="1082" y="4381"/>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endParaRPr lang="en-US"/>
            </a:p>
          </p:txBody>
        </p:sp>
        <p:sp>
          <p:nvSpPr>
            <p:cNvPr id="6" name="Freeform 2">
              <a:extLst>
                <a:ext uri="{FF2B5EF4-FFF2-40B4-BE49-F238E27FC236}">
                  <a16:creationId xmlns:a16="http://schemas.microsoft.com/office/drawing/2014/main" id="{B453E0BC-3DCD-F6CD-99A8-A41BCD4B569B}"/>
                </a:ext>
              </a:extLst>
            </p:cNvPr>
            <p:cNvSpPr>
              <a:spLocks noChangeArrowheads="1"/>
            </p:cNvSpPr>
            <p:nvPr/>
          </p:nvSpPr>
          <p:spPr bwMode="auto">
            <a:xfrm>
              <a:off x="3109913" y="2035175"/>
              <a:ext cx="1368425" cy="3532188"/>
            </a:xfrm>
            <a:custGeom>
              <a:avLst/>
              <a:gdLst>
                <a:gd name="T0" fmla="*/ 390721 w 3800"/>
                <a:gd name="T1" fmla="*/ 2322993 h 9812"/>
                <a:gd name="T2" fmla="*/ 750833 w 3800"/>
                <a:gd name="T3" fmla="*/ 2466628 h 9812"/>
                <a:gd name="T4" fmla="*/ 976983 w 3800"/>
                <a:gd name="T5" fmla="*/ 2240556 h 9812"/>
                <a:gd name="T6" fmla="*/ 976983 w 3800"/>
                <a:gd name="T7" fmla="*/ 596138 h 9812"/>
                <a:gd name="T8" fmla="*/ 750833 w 3800"/>
                <a:gd name="T9" fmla="*/ 370066 h 9812"/>
                <a:gd name="T10" fmla="*/ 390721 w 3800"/>
                <a:gd name="T11" fmla="*/ 514061 h 9812"/>
                <a:gd name="T12" fmla="*/ 390721 w 3800"/>
                <a:gd name="T13" fmla="*/ 2322993 h 9812"/>
                <a:gd name="T14" fmla="*/ 0 w 3800"/>
                <a:gd name="T15" fmla="*/ 30599 h 9812"/>
                <a:gd name="T16" fmla="*/ 390721 w 3800"/>
                <a:gd name="T17" fmla="*/ 30599 h 9812"/>
                <a:gd name="T18" fmla="*/ 390721 w 3800"/>
                <a:gd name="T19" fmla="*/ 210592 h 9812"/>
                <a:gd name="T20" fmla="*/ 868950 w 3800"/>
                <a:gd name="T21" fmla="*/ 0 h 9812"/>
                <a:gd name="T22" fmla="*/ 1368065 w 3800"/>
                <a:gd name="T23" fmla="*/ 549699 h 9812"/>
                <a:gd name="T24" fmla="*/ 1368065 w 3800"/>
                <a:gd name="T25" fmla="*/ 2286995 h 9812"/>
                <a:gd name="T26" fmla="*/ 868950 w 3800"/>
                <a:gd name="T27" fmla="*/ 2837054 h 9812"/>
                <a:gd name="T28" fmla="*/ 390721 w 3800"/>
                <a:gd name="T29" fmla="*/ 2636541 h 9812"/>
                <a:gd name="T30" fmla="*/ 390721 w 3800"/>
                <a:gd name="T31" fmla="*/ 3531828 h 9812"/>
                <a:gd name="T32" fmla="*/ 0 w 3800"/>
                <a:gd name="T33" fmla="*/ 3531828 h 9812"/>
                <a:gd name="T34" fmla="*/ 0 w 3800"/>
                <a:gd name="T35" fmla="*/ 30599 h 9812"/>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3800" h="9812">
                  <a:moveTo>
                    <a:pt x="1085" y="6453"/>
                  </a:moveTo>
                  <a:cubicBezTo>
                    <a:pt x="1385" y="6710"/>
                    <a:pt x="1728" y="6852"/>
                    <a:pt x="2085" y="6852"/>
                  </a:cubicBezTo>
                  <a:cubicBezTo>
                    <a:pt x="2485" y="6852"/>
                    <a:pt x="2713" y="6667"/>
                    <a:pt x="2713" y="6224"/>
                  </a:cubicBezTo>
                  <a:lnTo>
                    <a:pt x="2713" y="1656"/>
                  </a:lnTo>
                  <a:cubicBezTo>
                    <a:pt x="2713" y="1213"/>
                    <a:pt x="2485" y="1028"/>
                    <a:pt x="2085" y="1028"/>
                  </a:cubicBezTo>
                  <a:cubicBezTo>
                    <a:pt x="1728" y="1028"/>
                    <a:pt x="1385" y="1170"/>
                    <a:pt x="1085" y="1428"/>
                  </a:cubicBezTo>
                  <a:lnTo>
                    <a:pt x="1085" y="6453"/>
                  </a:lnTo>
                  <a:close/>
                  <a:moveTo>
                    <a:pt x="0" y="85"/>
                  </a:moveTo>
                  <a:lnTo>
                    <a:pt x="1085" y="85"/>
                  </a:lnTo>
                  <a:lnTo>
                    <a:pt x="1085" y="585"/>
                  </a:lnTo>
                  <a:cubicBezTo>
                    <a:pt x="1342" y="314"/>
                    <a:pt x="1785" y="0"/>
                    <a:pt x="2413" y="0"/>
                  </a:cubicBezTo>
                  <a:cubicBezTo>
                    <a:pt x="3342" y="0"/>
                    <a:pt x="3799" y="614"/>
                    <a:pt x="3799" y="1527"/>
                  </a:cubicBezTo>
                  <a:lnTo>
                    <a:pt x="3799" y="6353"/>
                  </a:lnTo>
                  <a:cubicBezTo>
                    <a:pt x="3799" y="7267"/>
                    <a:pt x="3342" y="7881"/>
                    <a:pt x="2413" y="7881"/>
                  </a:cubicBezTo>
                  <a:cubicBezTo>
                    <a:pt x="1785" y="7881"/>
                    <a:pt x="1342" y="7581"/>
                    <a:pt x="1085" y="7324"/>
                  </a:cubicBezTo>
                  <a:lnTo>
                    <a:pt x="1085" y="9811"/>
                  </a:lnTo>
                  <a:lnTo>
                    <a:pt x="0" y="9811"/>
                  </a:lnTo>
                  <a:lnTo>
                    <a:pt x="0" y="85"/>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endParaRPr lang="en-US"/>
            </a:p>
          </p:txBody>
        </p:sp>
        <p:sp>
          <p:nvSpPr>
            <p:cNvPr id="7" name="Freeform 3">
              <a:extLst>
                <a:ext uri="{FF2B5EF4-FFF2-40B4-BE49-F238E27FC236}">
                  <a16:creationId xmlns:a16="http://schemas.microsoft.com/office/drawing/2014/main" id="{34074BD2-9C46-A82B-B2CB-F1382A3F448B}"/>
                </a:ext>
              </a:extLst>
            </p:cNvPr>
            <p:cNvSpPr>
              <a:spLocks noChangeArrowheads="1"/>
            </p:cNvSpPr>
            <p:nvPr/>
          </p:nvSpPr>
          <p:spPr bwMode="auto">
            <a:xfrm>
              <a:off x="4711700" y="2035175"/>
              <a:ext cx="1328738" cy="2836863"/>
            </a:xfrm>
            <a:custGeom>
              <a:avLst/>
              <a:gdLst>
                <a:gd name="T0" fmla="*/ 937679 w 3690"/>
                <a:gd name="T1" fmla="*/ 2338019 h 7882"/>
                <a:gd name="T2" fmla="*/ 937679 w 3690"/>
                <a:gd name="T3" fmla="*/ 1422750 h 7882"/>
                <a:gd name="T4" fmla="*/ 582988 w 3690"/>
                <a:gd name="T5" fmla="*/ 1556999 h 7882"/>
                <a:gd name="T6" fmla="*/ 392500 w 3690"/>
                <a:gd name="T7" fmla="*/ 1844573 h 7882"/>
                <a:gd name="T8" fmla="*/ 392500 w 3690"/>
                <a:gd name="T9" fmla="*/ 2266035 h 7882"/>
                <a:gd name="T10" fmla="*/ 582988 w 3690"/>
                <a:gd name="T11" fmla="*/ 2466149 h 7882"/>
                <a:gd name="T12" fmla="*/ 937679 w 3690"/>
                <a:gd name="T13" fmla="*/ 2338019 h 7882"/>
                <a:gd name="T14" fmla="*/ 2161 w 3690"/>
                <a:gd name="T15" fmla="*/ 1839174 h 7882"/>
                <a:gd name="T16" fmla="*/ 413025 w 3690"/>
                <a:gd name="T17" fmla="*/ 1253950 h 7882"/>
                <a:gd name="T18" fmla="*/ 937679 w 3690"/>
                <a:gd name="T19" fmla="*/ 1073991 h 7882"/>
                <a:gd name="T20" fmla="*/ 937679 w 3690"/>
                <a:gd name="T21" fmla="*/ 611498 h 7882"/>
                <a:gd name="T22" fmla="*/ 690656 w 3690"/>
                <a:gd name="T23" fmla="*/ 359557 h 7882"/>
                <a:gd name="T24" fmla="*/ 627280 w 3690"/>
                <a:gd name="T25" fmla="*/ 359557 h 7882"/>
                <a:gd name="T26" fmla="*/ 380257 w 3690"/>
                <a:gd name="T27" fmla="*/ 611498 h 7882"/>
                <a:gd name="T28" fmla="*/ 380257 w 3690"/>
                <a:gd name="T29" fmla="*/ 1004527 h 7882"/>
                <a:gd name="T30" fmla="*/ 0 w 3690"/>
                <a:gd name="T31" fmla="*/ 1004527 h 7882"/>
                <a:gd name="T32" fmla="*/ 0 w 3690"/>
                <a:gd name="T33" fmla="*/ 626975 h 7882"/>
                <a:gd name="T34" fmla="*/ 627280 w 3690"/>
                <a:gd name="T35" fmla="*/ 0 h 7882"/>
                <a:gd name="T36" fmla="*/ 701098 w 3690"/>
                <a:gd name="T37" fmla="*/ 0 h 7882"/>
                <a:gd name="T38" fmla="*/ 1328378 w 3690"/>
                <a:gd name="T39" fmla="*/ 626975 h 7882"/>
                <a:gd name="T40" fmla="*/ 1328378 w 3690"/>
                <a:gd name="T41" fmla="*/ 2805550 h 7882"/>
                <a:gd name="T42" fmla="*/ 937679 w 3690"/>
                <a:gd name="T43" fmla="*/ 2805550 h 7882"/>
                <a:gd name="T44" fmla="*/ 937679 w 3690"/>
                <a:gd name="T45" fmla="*/ 2630631 h 7882"/>
                <a:gd name="T46" fmla="*/ 459477 w 3690"/>
                <a:gd name="T47" fmla="*/ 2836503 h 7882"/>
                <a:gd name="T48" fmla="*/ 2161 w 3690"/>
                <a:gd name="T49" fmla="*/ 2348096 h 7882"/>
                <a:gd name="T50" fmla="*/ 2161 w 3690"/>
                <a:gd name="T51" fmla="*/ 1839174 h 7882"/>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3690" h="7882">
                  <a:moveTo>
                    <a:pt x="2604" y="6496"/>
                  </a:moveTo>
                  <a:lnTo>
                    <a:pt x="2604" y="3953"/>
                  </a:lnTo>
                  <a:lnTo>
                    <a:pt x="1619" y="4326"/>
                  </a:lnTo>
                  <a:cubicBezTo>
                    <a:pt x="1219" y="4483"/>
                    <a:pt x="1090" y="4683"/>
                    <a:pt x="1090" y="5125"/>
                  </a:cubicBezTo>
                  <a:lnTo>
                    <a:pt x="1090" y="6296"/>
                  </a:lnTo>
                  <a:cubicBezTo>
                    <a:pt x="1090" y="6667"/>
                    <a:pt x="1276" y="6852"/>
                    <a:pt x="1619" y="6852"/>
                  </a:cubicBezTo>
                  <a:cubicBezTo>
                    <a:pt x="1947" y="6852"/>
                    <a:pt x="2247" y="6738"/>
                    <a:pt x="2604" y="6496"/>
                  </a:cubicBezTo>
                  <a:close/>
                  <a:moveTo>
                    <a:pt x="6" y="5110"/>
                  </a:moveTo>
                  <a:cubicBezTo>
                    <a:pt x="6" y="4155"/>
                    <a:pt x="320" y="3769"/>
                    <a:pt x="1147" y="3484"/>
                  </a:cubicBezTo>
                  <a:lnTo>
                    <a:pt x="2604" y="2984"/>
                  </a:lnTo>
                  <a:lnTo>
                    <a:pt x="2604" y="1699"/>
                  </a:lnTo>
                  <a:cubicBezTo>
                    <a:pt x="2604" y="1242"/>
                    <a:pt x="2375" y="999"/>
                    <a:pt x="1918" y="999"/>
                  </a:cubicBezTo>
                  <a:lnTo>
                    <a:pt x="1742" y="999"/>
                  </a:lnTo>
                  <a:cubicBezTo>
                    <a:pt x="1285" y="999"/>
                    <a:pt x="1056" y="1242"/>
                    <a:pt x="1056" y="1699"/>
                  </a:cubicBezTo>
                  <a:lnTo>
                    <a:pt x="1056" y="2791"/>
                  </a:lnTo>
                  <a:lnTo>
                    <a:pt x="0" y="2791"/>
                  </a:lnTo>
                  <a:lnTo>
                    <a:pt x="0" y="1742"/>
                  </a:lnTo>
                  <a:cubicBezTo>
                    <a:pt x="0" y="585"/>
                    <a:pt x="586" y="0"/>
                    <a:pt x="1742" y="0"/>
                  </a:cubicBezTo>
                  <a:lnTo>
                    <a:pt x="1947" y="0"/>
                  </a:lnTo>
                  <a:cubicBezTo>
                    <a:pt x="3104" y="0"/>
                    <a:pt x="3689" y="585"/>
                    <a:pt x="3689" y="1742"/>
                  </a:cubicBezTo>
                  <a:lnTo>
                    <a:pt x="3689" y="7795"/>
                  </a:lnTo>
                  <a:lnTo>
                    <a:pt x="2604" y="7795"/>
                  </a:lnTo>
                  <a:lnTo>
                    <a:pt x="2604" y="7309"/>
                  </a:lnTo>
                  <a:cubicBezTo>
                    <a:pt x="2304" y="7595"/>
                    <a:pt x="1904" y="7881"/>
                    <a:pt x="1276" y="7881"/>
                  </a:cubicBezTo>
                  <a:cubicBezTo>
                    <a:pt x="406" y="7881"/>
                    <a:pt x="6" y="7381"/>
                    <a:pt x="6" y="6524"/>
                  </a:cubicBezTo>
                  <a:lnTo>
                    <a:pt x="6" y="5110"/>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endParaRPr lang="en-US"/>
            </a:p>
          </p:txBody>
        </p:sp>
        <p:sp>
          <p:nvSpPr>
            <p:cNvPr id="8" name="Freeform 4">
              <a:extLst>
                <a:ext uri="{FF2B5EF4-FFF2-40B4-BE49-F238E27FC236}">
                  <a16:creationId xmlns:a16="http://schemas.microsoft.com/office/drawing/2014/main" id="{D1D59E0F-CCAE-5D15-9024-8AA2BA251447}"/>
                </a:ext>
              </a:extLst>
            </p:cNvPr>
            <p:cNvSpPr>
              <a:spLocks noChangeArrowheads="1"/>
            </p:cNvSpPr>
            <p:nvPr/>
          </p:nvSpPr>
          <p:spPr bwMode="auto">
            <a:xfrm>
              <a:off x="6292850" y="2035175"/>
              <a:ext cx="2262188" cy="2806700"/>
            </a:xfrm>
            <a:custGeom>
              <a:avLst/>
              <a:gdLst>
                <a:gd name="T0" fmla="*/ 1326358 w 6285"/>
                <a:gd name="T1" fmla="*/ 2806340 h 7796"/>
                <a:gd name="T2" fmla="*/ 935470 w 6285"/>
                <a:gd name="T3" fmla="*/ 2806340 h 7796"/>
                <a:gd name="T4" fmla="*/ 935470 w 6285"/>
                <a:gd name="T5" fmla="*/ 570628 h 7796"/>
                <a:gd name="T6" fmla="*/ 750463 w 6285"/>
                <a:gd name="T7" fmla="*/ 370098 h 7796"/>
                <a:gd name="T8" fmla="*/ 390889 w 6285"/>
                <a:gd name="T9" fmla="*/ 508705 h 7796"/>
                <a:gd name="T10" fmla="*/ 390889 w 6285"/>
                <a:gd name="T11" fmla="*/ 2806340 h 7796"/>
                <a:gd name="T12" fmla="*/ 0 w 6285"/>
                <a:gd name="T13" fmla="*/ 2806340 h 7796"/>
                <a:gd name="T14" fmla="*/ 0 w 6285"/>
                <a:gd name="T15" fmla="*/ 30602 h 7796"/>
                <a:gd name="T16" fmla="*/ 390889 w 6285"/>
                <a:gd name="T17" fmla="*/ 30602 h 7796"/>
                <a:gd name="T18" fmla="*/ 390889 w 6285"/>
                <a:gd name="T19" fmla="*/ 210611 h 7796"/>
                <a:gd name="T20" fmla="*/ 868882 w 6285"/>
                <a:gd name="T21" fmla="*/ 0 h 7796"/>
                <a:gd name="T22" fmla="*/ 1274888 w 6285"/>
                <a:gd name="T23" fmla="*/ 226091 h 7796"/>
                <a:gd name="T24" fmla="*/ 1804351 w 6285"/>
                <a:gd name="T25" fmla="*/ 0 h 7796"/>
                <a:gd name="T26" fmla="*/ 2261828 w 6285"/>
                <a:gd name="T27" fmla="*/ 488184 h 7796"/>
                <a:gd name="T28" fmla="*/ 2261828 w 6285"/>
                <a:gd name="T29" fmla="*/ 2806340 h 7796"/>
                <a:gd name="T30" fmla="*/ 1870939 w 6285"/>
                <a:gd name="T31" fmla="*/ 2806340 h 7796"/>
                <a:gd name="T32" fmla="*/ 1870939 w 6285"/>
                <a:gd name="T33" fmla="*/ 570628 h 7796"/>
                <a:gd name="T34" fmla="*/ 1685933 w 6285"/>
                <a:gd name="T35" fmla="*/ 370098 h 7796"/>
                <a:gd name="T36" fmla="*/ 1326358 w 6285"/>
                <a:gd name="T37" fmla="*/ 508705 h 7796"/>
                <a:gd name="T38" fmla="*/ 1326358 w 6285"/>
                <a:gd name="T39" fmla="*/ 2806340 h 779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6285" h="7796">
                  <a:moveTo>
                    <a:pt x="3685" y="7795"/>
                  </a:moveTo>
                  <a:lnTo>
                    <a:pt x="2599" y="7795"/>
                  </a:lnTo>
                  <a:lnTo>
                    <a:pt x="2599" y="1585"/>
                  </a:lnTo>
                  <a:cubicBezTo>
                    <a:pt x="2599" y="1199"/>
                    <a:pt x="2414" y="1028"/>
                    <a:pt x="2085" y="1028"/>
                  </a:cubicBezTo>
                  <a:cubicBezTo>
                    <a:pt x="1785" y="1028"/>
                    <a:pt x="1471" y="1142"/>
                    <a:pt x="1086" y="1413"/>
                  </a:cubicBezTo>
                  <a:lnTo>
                    <a:pt x="1086" y="7795"/>
                  </a:lnTo>
                  <a:lnTo>
                    <a:pt x="0" y="7795"/>
                  </a:lnTo>
                  <a:lnTo>
                    <a:pt x="0" y="85"/>
                  </a:lnTo>
                  <a:lnTo>
                    <a:pt x="1086" y="85"/>
                  </a:lnTo>
                  <a:lnTo>
                    <a:pt x="1086" y="585"/>
                  </a:lnTo>
                  <a:cubicBezTo>
                    <a:pt x="1400" y="285"/>
                    <a:pt x="1814" y="0"/>
                    <a:pt x="2414" y="0"/>
                  </a:cubicBezTo>
                  <a:cubicBezTo>
                    <a:pt x="2971" y="0"/>
                    <a:pt x="3342" y="228"/>
                    <a:pt x="3542" y="628"/>
                  </a:cubicBezTo>
                  <a:cubicBezTo>
                    <a:pt x="3928" y="299"/>
                    <a:pt x="4385" y="0"/>
                    <a:pt x="5013" y="0"/>
                  </a:cubicBezTo>
                  <a:cubicBezTo>
                    <a:pt x="5855" y="0"/>
                    <a:pt x="6284" y="514"/>
                    <a:pt x="6284" y="1356"/>
                  </a:cubicBezTo>
                  <a:lnTo>
                    <a:pt x="6284" y="7795"/>
                  </a:lnTo>
                  <a:lnTo>
                    <a:pt x="5198" y="7795"/>
                  </a:lnTo>
                  <a:lnTo>
                    <a:pt x="5198" y="1585"/>
                  </a:lnTo>
                  <a:cubicBezTo>
                    <a:pt x="5198" y="1199"/>
                    <a:pt x="5013" y="1028"/>
                    <a:pt x="4684" y="1028"/>
                  </a:cubicBezTo>
                  <a:cubicBezTo>
                    <a:pt x="4385" y="1028"/>
                    <a:pt x="4070" y="1142"/>
                    <a:pt x="3685" y="1413"/>
                  </a:cubicBezTo>
                  <a:lnTo>
                    <a:pt x="3685" y="7795"/>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endParaRPr lang="en-US"/>
            </a:p>
          </p:txBody>
        </p:sp>
        <p:sp>
          <p:nvSpPr>
            <p:cNvPr id="9" name="Freeform 5">
              <a:extLst>
                <a:ext uri="{FF2B5EF4-FFF2-40B4-BE49-F238E27FC236}">
                  <a16:creationId xmlns:a16="http://schemas.microsoft.com/office/drawing/2014/main" id="{07C74B02-F2C3-8336-4A95-CE9493E5CFFC}"/>
                </a:ext>
              </a:extLst>
            </p:cNvPr>
            <p:cNvSpPr>
              <a:spLocks noChangeArrowheads="1"/>
            </p:cNvSpPr>
            <p:nvPr/>
          </p:nvSpPr>
          <p:spPr bwMode="auto">
            <a:xfrm>
              <a:off x="14288" y="2322513"/>
              <a:ext cx="1004887" cy="2274887"/>
            </a:xfrm>
            <a:custGeom>
              <a:avLst/>
              <a:gdLst>
                <a:gd name="T0" fmla="*/ 1004527 w 2790"/>
                <a:gd name="T1" fmla="*/ 0 h 6317"/>
                <a:gd name="T2" fmla="*/ 1004527 w 2790"/>
                <a:gd name="T3" fmla="*/ 510652 h 6317"/>
                <a:gd name="T4" fmla="*/ 346488 w 2790"/>
                <a:gd name="T5" fmla="*/ 1137624 h 6317"/>
                <a:gd name="T6" fmla="*/ 1004527 w 2790"/>
                <a:gd name="T7" fmla="*/ 1752711 h 6317"/>
                <a:gd name="T8" fmla="*/ 1004527 w 2790"/>
                <a:gd name="T9" fmla="*/ 2274527 h 6317"/>
                <a:gd name="T10" fmla="*/ 0 w 2790"/>
                <a:gd name="T11" fmla="*/ 1331009 h 6317"/>
                <a:gd name="T12" fmla="*/ 0 w 2790"/>
                <a:gd name="T13" fmla="*/ 955042 h 6317"/>
                <a:gd name="T14" fmla="*/ 1004527 w 2790"/>
                <a:gd name="T15" fmla="*/ 0 h 6317"/>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2790" h="6317">
                  <a:moveTo>
                    <a:pt x="2789" y="0"/>
                  </a:moveTo>
                  <a:lnTo>
                    <a:pt x="2789" y="1418"/>
                  </a:lnTo>
                  <a:lnTo>
                    <a:pt x="962" y="3159"/>
                  </a:lnTo>
                  <a:lnTo>
                    <a:pt x="2789" y="4867"/>
                  </a:lnTo>
                  <a:lnTo>
                    <a:pt x="2789" y="6316"/>
                  </a:lnTo>
                  <a:lnTo>
                    <a:pt x="0" y="3696"/>
                  </a:lnTo>
                  <a:lnTo>
                    <a:pt x="0" y="2652"/>
                  </a:lnTo>
                  <a:lnTo>
                    <a:pt x="2789"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endParaRPr lang="en-US"/>
            </a:p>
          </p:txBody>
        </p:sp>
        <p:sp>
          <p:nvSpPr>
            <p:cNvPr id="10" name="Freeform 6">
              <a:extLst>
                <a:ext uri="{FF2B5EF4-FFF2-40B4-BE49-F238E27FC236}">
                  <a16:creationId xmlns:a16="http://schemas.microsoft.com/office/drawing/2014/main" id="{9A029A9B-F5A4-25D6-160D-1B908B012CF7}"/>
                </a:ext>
              </a:extLst>
            </p:cNvPr>
            <p:cNvSpPr>
              <a:spLocks noChangeArrowheads="1"/>
            </p:cNvSpPr>
            <p:nvPr/>
          </p:nvSpPr>
          <p:spPr bwMode="auto">
            <a:xfrm>
              <a:off x="9050338" y="2322513"/>
              <a:ext cx="1003300" cy="2274887"/>
            </a:xfrm>
            <a:custGeom>
              <a:avLst/>
              <a:gdLst>
                <a:gd name="T0" fmla="*/ 1002940 w 2789"/>
                <a:gd name="T1" fmla="*/ 955042 h 6317"/>
                <a:gd name="T2" fmla="*/ 1002940 w 2789"/>
                <a:gd name="T3" fmla="*/ 1331009 h 6317"/>
                <a:gd name="T4" fmla="*/ 0 w 2789"/>
                <a:gd name="T5" fmla="*/ 2274527 h 6317"/>
                <a:gd name="T6" fmla="*/ 0 w 2789"/>
                <a:gd name="T7" fmla="*/ 1752711 h 6317"/>
                <a:gd name="T8" fmla="*/ 656876 w 2789"/>
                <a:gd name="T9" fmla="*/ 1137624 h 6317"/>
                <a:gd name="T10" fmla="*/ 0 w 2789"/>
                <a:gd name="T11" fmla="*/ 510652 h 6317"/>
                <a:gd name="T12" fmla="*/ 0 w 2789"/>
                <a:gd name="T13" fmla="*/ 0 h 6317"/>
                <a:gd name="T14" fmla="*/ 1002940 w 2789"/>
                <a:gd name="T15" fmla="*/ 955042 h 6317"/>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2789" h="6317">
                  <a:moveTo>
                    <a:pt x="2788" y="2652"/>
                  </a:moveTo>
                  <a:lnTo>
                    <a:pt x="2788" y="3696"/>
                  </a:lnTo>
                  <a:lnTo>
                    <a:pt x="0" y="6316"/>
                  </a:lnTo>
                  <a:lnTo>
                    <a:pt x="0" y="4867"/>
                  </a:lnTo>
                  <a:lnTo>
                    <a:pt x="1826" y="3159"/>
                  </a:lnTo>
                  <a:lnTo>
                    <a:pt x="0" y="1418"/>
                  </a:lnTo>
                  <a:lnTo>
                    <a:pt x="0" y="0"/>
                  </a:lnTo>
                  <a:lnTo>
                    <a:pt x="2788" y="2652"/>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endParaRPr lang="en-US"/>
            </a:p>
          </p:txBody>
        </p:sp>
      </p:grpSp>
      <p:pic>
        <p:nvPicPr>
          <p:cNvPr id="12" name="Graphic 11">
            <a:extLst>
              <a:ext uri="{FF2B5EF4-FFF2-40B4-BE49-F238E27FC236}">
                <a16:creationId xmlns:a16="http://schemas.microsoft.com/office/drawing/2014/main" id="{5C8D3DC4-3973-07CA-7406-1C6A28C003D5}"/>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820266" y="6419060"/>
            <a:ext cx="762921" cy="205636"/>
          </a:xfrm>
          <a:prstGeom prst="rect">
            <a:avLst/>
          </a:prstGeom>
        </p:spPr>
      </p:pic>
    </p:spTree>
    <p:extLst>
      <p:ext uri="{BB962C8B-B14F-4D97-AF65-F5344CB8AC3E}">
        <p14:creationId xmlns:p14="http://schemas.microsoft.com/office/powerpoint/2010/main" val="1825911440"/>
      </p:ext>
    </p:extLst>
  </p:cSld>
  <p:clrMapOvr>
    <a:masterClrMapping/>
  </p:clrMapOvr>
  <p:extLst>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ection_Header_Half_Page_Photo">
    <p:spTree>
      <p:nvGrpSpPr>
        <p:cNvPr id="1" name=""/>
        <p:cNvGrpSpPr/>
        <p:nvPr/>
      </p:nvGrpSpPr>
      <p:grpSpPr>
        <a:xfrm>
          <a:off x="0" y="0"/>
          <a:ext cx="0" cy="0"/>
          <a:chOff x="0" y="0"/>
          <a:chExt cx="0" cy="0"/>
        </a:xfrm>
      </p:grpSpPr>
      <p:sp>
        <p:nvSpPr>
          <p:cNvPr id="8" name="Title 2">
            <a:extLst>
              <a:ext uri="{FF2B5EF4-FFF2-40B4-BE49-F238E27FC236}">
                <a16:creationId xmlns:a16="http://schemas.microsoft.com/office/drawing/2014/main" id="{0EFDF222-F5FF-C5FC-328A-D041866005E2}"/>
              </a:ext>
            </a:extLst>
          </p:cNvPr>
          <p:cNvSpPr>
            <a:spLocks noGrp="1"/>
          </p:cNvSpPr>
          <p:nvPr>
            <p:ph type="title" hasCustomPrompt="1"/>
          </p:nvPr>
        </p:nvSpPr>
        <p:spPr>
          <a:xfrm>
            <a:off x="639074" y="1772483"/>
            <a:ext cx="3594735" cy="1846659"/>
          </a:xfrm>
          <a:prstGeom prst="rect">
            <a:avLst/>
          </a:prstGeom>
        </p:spPr>
        <p:txBody>
          <a:bodyPr wrap="square">
            <a:spAutoFit/>
          </a:bodyPr>
          <a:lstStyle>
            <a:lvl1pPr>
              <a:defRPr sz="6000" b="0" i="0">
                <a:solidFill>
                  <a:schemeClr val="tx1"/>
                </a:solidFill>
                <a:latin typeface="Calibri Light" panose="020F0302020204030204" pitchFamily="34" charset="0"/>
                <a:cs typeface="Calibri Light" panose="020F0302020204030204" pitchFamily="34" charset="0"/>
              </a:defRPr>
            </a:lvl1pPr>
          </a:lstStyle>
          <a:p>
            <a:r>
              <a:rPr lang="en-US"/>
              <a:t>Section Header</a:t>
            </a:r>
          </a:p>
        </p:txBody>
      </p:sp>
      <p:sp>
        <p:nvSpPr>
          <p:cNvPr id="26" name="Text Placeholder 4">
            <a:extLst>
              <a:ext uri="{FF2B5EF4-FFF2-40B4-BE49-F238E27FC236}">
                <a16:creationId xmlns:a16="http://schemas.microsoft.com/office/drawing/2014/main" id="{041C214B-0929-47F1-0881-0584DE92D4E2}"/>
              </a:ext>
            </a:extLst>
          </p:cNvPr>
          <p:cNvSpPr>
            <a:spLocks noGrp="1"/>
          </p:cNvSpPr>
          <p:nvPr>
            <p:ph type="body" sz="quarter" idx="16" hasCustomPrompt="1"/>
          </p:nvPr>
        </p:nvSpPr>
        <p:spPr>
          <a:xfrm>
            <a:off x="639074" y="3939611"/>
            <a:ext cx="4554537" cy="276999"/>
          </a:xfrm>
          <a:prstGeom prst="rect">
            <a:avLst/>
          </a:prstGeom>
        </p:spPr>
        <p:txBody>
          <a:bodyPr wrap="square" anchor="t" anchorCtr="0">
            <a:spAutoFit/>
          </a:bodyPr>
          <a:lstStyle>
            <a:lvl1pPr>
              <a:defRPr sz="1800" b="0" i="0">
                <a:latin typeface="Calibri Light" panose="020F0302020204030204" pitchFamily="34" charset="0"/>
                <a:cs typeface="Calibri Light" panose="020F0302020204030204" pitchFamily="34" charset="0"/>
              </a:defRPr>
            </a:lvl1pPr>
          </a:lstStyle>
          <a:p>
            <a:pPr lvl="0"/>
            <a:r>
              <a:rPr lang="en-US"/>
              <a:t>Section description</a:t>
            </a:r>
          </a:p>
        </p:txBody>
      </p:sp>
      <p:sp>
        <p:nvSpPr>
          <p:cNvPr id="3" name="Picture Placeholder 2">
            <a:extLst>
              <a:ext uri="{FF2B5EF4-FFF2-40B4-BE49-F238E27FC236}">
                <a16:creationId xmlns:a16="http://schemas.microsoft.com/office/drawing/2014/main" id="{79C487BF-0EFB-7D6C-3495-E817AE08A6AD}"/>
              </a:ext>
            </a:extLst>
          </p:cNvPr>
          <p:cNvSpPr>
            <a:spLocks noGrp="1"/>
          </p:cNvSpPr>
          <p:nvPr>
            <p:ph type="pic" sz="quarter" idx="24"/>
          </p:nvPr>
        </p:nvSpPr>
        <p:spPr>
          <a:xfrm>
            <a:off x="6096000" y="0"/>
            <a:ext cx="6096000" cy="6858000"/>
          </a:xfrm>
          <a:prstGeom prst="rect">
            <a:avLst/>
          </a:prstGeom>
        </p:spPr>
        <p:txBody>
          <a:bodyPr/>
          <a:lstStyle/>
          <a:p>
            <a:endParaRPr lang="en-US"/>
          </a:p>
        </p:txBody>
      </p:sp>
      <p:sp>
        <p:nvSpPr>
          <p:cNvPr id="7" name="Text Placeholder 4">
            <a:extLst>
              <a:ext uri="{FF2B5EF4-FFF2-40B4-BE49-F238E27FC236}">
                <a16:creationId xmlns:a16="http://schemas.microsoft.com/office/drawing/2014/main" id="{044D886A-7EE9-3D61-5350-BFDC9DEF7721}"/>
              </a:ext>
            </a:extLst>
          </p:cNvPr>
          <p:cNvSpPr>
            <a:spLocks noGrp="1"/>
          </p:cNvSpPr>
          <p:nvPr>
            <p:ph type="body" sz="quarter" idx="10" hasCustomPrompt="1"/>
          </p:nvPr>
        </p:nvSpPr>
        <p:spPr>
          <a:xfrm>
            <a:off x="639074" y="1335603"/>
            <a:ext cx="498928" cy="321627"/>
          </a:xfrm>
          <a:prstGeom prst="rect">
            <a:avLst/>
          </a:prstGeom>
        </p:spPr>
        <p:txBody>
          <a:bodyPr wrap="square" anchor="t" anchorCtr="0">
            <a:spAutoFit/>
          </a:bodyPr>
          <a:lstStyle>
            <a:lvl1pPr algn="l">
              <a:defRPr sz="2000" b="1" i="0">
                <a:solidFill>
                  <a:schemeClr val="accent6"/>
                </a:solidFill>
                <a:latin typeface="Calibri" panose="020F0502020204030204" pitchFamily="34" charset="0"/>
                <a:cs typeface="Calibri" panose="020F0502020204030204" pitchFamily="34" charset="0"/>
              </a:defRPr>
            </a:lvl1pPr>
          </a:lstStyle>
          <a:p>
            <a:pPr lvl="0"/>
            <a:r>
              <a:rPr lang="en-US"/>
              <a:t>01</a:t>
            </a:r>
          </a:p>
        </p:txBody>
      </p:sp>
    </p:spTree>
    <p:extLst>
      <p:ext uri="{BB962C8B-B14F-4D97-AF65-F5344CB8AC3E}">
        <p14:creationId xmlns:p14="http://schemas.microsoft.com/office/powerpoint/2010/main" val="3739517047"/>
      </p:ext>
    </p:extLst>
  </p:cSld>
  <p:clrMapOvr>
    <a:masterClrMapping/>
  </p:clrMapOvr>
  <p:extLst>
    <p:ext uri="{DCECCB84-F9BA-43D5-87BE-67443E8EF086}">
      <p15:sldGuideLst xmlns:p15="http://schemas.microsoft.com/office/powerpoint/2012/main"/>
    </p:ext>
  </p:extLst>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slideLayout" Target="../slideLayouts/slideLayout68.xml"/><Relationship Id="rId16" Type="http://schemas.openxmlformats.org/officeDocument/2006/relationships/slideLayout" Target="../slideLayouts/slideLayout16.xml"/><Relationship Id="rId11" Type="http://schemas.openxmlformats.org/officeDocument/2006/relationships/slideLayout" Target="../slideLayouts/slideLayout11.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74" Type="http://schemas.openxmlformats.org/officeDocument/2006/relationships/slideLayout" Target="../slideLayouts/slideLayout74.xml"/><Relationship Id="rId79" Type="http://schemas.openxmlformats.org/officeDocument/2006/relationships/slideLayout" Target="../slideLayouts/slideLayout79.xml"/><Relationship Id="rId5" Type="http://schemas.openxmlformats.org/officeDocument/2006/relationships/slideLayout" Target="../slideLayouts/slideLayout5.xml"/><Relationship Id="rId61" Type="http://schemas.openxmlformats.org/officeDocument/2006/relationships/slideLayout" Target="../slideLayouts/slideLayout61.xml"/><Relationship Id="rId82" Type="http://schemas.openxmlformats.org/officeDocument/2006/relationships/image" Target="../media/image2.svg"/><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slideLayout" Target="../slideLayouts/slideLayout69.xml"/><Relationship Id="rId77" Type="http://schemas.openxmlformats.org/officeDocument/2006/relationships/slideLayout" Target="../slideLayouts/slideLayout77.x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slideLayout" Target="../slideLayouts/slideLayout72.xml"/><Relationship Id="rId80" Type="http://schemas.openxmlformats.org/officeDocument/2006/relationships/theme" Target="../theme/theme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slideLayout" Target="../slideLayouts/slideLayout70.xml"/><Relationship Id="rId75" Type="http://schemas.openxmlformats.org/officeDocument/2006/relationships/slideLayout" Target="../slideLayouts/slideLayout75.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73" Type="http://schemas.openxmlformats.org/officeDocument/2006/relationships/slideLayout" Target="../slideLayouts/slideLayout73.xml"/><Relationship Id="rId78" Type="http://schemas.openxmlformats.org/officeDocument/2006/relationships/slideLayout" Target="../slideLayouts/slideLayout78.xml"/><Relationship Id="rId81" Type="http://schemas.openxmlformats.org/officeDocument/2006/relationships/image" Target="../media/image1.png"/><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6" Type="http://schemas.openxmlformats.org/officeDocument/2006/relationships/slideLayout" Target="../slideLayouts/slideLayout76.xml"/><Relationship Id="rId7" Type="http://schemas.openxmlformats.org/officeDocument/2006/relationships/slideLayout" Target="../slideLayouts/slideLayout7.xml"/><Relationship Id="rId71" Type="http://schemas.openxmlformats.org/officeDocument/2006/relationships/slideLayout" Target="../slideLayouts/slideLayout71.xml"/><Relationship Id="rId2" Type="http://schemas.openxmlformats.org/officeDocument/2006/relationships/slideLayout" Target="../slideLayouts/slideLayout2.xml"/><Relationship Id="rId29" Type="http://schemas.openxmlformats.org/officeDocument/2006/relationships/slideLayout" Target="../slideLayouts/slideLayout29.xml"/><Relationship Id="rId24" Type="http://schemas.openxmlformats.org/officeDocument/2006/relationships/slideLayout" Target="../slideLayouts/slideLayout24.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66" Type="http://schemas.openxmlformats.org/officeDocument/2006/relationships/slideLayout" Target="../slideLayouts/slideLayout6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6C885423-89B6-764B-9094-8FD106515F6B}"/>
              </a:ext>
            </a:extLst>
          </p:cNvPr>
          <p:cNvGrpSpPr/>
          <p:nvPr userDrawn="1"/>
        </p:nvGrpSpPr>
        <p:grpSpPr>
          <a:xfrm>
            <a:off x="611054" y="6471298"/>
            <a:ext cx="372834" cy="131175"/>
            <a:chOff x="14288" y="2035175"/>
            <a:chExt cx="10039350" cy="3532188"/>
          </a:xfrm>
          <a:solidFill>
            <a:schemeClr val="tx1"/>
          </a:solidFill>
        </p:grpSpPr>
        <p:sp>
          <p:nvSpPr>
            <p:cNvPr id="6" name="Freeform 1">
              <a:extLst>
                <a:ext uri="{FF2B5EF4-FFF2-40B4-BE49-F238E27FC236}">
                  <a16:creationId xmlns:a16="http://schemas.microsoft.com/office/drawing/2014/main" id="{2ED3B5D0-C94B-514C-ADA0-68F71F237236}"/>
                </a:ext>
              </a:extLst>
            </p:cNvPr>
            <p:cNvSpPr>
              <a:spLocks noChangeArrowheads="1"/>
            </p:cNvSpPr>
            <p:nvPr/>
          </p:nvSpPr>
          <p:spPr bwMode="auto">
            <a:xfrm>
              <a:off x="1519238" y="2035175"/>
              <a:ext cx="1336675" cy="2836863"/>
            </a:xfrm>
            <a:custGeom>
              <a:avLst/>
              <a:gdLst>
                <a:gd name="T0" fmla="*/ 390493 w 3714"/>
                <a:gd name="T1" fmla="*/ 1200682 h 7882"/>
                <a:gd name="T2" fmla="*/ 945462 w 3714"/>
                <a:gd name="T3" fmla="*/ 1200682 h 7882"/>
                <a:gd name="T4" fmla="*/ 945462 w 3714"/>
                <a:gd name="T5" fmla="*/ 611498 h 7882"/>
                <a:gd name="T6" fmla="*/ 698929 w 3714"/>
                <a:gd name="T7" fmla="*/ 364596 h 7882"/>
                <a:gd name="T8" fmla="*/ 637386 w 3714"/>
                <a:gd name="T9" fmla="*/ 364596 h 7882"/>
                <a:gd name="T10" fmla="*/ 390493 w 3714"/>
                <a:gd name="T11" fmla="*/ 611498 h 7882"/>
                <a:gd name="T12" fmla="*/ 390493 w 3714"/>
                <a:gd name="T13" fmla="*/ 1200682 h 7882"/>
                <a:gd name="T14" fmla="*/ 389414 w 3714"/>
                <a:gd name="T15" fmla="*/ 1576795 h 7882"/>
                <a:gd name="T16" fmla="*/ 390493 w 3714"/>
                <a:gd name="T17" fmla="*/ 2224645 h 7882"/>
                <a:gd name="T18" fmla="*/ 637386 w 3714"/>
                <a:gd name="T19" fmla="*/ 2471548 h 7882"/>
                <a:gd name="T20" fmla="*/ 709366 w 3714"/>
                <a:gd name="T21" fmla="*/ 2471548 h 7882"/>
                <a:gd name="T22" fmla="*/ 955899 w 3714"/>
                <a:gd name="T23" fmla="*/ 2224645 h 7882"/>
                <a:gd name="T24" fmla="*/ 955899 w 3714"/>
                <a:gd name="T25" fmla="*/ 1906119 h 7882"/>
                <a:gd name="T26" fmla="*/ 1336315 w 3714"/>
                <a:gd name="T27" fmla="*/ 1906119 h 7882"/>
                <a:gd name="T28" fmla="*/ 1336315 w 3714"/>
                <a:gd name="T29" fmla="*/ 2209528 h 7882"/>
                <a:gd name="T30" fmla="*/ 709366 w 3714"/>
                <a:gd name="T31" fmla="*/ 2836503 h 7882"/>
                <a:gd name="T32" fmla="*/ 626949 w 3714"/>
                <a:gd name="T33" fmla="*/ 2836503 h 7882"/>
                <a:gd name="T34" fmla="*/ 0 w 3714"/>
                <a:gd name="T35" fmla="*/ 2258117 h 7882"/>
                <a:gd name="T36" fmla="*/ 0 w 3714"/>
                <a:gd name="T37" fmla="*/ 675564 h 7882"/>
                <a:gd name="T38" fmla="*/ 626949 w 3714"/>
                <a:gd name="T39" fmla="*/ 0 h 7882"/>
                <a:gd name="T40" fmla="*/ 709366 w 3714"/>
                <a:gd name="T41" fmla="*/ 0 h 7882"/>
                <a:gd name="T42" fmla="*/ 1336315 w 3714"/>
                <a:gd name="T43" fmla="*/ 626975 h 7882"/>
                <a:gd name="T44" fmla="*/ 1334875 w 3714"/>
                <a:gd name="T45" fmla="*/ 1576795 h 7882"/>
                <a:gd name="T46" fmla="*/ 389414 w 3714"/>
                <a:gd name="T47" fmla="*/ 1576795 h 7882"/>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3714" h="7882">
                  <a:moveTo>
                    <a:pt x="1085" y="3336"/>
                  </a:moveTo>
                  <a:lnTo>
                    <a:pt x="2627" y="3336"/>
                  </a:lnTo>
                  <a:lnTo>
                    <a:pt x="2627" y="1699"/>
                  </a:lnTo>
                  <a:cubicBezTo>
                    <a:pt x="2627" y="1242"/>
                    <a:pt x="2399" y="1013"/>
                    <a:pt x="1942" y="1013"/>
                  </a:cubicBezTo>
                  <a:lnTo>
                    <a:pt x="1771" y="1013"/>
                  </a:lnTo>
                  <a:cubicBezTo>
                    <a:pt x="1314" y="1013"/>
                    <a:pt x="1085" y="1242"/>
                    <a:pt x="1085" y="1699"/>
                  </a:cubicBezTo>
                  <a:lnTo>
                    <a:pt x="1085" y="3336"/>
                  </a:lnTo>
                  <a:close/>
                  <a:moveTo>
                    <a:pt x="1082" y="4381"/>
                  </a:moveTo>
                  <a:lnTo>
                    <a:pt x="1085" y="6181"/>
                  </a:lnTo>
                  <a:cubicBezTo>
                    <a:pt x="1085" y="6638"/>
                    <a:pt x="1314" y="6867"/>
                    <a:pt x="1771" y="6867"/>
                  </a:cubicBezTo>
                  <a:lnTo>
                    <a:pt x="1971" y="6867"/>
                  </a:lnTo>
                  <a:cubicBezTo>
                    <a:pt x="2428" y="6867"/>
                    <a:pt x="2656" y="6638"/>
                    <a:pt x="2656" y="6181"/>
                  </a:cubicBezTo>
                  <a:lnTo>
                    <a:pt x="2656" y="5296"/>
                  </a:lnTo>
                  <a:lnTo>
                    <a:pt x="3713" y="5296"/>
                  </a:lnTo>
                  <a:lnTo>
                    <a:pt x="3713" y="6139"/>
                  </a:lnTo>
                  <a:cubicBezTo>
                    <a:pt x="3713" y="7295"/>
                    <a:pt x="3127" y="7881"/>
                    <a:pt x="1971" y="7881"/>
                  </a:cubicBezTo>
                  <a:lnTo>
                    <a:pt x="1742" y="7881"/>
                  </a:lnTo>
                  <a:cubicBezTo>
                    <a:pt x="585" y="7881"/>
                    <a:pt x="0" y="7295"/>
                    <a:pt x="0" y="6274"/>
                  </a:cubicBezTo>
                  <a:lnTo>
                    <a:pt x="0" y="1877"/>
                  </a:lnTo>
                  <a:cubicBezTo>
                    <a:pt x="0" y="585"/>
                    <a:pt x="585" y="0"/>
                    <a:pt x="1742" y="0"/>
                  </a:cubicBezTo>
                  <a:lnTo>
                    <a:pt x="1971" y="0"/>
                  </a:lnTo>
                  <a:cubicBezTo>
                    <a:pt x="3127" y="0"/>
                    <a:pt x="3713" y="585"/>
                    <a:pt x="3713" y="1742"/>
                  </a:cubicBezTo>
                  <a:lnTo>
                    <a:pt x="3709" y="4381"/>
                  </a:lnTo>
                  <a:lnTo>
                    <a:pt x="1082" y="4381"/>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endParaRPr lang="en-US"/>
            </a:p>
          </p:txBody>
        </p:sp>
        <p:sp>
          <p:nvSpPr>
            <p:cNvPr id="7" name="Freeform 2">
              <a:extLst>
                <a:ext uri="{FF2B5EF4-FFF2-40B4-BE49-F238E27FC236}">
                  <a16:creationId xmlns:a16="http://schemas.microsoft.com/office/drawing/2014/main" id="{6B13FE5C-061A-CF4C-8E56-4EAE82D2484B}"/>
                </a:ext>
              </a:extLst>
            </p:cNvPr>
            <p:cNvSpPr>
              <a:spLocks noChangeArrowheads="1"/>
            </p:cNvSpPr>
            <p:nvPr/>
          </p:nvSpPr>
          <p:spPr bwMode="auto">
            <a:xfrm>
              <a:off x="3109913" y="2035175"/>
              <a:ext cx="1368425" cy="3532188"/>
            </a:xfrm>
            <a:custGeom>
              <a:avLst/>
              <a:gdLst>
                <a:gd name="T0" fmla="*/ 390721 w 3800"/>
                <a:gd name="T1" fmla="*/ 2322993 h 9812"/>
                <a:gd name="T2" fmla="*/ 750833 w 3800"/>
                <a:gd name="T3" fmla="*/ 2466628 h 9812"/>
                <a:gd name="T4" fmla="*/ 976983 w 3800"/>
                <a:gd name="T5" fmla="*/ 2240556 h 9812"/>
                <a:gd name="T6" fmla="*/ 976983 w 3800"/>
                <a:gd name="T7" fmla="*/ 596138 h 9812"/>
                <a:gd name="T8" fmla="*/ 750833 w 3800"/>
                <a:gd name="T9" fmla="*/ 370066 h 9812"/>
                <a:gd name="T10" fmla="*/ 390721 w 3800"/>
                <a:gd name="T11" fmla="*/ 514061 h 9812"/>
                <a:gd name="T12" fmla="*/ 390721 w 3800"/>
                <a:gd name="T13" fmla="*/ 2322993 h 9812"/>
                <a:gd name="T14" fmla="*/ 0 w 3800"/>
                <a:gd name="T15" fmla="*/ 30599 h 9812"/>
                <a:gd name="T16" fmla="*/ 390721 w 3800"/>
                <a:gd name="T17" fmla="*/ 30599 h 9812"/>
                <a:gd name="T18" fmla="*/ 390721 w 3800"/>
                <a:gd name="T19" fmla="*/ 210592 h 9812"/>
                <a:gd name="T20" fmla="*/ 868950 w 3800"/>
                <a:gd name="T21" fmla="*/ 0 h 9812"/>
                <a:gd name="T22" fmla="*/ 1368065 w 3800"/>
                <a:gd name="T23" fmla="*/ 549699 h 9812"/>
                <a:gd name="T24" fmla="*/ 1368065 w 3800"/>
                <a:gd name="T25" fmla="*/ 2286995 h 9812"/>
                <a:gd name="T26" fmla="*/ 868950 w 3800"/>
                <a:gd name="T27" fmla="*/ 2837054 h 9812"/>
                <a:gd name="T28" fmla="*/ 390721 w 3800"/>
                <a:gd name="T29" fmla="*/ 2636541 h 9812"/>
                <a:gd name="T30" fmla="*/ 390721 w 3800"/>
                <a:gd name="T31" fmla="*/ 3531828 h 9812"/>
                <a:gd name="T32" fmla="*/ 0 w 3800"/>
                <a:gd name="T33" fmla="*/ 3531828 h 9812"/>
                <a:gd name="T34" fmla="*/ 0 w 3800"/>
                <a:gd name="T35" fmla="*/ 30599 h 9812"/>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3800" h="9812">
                  <a:moveTo>
                    <a:pt x="1085" y="6453"/>
                  </a:moveTo>
                  <a:cubicBezTo>
                    <a:pt x="1385" y="6710"/>
                    <a:pt x="1728" y="6852"/>
                    <a:pt x="2085" y="6852"/>
                  </a:cubicBezTo>
                  <a:cubicBezTo>
                    <a:pt x="2485" y="6852"/>
                    <a:pt x="2713" y="6667"/>
                    <a:pt x="2713" y="6224"/>
                  </a:cubicBezTo>
                  <a:lnTo>
                    <a:pt x="2713" y="1656"/>
                  </a:lnTo>
                  <a:cubicBezTo>
                    <a:pt x="2713" y="1213"/>
                    <a:pt x="2485" y="1028"/>
                    <a:pt x="2085" y="1028"/>
                  </a:cubicBezTo>
                  <a:cubicBezTo>
                    <a:pt x="1728" y="1028"/>
                    <a:pt x="1385" y="1170"/>
                    <a:pt x="1085" y="1428"/>
                  </a:cubicBezTo>
                  <a:lnTo>
                    <a:pt x="1085" y="6453"/>
                  </a:lnTo>
                  <a:close/>
                  <a:moveTo>
                    <a:pt x="0" y="85"/>
                  </a:moveTo>
                  <a:lnTo>
                    <a:pt x="1085" y="85"/>
                  </a:lnTo>
                  <a:lnTo>
                    <a:pt x="1085" y="585"/>
                  </a:lnTo>
                  <a:cubicBezTo>
                    <a:pt x="1342" y="314"/>
                    <a:pt x="1785" y="0"/>
                    <a:pt x="2413" y="0"/>
                  </a:cubicBezTo>
                  <a:cubicBezTo>
                    <a:pt x="3342" y="0"/>
                    <a:pt x="3799" y="614"/>
                    <a:pt x="3799" y="1527"/>
                  </a:cubicBezTo>
                  <a:lnTo>
                    <a:pt x="3799" y="6353"/>
                  </a:lnTo>
                  <a:cubicBezTo>
                    <a:pt x="3799" y="7267"/>
                    <a:pt x="3342" y="7881"/>
                    <a:pt x="2413" y="7881"/>
                  </a:cubicBezTo>
                  <a:cubicBezTo>
                    <a:pt x="1785" y="7881"/>
                    <a:pt x="1342" y="7581"/>
                    <a:pt x="1085" y="7324"/>
                  </a:cubicBezTo>
                  <a:lnTo>
                    <a:pt x="1085" y="9811"/>
                  </a:lnTo>
                  <a:lnTo>
                    <a:pt x="0" y="9811"/>
                  </a:lnTo>
                  <a:lnTo>
                    <a:pt x="0" y="85"/>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endParaRPr lang="en-US"/>
            </a:p>
          </p:txBody>
        </p:sp>
        <p:sp>
          <p:nvSpPr>
            <p:cNvPr id="8" name="Freeform 3">
              <a:extLst>
                <a:ext uri="{FF2B5EF4-FFF2-40B4-BE49-F238E27FC236}">
                  <a16:creationId xmlns:a16="http://schemas.microsoft.com/office/drawing/2014/main" id="{376FC67C-BC55-7E41-ADEA-5F3BE36F8A5C}"/>
                </a:ext>
              </a:extLst>
            </p:cNvPr>
            <p:cNvSpPr>
              <a:spLocks noChangeArrowheads="1"/>
            </p:cNvSpPr>
            <p:nvPr/>
          </p:nvSpPr>
          <p:spPr bwMode="auto">
            <a:xfrm>
              <a:off x="4711700" y="2035175"/>
              <a:ext cx="1328738" cy="2836863"/>
            </a:xfrm>
            <a:custGeom>
              <a:avLst/>
              <a:gdLst>
                <a:gd name="T0" fmla="*/ 937679 w 3690"/>
                <a:gd name="T1" fmla="*/ 2338019 h 7882"/>
                <a:gd name="T2" fmla="*/ 937679 w 3690"/>
                <a:gd name="T3" fmla="*/ 1422750 h 7882"/>
                <a:gd name="T4" fmla="*/ 582988 w 3690"/>
                <a:gd name="T5" fmla="*/ 1556999 h 7882"/>
                <a:gd name="T6" fmla="*/ 392500 w 3690"/>
                <a:gd name="T7" fmla="*/ 1844573 h 7882"/>
                <a:gd name="T8" fmla="*/ 392500 w 3690"/>
                <a:gd name="T9" fmla="*/ 2266035 h 7882"/>
                <a:gd name="T10" fmla="*/ 582988 w 3690"/>
                <a:gd name="T11" fmla="*/ 2466149 h 7882"/>
                <a:gd name="T12" fmla="*/ 937679 w 3690"/>
                <a:gd name="T13" fmla="*/ 2338019 h 7882"/>
                <a:gd name="T14" fmla="*/ 2161 w 3690"/>
                <a:gd name="T15" fmla="*/ 1839174 h 7882"/>
                <a:gd name="T16" fmla="*/ 413025 w 3690"/>
                <a:gd name="T17" fmla="*/ 1253950 h 7882"/>
                <a:gd name="T18" fmla="*/ 937679 w 3690"/>
                <a:gd name="T19" fmla="*/ 1073991 h 7882"/>
                <a:gd name="T20" fmla="*/ 937679 w 3690"/>
                <a:gd name="T21" fmla="*/ 611498 h 7882"/>
                <a:gd name="T22" fmla="*/ 690656 w 3690"/>
                <a:gd name="T23" fmla="*/ 359557 h 7882"/>
                <a:gd name="T24" fmla="*/ 627280 w 3690"/>
                <a:gd name="T25" fmla="*/ 359557 h 7882"/>
                <a:gd name="T26" fmla="*/ 380257 w 3690"/>
                <a:gd name="T27" fmla="*/ 611498 h 7882"/>
                <a:gd name="T28" fmla="*/ 380257 w 3690"/>
                <a:gd name="T29" fmla="*/ 1004527 h 7882"/>
                <a:gd name="T30" fmla="*/ 0 w 3690"/>
                <a:gd name="T31" fmla="*/ 1004527 h 7882"/>
                <a:gd name="T32" fmla="*/ 0 w 3690"/>
                <a:gd name="T33" fmla="*/ 626975 h 7882"/>
                <a:gd name="T34" fmla="*/ 627280 w 3690"/>
                <a:gd name="T35" fmla="*/ 0 h 7882"/>
                <a:gd name="T36" fmla="*/ 701098 w 3690"/>
                <a:gd name="T37" fmla="*/ 0 h 7882"/>
                <a:gd name="T38" fmla="*/ 1328378 w 3690"/>
                <a:gd name="T39" fmla="*/ 626975 h 7882"/>
                <a:gd name="T40" fmla="*/ 1328378 w 3690"/>
                <a:gd name="T41" fmla="*/ 2805550 h 7882"/>
                <a:gd name="T42" fmla="*/ 937679 w 3690"/>
                <a:gd name="T43" fmla="*/ 2805550 h 7882"/>
                <a:gd name="T44" fmla="*/ 937679 w 3690"/>
                <a:gd name="T45" fmla="*/ 2630631 h 7882"/>
                <a:gd name="T46" fmla="*/ 459477 w 3690"/>
                <a:gd name="T47" fmla="*/ 2836503 h 7882"/>
                <a:gd name="T48" fmla="*/ 2161 w 3690"/>
                <a:gd name="T49" fmla="*/ 2348096 h 7882"/>
                <a:gd name="T50" fmla="*/ 2161 w 3690"/>
                <a:gd name="T51" fmla="*/ 1839174 h 7882"/>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3690" h="7882">
                  <a:moveTo>
                    <a:pt x="2604" y="6496"/>
                  </a:moveTo>
                  <a:lnTo>
                    <a:pt x="2604" y="3953"/>
                  </a:lnTo>
                  <a:lnTo>
                    <a:pt x="1619" y="4326"/>
                  </a:lnTo>
                  <a:cubicBezTo>
                    <a:pt x="1219" y="4483"/>
                    <a:pt x="1090" y="4683"/>
                    <a:pt x="1090" y="5125"/>
                  </a:cubicBezTo>
                  <a:lnTo>
                    <a:pt x="1090" y="6296"/>
                  </a:lnTo>
                  <a:cubicBezTo>
                    <a:pt x="1090" y="6667"/>
                    <a:pt x="1276" y="6852"/>
                    <a:pt x="1619" y="6852"/>
                  </a:cubicBezTo>
                  <a:cubicBezTo>
                    <a:pt x="1947" y="6852"/>
                    <a:pt x="2247" y="6738"/>
                    <a:pt x="2604" y="6496"/>
                  </a:cubicBezTo>
                  <a:close/>
                  <a:moveTo>
                    <a:pt x="6" y="5110"/>
                  </a:moveTo>
                  <a:cubicBezTo>
                    <a:pt x="6" y="4155"/>
                    <a:pt x="320" y="3769"/>
                    <a:pt x="1147" y="3484"/>
                  </a:cubicBezTo>
                  <a:lnTo>
                    <a:pt x="2604" y="2984"/>
                  </a:lnTo>
                  <a:lnTo>
                    <a:pt x="2604" y="1699"/>
                  </a:lnTo>
                  <a:cubicBezTo>
                    <a:pt x="2604" y="1242"/>
                    <a:pt x="2375" y="999"/>
                    <a:pt x="1918" y="999"/>
                  </a:cubicBezTo>
                  <a:lnTo>
                    <a:pt x="1742" y="999"/>
                  </a:lnTo>
                  <a:cubicBezTo>
                    <a:pt x="1285" y="999"/>
                    <a:pt x="1056" y="1242"/>
                    <a:pt x="1056" y="1699"/>
                  </a:cubicBezTo>
                  <a:lnTo>
                    <a:pt x="1056" y="2791"/>
                  </a:lnTo>
                  <a:lnTo>
                    <a:pt x="0" y="2791"/>
                  </a:lnTo>
                  <a:lnTo>
                    <a:pt x="0" y="1742"/>
                  </a:lnTo>
                  <a:cubicBezTo>
                    <a:pt x="0" y="585"/>
                    <a:pt x="586" y="0"/>
                    <a:pt x="1742" y="0"/>
                  </a:cubicBezTo>
                  <a:lnTo>
                    <a:pt x="1947" y="0"/>
                  </a:lnTo>
                  <a:cubicBezTo>
                    <a:pt x="3104" y="0"/>
                    <a:pt x="3689" y="585"/>
                    <a:pt x="3689" y="1742"/>
                  </a:cubicBezTo>
                  <a:lnTo>
                    <a:pt x="3689" y="7795"/>
                  </a:lnTo>
                  <a:lnTo>
                    <a:pt x="2604" y="7795"/>
                  </a:lnTo>
                  <a:lnTo>
                    <a:pt x="2604" y="7309"/>
                  </a:lnTo>
                  <a:cubicBezTo>
                    <a:pt x="2304" y="7595"/>
                    <a:pt x="1904" y="7881"/>
                    <a:pt x="1276" y="7881"/>
                  </a:cubicBezTo>
                  <a:cubicBezTo>
                    <a:pt x="406" y="7881"/>
                    <a:pt x="6" y="7381"/>
                    <a:pt x="6" y="6524"/>
                  </a:cubicBezTo>
                  <a:lnTo>
                    <a:pt x="6" y="5110"/>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endParaRPr lang="en-US"/>
            </a:p>
          </p:txBody>
        </p:sp>
        <p:sp>
          <p:nvSpPr>
            <p:cNvPr id="9" name="Freeform 4">
              <a:extLst>
                <a:ext uri="{FF2B5EF4-FFF2-40B4-BE49-F238E27FC236}">
                  <a16:creationId xmlns:a16="http://schemas.microsoft.com/office/drawing/2014/main" id="{9F0CF72A-2B4B-9C45-9155-1B4E37362F80}"/>
                </a:ext>
              </a:extLst>
            </p:cNvPr>
            <p:cNvSpPr>
              <a:spLocks noChangeArrowheads="1"/>
            </p:cNvSpPr>
            <p:nvPr/>
          </p:nvSpPr>
          <p:spPr bwMode="auto">
            <a:xfrm>
              <a:off x="6292850" y="2035175"/>
              <a:ext cx="2262188" cy="2806700"/>
            </a:xfrm>
            <a:custGeom>
              <a:avLst/>
              <a:gdLst>
                <a:gd name="T0" fmla="*/ 1326358 w 6285"/>
                <a:gd name="T1" fmla="*/ 2806340 h 7796"/>
                <a:gd name="T2" fmla="*/ 935470 w 6285"/>
                <a:gd name="T3" fmla="*/ 2806340 h 7796"/>
                <a:gd name="T4" fmla="*/ 935470 w 6285"/>
                <a:gd name="T5" fmla="*/ 570628 h 7796"/>
                <a:gd name="T6" fmla="*/ 750463 w 6285"/>
                <a:gd name="T7" fmla="*/ 370098 h 7796"/>
                <a:gd name="T8" fmla="*/ 390889 w 6285"/>
                <a:gd name="T9" fmla="*/ 508705 h 7796"/>
                <a:gd name="T10" fmla="*/ 390889 w 6285"/>
                <a:gd name="T11" fmla="*/ 2806340 h 7796"/>
                <a:gd name="T12" fmla="*/ 0 w 6285"/>
                <a:gd name="T13" fmla="*/ 2806340 h 7796"/>
                <a:gd name="T14" fmla="*/ 0 w 6285"/>
                <a:gd name="T15" fmla="*/ 30602 h 7796"/>
                <a:gd name="T16" fmla="*/ 390889 w 6285"/>
                <a:gd name="T17" fmla="*/ 30602 h 7796"/>
                <a:gd name="T18" fmla="*/ 390889 w 6285"/>
                <a:gd name="T19" fmla="*/ 210611 h 7796"/>
                <a:gd name="T20" fmla="*/ 868882 w 6285"/>
                <a:gd name="T21" fmla="*/ 0 h 7796"/>
                <a:gd name="T22" fmla="*/ 1274888 w 6285"/>
                <a:gd name="T23" fmla="*/ 226091 h 7796"/>
                <a:gd name="T24" fmla="*/ 1804351 w 6285"/>
                <a:gd name="T25" fmla="*/ 0 h 7796"/>
                <a:gd name="T26" fmla="*/ 2261828 w 6285"/>
                <a:gd name="T27" fmla="*/ 488184 h 7796"/>
                <a:gd name="T28" fmla="*/ 2261828 w 6285"/>
                <a:gd name="T29" fmla="*/ 2806340 h 7796"/>
                <a:gd name="T30" fmla="*/ 1870939 w 6285"/>
                <a:gd name="T31" fmla="*/ 2806340 h 7796"/>
                <a:gd name="T32" fmla="*/ 1870939 w 6285"/>
                <a:gd name="T33" fmla="*/ 570628 h 7796"/>
                <a:gd name="T34" fmla="*/ 1685933 w 6285"/>
                <a:gd name="T35" fmla="*/ 370098 h 7796"/>
                <a:gd name="T36" fmla="*/ 1326358 w 6285"/>
                <a:gd name="T37" fmla="*/ 508705 h 7796"/>
                <a:gd name="T38" fmla="*/ 1326358 w 6285"/>
                <a:gd name="T39" fmla="*/ 2806340 h 779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6285" h="7796">
                  <a:moveTo>
                    <a:pt x="3685" y="7795"/>
                  </a:moveTo>
                  <a:lnTo>
                    <a:pt x="2599" y="7795"/>
                  </a:lnTo>
                  <a:lnTo>
                    <a:pt x="2599" y="1585"/>
                  </a:lnTo>
                  <a:cubicBezTo>
                    <a:pt x="2599" y="1199"/>
                    <a:pt x="2414" y="1028"/>
                    <a:pt x="2085" y="1028"/>
                  </a:cubicBezTo>
                  <a:cubicBezTo>
                    <a:pt x="1785" y="1028"/>
                    <a:pt x="1471" y="1142"/>
                    <a:pt x="1086" y="1413"/>
                  </a:cubicBezTo>
                  <a:lnTo>
                    <a:pt x="1086" y="7795"/>
                  </a:lnTo>
                  <a:lnTo>
                    <a:pt x="0" y="7795"/>
                  </a:lnTo>
                  <a:lnTo>
                    <a:pt x="0" y="85"/>
                  </a:lnTo>
                  <a:lnTo>
                    <a:pt x="1086" y="85"/>
                  </a:lnTo>
                  <a:lnTo>
                    <a:pt x="1086" y="585"/>
                  </a:lnTo>
                  <a:cubicBezTo>
                    <a:pt x="1400" y="285"/>
                    <a:pt x="1814" y="0"/>
                    <a:pt x="2414" y="0"/>
                  </a:cubicBezTo>
                  <a:cubicBezTo>
                    <a:pt x="2971" y="0"/>
                    <a:pt x="3342" y="228"/>
                    <a:pt x="3542" y="628"/>
                  </a:cubicBezTo>
                  <a:cubicBezTo>
                    <a:pt x="3928" y="299"/>
                    <a:pt x="4385" y="0"/>
                    <a:pt x="5013" y="0"/>
                  </a:cubicBezTo>
                  <a:cubicBezTo>
                    <a:pt x="5855" y="0"/>
                    <a:pt x="6284" y="514"/>
                    <a:pt x="6284" y="1356"/>
                  </a:cubicBezTo>
                  <a:lnTo>
                    <a:pt x="6284" y="7795"/>
                  </a:lnTo>
                  <a:lnTo>
                    <a:pt x="5198" y="7795"/>
                  </a:lnTo>
                  <a:lnTo>
                    <a:pt x="5198" y="1585"/>
                  </a:lnTo>
                  <a:cubicBezTo>
                    <a:pt x="5198" y="1199"/>
                    <a:pt x="5013" y="1028"/>
                    <a:pt x="4684" y="1028"/>
                  </a:cubicBezTo>
                  <a:cubicBezTo>
                    <a:pt x="4385" y="1028"/>
                    <a:pt x="4070" y="1142"/>
                    <a:pt x="3685" y="1413"/>
                  </a:cubicBezTo>
                  <a:lnTo>
                    <a:pt x="3685" y="7795"/>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endParaRPr lang="en-US"/>
            </a:p>
          </p:txBody>
        </p:sp>
        <p:sp>
          <p:nvSpPr>
            <p:cNvPr id="10" name="Freeform 5">
              <a:extLst>
                <a:ext uri="{FF2B5EF4-FFF2-40B4-BE49-F238E27FC236}">
                  <a16:creationId xmlns:a16="http://schemas.microsoft.com/office/drawing/2014/main" id="{55BE5E59-7ACB-C747-8AD1-9ABD4ADD2BED}"/>
                </a:ext>
              </a:extLst>
            </p:cNvPr>
            <p:cNvSpPr>
              <a:spLocks noChangeArrowheads="1"/>
            </p:cNvSpPr>
            <p:nvPr/>
          </p:nvSpPr>
          <p:spPr bwMode="auto">
            <a:xfrm>
              <a:off x="14288" y="2322513"/>
              <a:ext cx="1004887" cy="2274887"/>
            </a:xfrm>
            <a:custGeom>
              <a:avLst/>
              <a:gdLst>
                <a:gd name="T0" fmla="*/ 1004527 w 2790"/>
                <a:gd name="T1" fmla="*/ 0 h 6317"/>
                <a:gd name="T2" fmla="*/ 1004527 w 2790"/>
                <a:gd name="T3" fmla="*/ 510652 h 6317"/>
                <a:gd name="T4" fmla="*/ 346488 w 2790"/>
                <a:gd name="T5" fmla="*/ 1137624 h 6317"/>
                <a:gd name="T6" fmla="*/ 1004527 w 2790"/>
                <a:gd name="T7" fmla="*/ 1752711 h 6317"/>
                <a:gd name="T8" fmla="*/ 1004527 w 2790"/>
                <a:gd name="T9" fmla="*/ 2274527 h 6317"/>
                <a:gd name="T10" fmla="*/ 0 w 2790"/>
                <a:gd name="T11" fmla="*/ 1331009 h 6317"/>
                <a:gd name="T12" fmla="*/ 0 w 2790"/>
                <a:gd name="T13" fmla="*/ 955042 h 6317"/>
                <a:gd name="T14" fmla="*/ 1004527 w 2790"/>
                <a:gd name="T15" fmla="*/ 0 h 6317"/>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2790" h="6317">
                  <a:moveTo>
                    <a:pt x="2789" y="0"/>
                  </a:moveTo>
                  <a:lnTo>
                    <a:pt x="2789" y="1418"/>
                  </a:lnTo>
                  <a:lnTo>
                    <a:pt x="962" y="3159"/>
                  </a:lnTo>
                  <a:lnTo>
                    <a:pt x="2789" y="4867"/>
                  </a:lnTo>
                  <a:lnTo>
                    <a:pt x="2789" y="6316"/>
                  </a:lnTo>
                  <a:lnTo>
                    <a:pt x="0" y="3696"/>
                  </a:lnTo>
                  <a:lnTo>
                    <a:pt x="0" y="2652"/>
                  </a:lnTo>
                  <a:lnTo>
                    <a:pt x="2789"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endParaRPr lang="en-US"/>
            </a:p>
          </p:txBody>
        </p:sp>
        <p:sp>
          <p:nvSpPr>
            <p:cNvPr id="11" name="Freeform 6">
              <a:extLst>
                <a:ext uri="{FF2B5EF4-FFF2-40B4-BE49-F238E27FC236}">
                  <a16:creationId xmlns:a16="http://schemas.microsoft.com/office/drawing/2014/main" id="{E15A3DAE-CF83-5B44-B332-3789F2C1AFA3}"/>
                </a:ext>
              </a:extLst>
            </p:cNvPr>
            <p:cNvSpPr>
              <a:spLocks noChangeArrowheads="1"/>
            </p:cNvSpPr>
            <p:nvPr/>
          </p:nvSpPr>
          <p:spPr bwMode="auto">
            <a:xfrm>
              <a:off x="9050338" y="2322513"/>
              <a:ext cx="1003300" cy="2274887"/>
            </a:xfrm>
            <a:custGeom>
              <a:avLst/>
              <a:gdLst>
                <a:gd name="T0" fmla="*/ 1002940 w 2789"/>
                <a:gd name="T1" fmla="*/ 955042 h 6317"/>
                <a:gd name="T2" fmla="*/ 1002940 w 2789"/>
                <a:gd name="T3" fmla="*/ 1331009 h 6317"/>
                <a:gd name="T4" fmla="*/ 0 w 2789"/>
                <a:gd name="T5" fmla="*/ 2274527 h 6317"/>
                <a:gd name="T6" fmla="*/ 0 w 2789"/>
                <a:gd name="T7" fmla="*/ 1752711 h 6317"/>
                <a:gd name="T8" fmla="*/ 656876 w 2789"/>
                <a:gd name="T9" fmla="*/ 1137624 h 6317"/>
                <a:gd name="T10" fmla="*/ 0 w 2789"/>
                <a:gd name="T11" fmla="*/ 510652 h 6317"/>
                <a:gd name="T12" fmla="*/ 0 w 2789"/>
                <a:gd name="T13" fmla="*/ 0 h 6317"/>
                <a:gd name="T14" fmla="*/ 1002940 w 2789"/>
                <a:gd name="T15" fmla="*/ 955042 h 6317"/>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2789" h="6317">
                  <a:moveTo>
                    <a:pt x="2788" y="2652"/>
                  </a:moveTo>
                  <a:lnTo>
                    <a:pt x="2788" y="3696"/>
                  </a:lnTo>
                  <a:lnTo>
                    <a:pt x="0" y="6316"/>
                  </a:lnTo>
                  <a:lnTo>
                    <a:pt x="0" y="4867"/>
                  </a:lnTo>
                  <a:lnTo>
                    <a:pt x="1826" y="3159"/>
                  </a:lnTo>
                  <a:lnTo>
                    <a:pt x="0" y="1418"/>
                  </a:lnTo>
                  <a:lnTo>
                    <a:pt x="0" y="0"/>
                  </a:lnTo>
                  <a:lnTo>
                    <a:pt x="2788" y="2652"/>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endParaRPr lang="en-US"/>
            </a:p>
          </p:txBody>
        </p:sp>
      </p:grpSp>
      <p:pic>
        <p:nvPicPr>
          <p:cNvPr id="12" name="Graphic 11">
            <a:extLst>
              <a:ext uri="{FF2B5EF4-FFF2-40B4-BE49-F238E27FC236}">
                <a16:creationId xmlns:a16="http://schemas.microsoft.com/office/drawing/2014/main" id="{7C5DE278-648C-EB41-A545-CE5D0A12627F}"/>
              </a:ext>
            </a:extLst>
          </p:cNvPr>
          <p:cNvPicPr>
            <a:picLocks noChangeAspect="1"/>
          </p:cNvPicPr>
          <p:nvPr userDrawn="1"/>
        </p:nvPicPr>
        <p:blipFill>
          <a:blip r:embed="rId81">
            <a:extLst>
              <a:ext uri="{96DAC541-7B7A-43D3-8B79-37D633B846F1}">
                <asvg:svgBlip xmlns:asvg="http://schemas.microsoft.com/office/drawing/2016/SVG/main" r:embed="rId82"/>
              </a:ext>
            </a:extLst>
          </a:blip>
          <a:srcRect/>
          <a:stretch/>
        </p:blipFill>
        <p:spPr>
          <a:xfrm>
            <a:off x="10820265" y="6419060"/>
            <a:ext cx="762923" cy="205636"/>
          </a:xfrm>
          <a:prstGeom prst="rect">
            <a:avLst/>
          </a:prstGeom>
        </p:spPr>
      </p:pic>
      <p:sp>
        <p:nvSpPr>
          <p:cNvPr id="13" name="Footer Placeholder 14">
            <a:extLst>
              <a:ext uri="{FF2B5EF4-FFF2-40B4-BE49-F238E27FC236}">
                <a16:creationId xmlns:a16="http://schemas.microsoft.com/office/drawing/2014/main" id="{F504F002-3AC8-1544-BD53-1F4C3ECC8810}"/>
              </a:ext>
            </a:extLst>
          </p:cNvPr>
          <p:cNvSpPr txBox="1">
            <a:spLocks/>
          </p:cNvSpPr>
          <p:nvPr userDrawn="1"/>
        </p:nvSpPr>
        <p:spPr>
          <a:xfrm>
            <a:off x="1205299" y="6410231"/>
            <a:ext cx="2157779" cy="228599"/>
          </a:xfrm>
          <a:prstGeom prst="rect">
            <a:avLst/>
          </a:prstGeom>
        </p:spPr>
        <p:txBody>
          <a:bodyPr vert="horz" lIns="0" tIns="0" rIns="0" bIns="0" rtlCol="0" anchor="ctr"/>
          <a:lstStyle>
            <a:defPPr>
              <a:defRPr lang="en-US"/>
            </a:defPPr>
            <a:lvl1pPr marL="0" algn="r" defTabSz="914400" rtl="0" eaLnBrk="1" latinLnBrk="0" hangingPunct="1">
              <a:defRPr sz="600" b="0" i="0" kern="1200">
                <a:solidFill>
                  <a:schemeClr val="tx1"/>
                </a:solidFill>
                <a:latin typeface="+mn-lt"/>
                <a:ea typeface="Calibri" panose="020F0502020204030204" pitchFamily="34" charset="0"/>
                <a:cs typeface="Calibri" panose="020F050202020403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b="0" i="0">
                <a:solidFill>
                  <a:schemeClr val="tx1"/>
                </a:solidFill>
                <a:latin typeface="+mn-lt"/>
              </a:rPr>
              <a:t>EPAM Proprietary &amp; Confidential</a:t>
            </a:r>
            <a:r>
              <a:rPr lang="ru-RU" b="0" i="0">
                <a:solidFill>
                  <a:schemeClr val="tx1"/>
                </a:solidFill>
                <a:latin typeface="+mn-lt"/>
              </a:rPr>
              <a:t> </a:t>
            </a:r>
            <a:endParaRPr lang="en-US" b="0" i="0">
              <a:solidFill>
                <a:schemeClr val="tx1"/>
              </a:solidFill>
              <a:latin typeface="+mn-lt"/>
            </a:endParaRPr>
          </a:p>
        </p:txBody>
      </p:sp>
      <p:sp>
        <p:nvSpPr>
          <p:cNvPr id="15" name="Title Placeholder 1">
            <a:extLst>
              <a:ext uri="{FF2B5EF4-FFF2-40B4-BE49-F238E27FC236}">
                <a16:creationId xmlns:a16="http://schemas.microsoft.com/office/drawing/2014/main" id="{6E00D5E6-AAFD-99BC-E07E-AAD494BD5D01}"/>
              </a:ext>
            </a:extLst>
          </p:cNvPr>
          <p:cNvSpPr>
            <a:spLocks noGrp="1"/>
          </p:cNvSpPr>
          <p:nvPr>
            <p:ph type="title"/>
          </p:nvPr>
        </p:nvSpPr>
        <p:spPr>
          <a:xfrm>
            <a:off x="625124" y="836613"/>
            <a:ext cx="10942990" cy="396874"/>
          </a:xfrm>
          <a:prstGeom prst="rect">
            <a:avLst/>
          </a:prstGeom>
        </p:spPr>
        <p:txBody>
          <a:bodyPr vert="horz" lIns="0" tIns="0" rIns="0" bIns="0" rtlCol="0" anchor="t">
            <a:noAutofit/>
          </a:bodyPr>
          <a:lstStyle/>
          <a:p>
            <a:r>
              <a:rPr lang="en-US"/>
              <a:t>Click to edit Master title style</a:t>
            </a:r>
          </a:p>
        </p:txBody>
      </p:sp>
      <p:sp>
        <p:nvSpPr>
          <p:cNvPr id="16" name="Text Placeholder 2">
            <a:extLst>
              <a:ext uri="{FF2B5EF4-FFF2-40B4-BE49-F238E27FC236}">
                <a16:creationId xmlns:a16="http://schemas.microsoft.com/office/drawing/2014/main" id="{BF789C7A-7B40-F7F6-D9FA-74A568A4FC01}"/>
              </a:ext>
            </a:extLst>
          </p:cNvPr>
          <p:cNvSpPr>
            <a:spLocks noGrp="1"/>
          </p:cNvSpPr>
          <p:nvPr>
            <p:ph type="body" idx="1"/>
          </p:nvPr>
        </p:nvSpPr>
        <p:spPr>
          <a:xfrm>
            <a:off x="625122" y="1700213"/>
            <a:ext cx="10942991" cy="4500562"/>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25765521"/>
      </p:ext>
    </p:extLst>
  </p:cSld>
  <p:clrMap bg1="lt1" tx1="dk1" bg2="lt2" tx2="dk2" accent1="accent1" accent2="accent2" accent3="accent3" accent4="accent4" accent5="accent5" accent6="accent6" hlink="hlink" folHlink="folHlink"/>
  <p:sldLayoutIdLst>
    <p:sldLayoutId id="2147483903" r:id="rId1"/>
    <p:sldLayoutId id="2147483904" r:id="rId2"/>
    <p:sldLayoutId id="2147483905" r:id="rId3"/>
    <p:sldLayoutId id="2147483906" r:id="rId4"/>
    <p:sldLayoutId id="2147483907" r:id="rId5"/>
    <p:sldLayoutId id="2147483908" r:id="rId6"/>
    <p:sldLayoutId id="2147483909" r:id="rId7"/>
    <p:sldLayoutId id="2147483910" r:id="rId8"/>
    <p:sldLayoutId id="2147483911" r:id="rId9"/>
    <p:sldLayoutId id="2147483912" r:id="rId10"/>
    <p:sldLayoutId id="2147483913" r:id="rId11"/>
    <p:sldLayoutId id="2147483914" r:id="rId12"/>
    <p:sldLayoutId id="2147483915" r:id="rId13"/>
    <p:sldLayoutId id="2147483916" r:id="rId14"/>
    <p:sldLayoutId id="2147483917" r:id="rId15"/>
    <p:sldLayoutId id="2147483918" r:id="rId16"/>
    <p:sldLayoutId id="2147483919" r:id="rId17"/>
    <p:sldLayoutId id="2147483920" r:id="rId18"/>
    <p:sldLayoutId id="2147483921" r:id="rId19"/>
    <p:sldLayoutId id="2147483922" r:id="rId20"/>
    <p:sldLayoutId id="2147483923" r:id="rId21"/>
    <p:sldLayoutId id="2147483924" r:id="rId22"/>
    <p:sldLayoutId id="2147483925" r:id="rId23"/>
    <p:sldLayoutId id="2147483926" r:id="rId24"/>
    <p:sldLayoutId id="2147483927" r:id="rId25"/>
    <p:sldLayoutId id="2147483928" r:id="rId26"/>
    <p:sldLayoutId id="2147483929" r:id="rId27"/>
    <p:sldLayoutId id="2147483930" r:id="rId28"/>
    <p:sldLayoutId id="2147483931" r:id="rId29"/>
    <p:sldLayoutId id="2147483932" r:id="rId30"/>
    <p:sldLayoutId id="2147483933" r:id="rId31"/>
    <p:sldLayoutId id="2147483934" r:id="rId32"/>
    <p:sldLayoutId id="2147483935" r:id="rId33"/>
    <p:sldLayoutId id="2147483936" r:id="rId34"/>
    <p:sldLayoutId id="2147483937" r:id="rId35"/>
    <p:sldLayoutId id="2147483938" r:id="rId36"/>
    <p:sldLayoutId id="2147483939" r:id="rId37"/>
    <p:sldLayoutId id="2147483940" r:id="rId38"/>
    <p:sldLayoutId id="2147483941" r:id="rId39"/>
    <p:sldLayoutId id="2147483942" r:id="rId40"/>
    <p:sldLayoutId id="2147483943" r:id="rId41"/>
    <p:sldLayoutId id="2147483944" r:id="rId42"/>
    <p:sldLayoutId id="2147483945" r:id="rId43"/>
    <p:sldLayoutId id="2147483946" r:id="rId44"/>
    <p:sldLayoutId id="2147483947" r:id="rId45"/>
    <p:sldLayoutId id="2147483948" r:id="rId46"/>
    <p:sldLayoutId id="2147483949" r:id="rId47"/>
    <p:sldLayoutId id="2147483950" r:id="rId48"/>
    <p:sldLayoutId id="2147483951" r:id="rId49"/>
    <p:sldLayoutId id="2147483952" r:id="rId50"/>
    <p:sldLayoutId id="2147483953" r:id="rId51"/>
    <p:sldLayoutId id="2147483954" r:id="rId52"/>
    <p:sldLayoutId id="2147483955" r:id="rId53"/>
    <p:sldLayoutId id="2147483956" r:id="rId54"/>
    <p:sldLayoutId id="2147483957" r:id="rId55"/>
    <p:sldLayoutId id="2147483958" r:id="rId56"/>
    <p:sldLayoutId id="2147483959" r:id="rId57"/>
    <p:sldLayoutId id="2147483960" r:id="rId58"/>
    <p:sldLayoutId id="2147483961" r:id="rId59"/>
    <p:sldLayoutId id="2147483962" r:id="rId60"/>
    <p:sldLayoutId id="2147483963" r:id="rId61"/>
    <p:sldLayoutId id="2147483964" r:id="rId62"/>
    <p:sldLayoutId id="2147483965" r:id="rId63"/>
    <p:sldLayoutId id="2147483966" r:id="rId64"/>
    <p:sldLayoutId id="2147483967" r:id="rId65"/>
    <p:sldLayoutId id="2147483968" r:id="rId66"/>
    <p:sldLayoutId id="2147483969" r:id="rId67"/>
    <p:sldLayoutId id="2147483970" r:id="rId68"/>
    <p:sldLayoutId id="2147483971" r:id="rId69"/>
    <p:sldLayoutId id="2147483972" r:id="rId70"/>
    <p:sldLayoutId id="2147483973" r:id="rId71"/>
    <p:sldLayoutId id="2147483974" r:id="rId72"/>
    <p:sldLayoutId id="2147483975" r:id="rId73"/>
    <p:sldLayoutId id="2147483976" r:id="rId74"/>
    <p:sldLayoutId id="2147483977" r:id="rId75"/>
    <p:sldLayoutId id="2147483978" r:id="rId76"/>
    <p:sldLayoutId id="2147483979" r:id="rId77"/>
    <p:sldLayoutId id="2147483980" r:id="rId78"/>
    <p:sldLayoutId id="2147483981" r:id="rId79"/>
  </p:sldLayoutIdLst>
  <p:hf hdr="0" dt="0"/>
  <p:txStyles>
    <p:titleStyle>
      <a:lvl1pPr algn="l" defTabSz="914400" rtl="0" eaLnBrk="1" latinLnBrk="0" hangingPunct="1">
        <a:lnSpc>
          <a:spcPct val="100000"/>
        </a:lnSpc>
        <a:spcBef>
          <a:spcPct val="0"/>
        </a:spcBef>
        <a:buNone/>
        <a:defRPr sz="2200" b="1" i="0" kern="1200">
          <a:solidFill>
            <a:schemeClr val="tx1"/>
          </a:solidFill>
          <a:latin typeface="+mj-lt"/>
          <a:ea typeface="Calibri" panose="020F0502020204030204" pitchFamily="34" charset="0"/>
          <a:cs typeface="Calibri" panose="020F0502020204030204" pitchFamily="34" charset="0"/>
        </a:defRPr>
      </a:lvl1pPr>
    </p:titleStyle>
    <p:bodyStyle>
      <a:lvl1pPr marL="0" indent="0" algn="l" defTabSz="914400" rtl="0" eaLnBrk="1" latinLnBrk="0" hangingPunct="1">
        <a:lnSpc>
          <a:spcPct val="110000"/>
        </a:lnSpc>
        <a:spcBef>
          <a:spcPts val="600"/>
        </a:spcBef>
        <a:spcAft>
          <a:spcPts val="0"/>
        </a:spcAft>
        <a:buFont typeface="Arial" panose="020B0604020202020204" pitchFamily="34" charset="0"/>
        <a:buNone/>
        <a:tabLst/>
        <a:defRPr lang="en-GB" sz="1200" b="0" i="0" kern="1200" baseline="0">
          <a:solidFill>
            <a:schemeClr val="tx1"/>
          </a:solidFill>
          <a:latin typeface="Calibri Light" panose="020F0302020204030204" pitchFamily="34" charset="0"/>
          <a:ea typeface="Source Sans Pro" panose="020B0503030403020204" pitchFamily="34" charset="0"/>
          <a:cs typeface="Calibri Light" panose="020F0302020204030204" pitchFamily="34" charset="0"/>
        </a:defRPr>
      </a:lvl1pPr>
      <a:lvl2pPr marL="6350" indent="0" algn="l" defTabSz="914400" rtl="0" eaLnBrk="1" latinLnBrk="0" hangingPunct="1">
        <a:lnSpc>
          <a:spcPct val="110000"/>
        </a:lnSpc>
        <a:spcBef>
          <a:spcPts val="600"/>
        </a:spcBef>
        <a:spcAft>
          <a:spcPts val="0"/>
        </a:spcAft>
        <a:buFont typeface="Arial" panose="020B0604020202020204" pitchFamily="34" charset="0"/>
        <a:buNone/>
        <a:tabLst/>
        <a:defRPr lang="en-GB" sz="1200" b="0" i="0" kern="1200">
          <a:solidFill>
            <a:schemeClr val="tx1"/>
          </a:solidFill>
          <a:latin typeface="Calibri Light" panose="020F0302020204030204" pitchFamily="34" charset="0"/>
          <a:ea typeface="Source Sans Pro" panose="020B0503030403020204" pitchFamily="34" charset="0"/>
          <a:cs typeface="Calibri Light" panose="020F0302020204030204" pitchFamily="34" charset="0"/>
        </a:defRPr>
      </a:lvl2pPr>
      <a:lvl3pPr marL="228600" indent="-228600" algn="l" defTabSz="914400" rtl="0" eaLnBrk="1" latinLnBrk="0" hangingPunct="1">
        <a:lnSpc>
          <a:spcPct val="110000"/>
        </a:lnSpc>
        <a:spcBef>
          <a:spcPts val="600"/>
        </a:spcBef>
        <a:spcAft>
          <a:spcPts val="0"/>
        </a:spcAft>
        <a:buFont typeface="Arial" panose="020B0604020202020204" pitchFamily="34" charset="0"/>
        <a:buChar char="•"/>
        <a:tabLst/>
        <a:defRPr lang="en-GB" sz="1200" b="0" i="0" kern="1200">
          <a:solidFill>
            <a:schemeClr val="tx1"/>
          </a:solidFill>
          <a:latin typeface="Calibri Light" panose="020F0302020204030204" pitchFamily="34" charset="0"/>
          <a:ea typeface="Source Sans Pro" panose="020B0503030403020204" pitchFamily="34" charset="0"/>
          <a:cs typeface="Calibri Light" panose="020F0302020204030204" pitchFamily="34" charset="0"/>
        </a:defRPr>
      </a:lvl3pPr>
      <a:lvl4pPr marL="401638" indent="-228600" algn="l" defTabSz="914400" rtl="0" eaLnBrk="1" latinLnBrk="0" hangingPunct="1">
        <a:lnSpc>
          <a:spcPct val="110000"/>
        </a:lnSpc>
        <a:spcBef>
          <a:spcPts val="600"/>
        </a:spcBef>
        <a:spcAft>
          <a:spcPts val="0"/>
        </a:spcAft>
        <a:buFont typeface="Arial" panose="020B0604020202020204" pitchFamily="34" charset="0"/>
        <a:buChar char="•"/>
        <a:tabLst/>
        <a:defRPr lang="en-GB" sz="1200" b="0" i="0" kern="1200">
          <a:solidFill>
            <a:schemeClr val="tx1"/>
          </a:solidFill>
          <a:latin typeface="Calibri Light" panose="020F0302020204030204" pitchFamily="34" charset="0"/>
          <a:ea typeface="Source Sans Pro" panose="020B0503030403020204" pitchFamily="34" charset="0"/>
          <a:cs typeface="Calibri Light" panose="020F0302020204030204" pitchFamily="34" charset="0"/>
        </a:defRPr>
      </a:lvl4pPr>
      <a:lvl5pPr marL="582613" indent="-228600" algn="l" defTabSz="914400" rtl="0" eaLnBrk="1" latinLnBrk="0" hangingPunct="1">
        <a:lnSpc>
          <a:spcPct val="110000"/>
        </a:lnSpc>
        <a:spcBef>
          <a:spcPts val="600"/>
        </a:spcBef>
        <a:spcAft>
          <a:spcPts val="0"/>
        </a:spcAft>
        <a:buFont typeface="Arial" panose="020B0604020202020204" pitchFamily="34" charset="0"/>
        <a:buChar char="•"/>
        <a:tabLst/>
        <a:defRPr lang="en-US" sz="1200" b="0" i="0" kern="1200" dirty="0">
          <a:solidFill>
            <a:schemeClr val="tx1"/>
          </a:solidFill>
          <a:latin typeface="Calibri Light" panose="020F0302020204030204" pitchFamily="34" charset="0"/>
          <a:ea typeface="Source Sans Pro" panose="020B0503030403020204" pitchFamily="34" charset="0"/>
          <a:cs typeface="Calibri Light" panose="020F03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7" orient="horz" pos="232" userDrawn="1">
          <p15:clr>
            <a:srgbClr val="F26B43"/>
          </p15:clr>
        </p15:guide>
        <p15:guide id="18" orient="horz" pos="527" userDrawn="1">
          <p15:clr>
            <a:srgbClr val="F26B43"/>
          </p15:clr>
        </p15:guide>
        <p15:guide id="20" orient="horz" pos="777" userDrawn="1">
          <p15:clr>
            <a:srgbClr val="F26B43"/>
          </p15:clr>
        </p15:guide>
        <p15:guide id="22" orient="horz" pos="1071" userDrawn="1">
          <p15:clr>
            <a:srgbClr val="F26B43"/>
          </p15:clr>
        </p15:guide>
        <p15:guide id="31" orient="horz" pos="1253" userDrawn="1">
          <p15:clr>
            <a:srgbClr val="F26B43"/>
          </p15:clr>
        </p15:guide>
        <p15:guide id="40" orient="horz" pos="3906" userDrawn="1">
          <p15:clr>
            <a:srgbClr val="F26B43"/>
          </p15:clr>
        </p15:guide>
        <p15:guide id="43" orient="horz" pos="4176">
          <p15:clr>
            <a:srgbClr val="F26B43"/>
          </p15:clr>
        </p15:guide>
        <p15:guide id="56" orient="horz">
          <p15:clr>
            <a:srgbClr val="F26B43"/>
          </p15:clr>
        </p15:guide>
        <p15:guide id="57" orient="horz" pos="4320">
          <p15:clr>
            <a:srgbClr val="F26B43"/>
          </p15:clr>
        </p15:guide>
        <p15:guide id="58" orient="horz" pos="4032">
          <p15:clr>
            <a:srgbClr val="F26B43"/>
          </p15:clr>
        </p15:guide>
        <p15:guide id="59" pos="393" userDrawn="1">
          <p15:clr>
            <a:srgbClr val="F26B43"/>
          </p15:clr>
        </p15:guide>
        <p15:guide id="61" pos="7287" userDrawn="1">
          <p15:clr>
            <a:srgbClr val="F26B43"/>
          </p15:clr>
        </p15:guide>
        <p15:guide id="62" pos="1345" userDrawn="1">
          <p15:clr>
            <a:srgbClr val="F26B43"/>
          </p15:clr>
        </p15:guide>
        <p15:guide id="70" pos="3908" userDrawn="1">
          <p15:clr>
            <a:srgbClr val="F26B43"/>
          </p15:clr>
        </p15:guide>
        <p15:guide id="73" pos="3749" userDrawn="1">
          <p15:clr>
            <a:srgbClr val="F26B43"/>
          </p15:clr>
        </p15:guide>
        <p15:guide id="76" pos="4974" userDrawn="1">
          <p15:clr>
            <a:srgbClr val="F26B43"/>
          </p15:clr>
        </p15:guide>
        <p15:guide id="81" pos="6335" userDrawn="1">
          <p15:clr>
            <a:srgbClr val="F26B43"/>
          </p15:clr>
        </p15:guide>
        <p15:guide id="82" pos="1504" userDrawn="1">
          <p15:clr>
            <a:srgbClr val="F26B43"/>
          </p15:clr>
        </p15:guide>
        <p15:guide id="83" pos="5133" userDrawn="1">
          <p15:clr>
            <a:srgbClr val="F26B43"/>
          </p15:clr>
        </p15:guide>
        <p15:guide id="84" pos="6176" userDrawn="1">
          <p15:clr>
            <a:srgbClr val="F26B43"/>
          </p15:clr>
        </p15:guide>
        <p15:guide id="85" pos="2706" userDrawn="1">
          <p15:clr>
            <a:srgbClr val="F26B43"/>
          </p15:clr>
        </p15:guide>
        <p15:guide id="86" pos="2547"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1.xml"/><Relationship Id="rId1" Type="http://schemas.openxmlformats.org/officeDocument/2006/relationships/slideLayout" Target="../slideLayouts/slideLayout1.xml"/><Relationship Id="rId5" Type="http://schemas.openxmlformats.org/officeDocument/2006/relationships/image" Target="../media/image4.png"/><Relationship Id="rId4" Type="http://schemas.openxmlformats.org/officeDocument/2006/relationships/image" Target="../media/image3.emf"/></Relationships>
</file>

<file path=ppt/slides/_rels/slide10.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10.xml"/><Relationship Id="rId1" Type="http://schemas.openxmlformats.org/officeDocument/2006/relationships/slideLayout" Target="../slideLayouts/slideLayout17.xml"/></Relationships>
</file>

<file path=ppt/slides/_rels/slide11.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11.xml"/><Relationship Id="rId1" Type="http://schemas.openxmlformats.org/officeDocument/2006/relationships/slideLayout" Target="../slideLayouts/slideLayout14.xml"/><Relationship Id="rId6" Type="http://schemas.openxmlformats.org/officeDocument/2006/relationships/image" Target="../media/image24.png"/><Relationship Id="rId5" Type="http://schemas.openxmlformats.org/officeDocument/2006/relationships/image" Target="../media/image23.png"/><Relationship Id="rId4" Type="http://schemas.openxmlformats.org/officeDocument/2006/relationships/image" Target="../media/image22.png"/></Relationships>
</file>

<file path=ppt/slides/_rels/slide12.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12.xml"/><Relationship Id="rId1" Type="http://schemas.openxmlformats.org/officeDocument/2006/relationships/slideLayout" Target="../slideLayouts/slideLayout17.xml"/></Relationships>
</file>

<file path=ppt/slides/_rels/slide13.xml.rels><?xml version="1.0" encoding="UTF-8" standalone="yes"?>
<Relationships xmlns="http://schemas.openxmlformats.org/package/2006/relationships"><Relationship Id="rId3" Type="http://schemas.openxmlformats.org/officeDocument/2006/relationships/image" Target="../media/image26.jpeg"/><Relationship Id="rId2" Type="http://schemas.openxmlformats.org/officeDocument/2006/relationships/notesSlide" Target="../notesSlides/notesSlide13.xml"/><Relationship Id="rId1" Type="http://schemas.openxmlformats.org/officeDocument/2006/relationships/slideLayout" Target="../slideLayouts/slideLayout19.xml"/></Relationships>
</file>

<file path=ppt/slides/_rels/slide14.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14.xml"/><Relationship Id="rId1" Type="http://schemas.openxmlformats.org/officeDocument/2006/relationships/slideLayout" Target="../slideLayouts/slideLayout19.xml"/></Relationships>
</file>

<file path=ppt/slides/_rels/slide15.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15.xml"/><Relationship Id="rId1" Type="http://schemas.openxmlformats.org/officeDocument/2006/relationships/slideLayout" Target="../slideLayouts/slideLayout19.xml"/></Relationships>
</file>

<file path=ppt/slides/_rels/slide16.xml.rels><?xml version="1.0" encoding="UTF-8" standalone="yes"?>
<Relationships xmlns="http://schemas.openxmlformats.org/package/2006/relationships"><Relationship Id="rId8" Type="http://schemas.openxmlformats.org/officeDocument/2006/relationships/image" Target="../media/image32.png"/><Relationship Id="rId3" Type="http://schemas.openxmlformats.org/officeDocument/2006/relationships/image" Target="../media/image28.png"/><Relationship Id="rId7" Type="http://schemas.openxmlformats.org/officeDocument/2006/relationships/image" Target="../media/image31.png"/><Relationship Id="rId2" Type="http://schemas.openxmlformats.org/officeDocument/2006/relationships/notesSlide" Target="../notesSlides/notesSlide16.xml"/><Relationship Id="rId1" Type="http://schemas.openxmlformats.org/officeDocument/2006/relationships/slideLayout" Target="../slideLayouts/slideLayout19.xml"/><Relationship Id="rId6" Type="http://schemas.openxmlformats.org/officeDocument/2006/relationships/image" Target="../media/image18.png"/><Relationship Id="rId5" Type="http://schemas.openxmlformats.org/officeDocument/2006/relationships/image" Target="../media/image30.png"/><Relationship Id="rId10" Type="http://schemas.openxmlformats.org/officeDocument/2006/relationships/image" Target="../media/image34.png"/><Relationship Id="rId4" Type="http://schemas.openxmlformats.org/officeDocument/2006/relationships/image" Target="../media/image29.png"/><Relationship Id="rId9" Type="http://schemas.openxmlformats.org/officeDocument/2006/relationships/image" Target="../media/image33.png"/></Relationships>
</file>

<file path=ppt/slides/_rels/slide17.xml.rels><?xml version="1.0" encoding="UTF-8" standalone="yes"?>
<Relationships xmlns="http://schemas.openxmlformats.org/package/2006/relationships"><Relationship Id="rId8" Type="http://schemas.openxmlformats.org/officeDocument/2006/relationships/image" Target="../media/image31.png"/><Relationship Id="rId3" Type="http://schemas.openxmlformats.org/officeDocument/2006/relationships/image" Target="../media/image34.png"/><Relationship Id="rId7" Type="http://schemas.openxmlformats.org/officeDocument/2006/relationships/image" Target="../media/image18.png"/><Relationship Id="rId2" Type="http://schemas.openxmlformats.org/officeDocument/2006/relationships/notesSlide" Target="../notesSlides/notesSlide17.xml"/><Relationship Id="rId1" Type="http://schemas.openxmlformats.org/officeDocument/2006/relationships/slideLayout" Target="../slideLayouts/slideLayout17.xml"/><Relationship Id="rId6" Type="http://schemas.openxmlformats.org/officeDocument/2006/relationships/image" Target="../media/image30.png"/><Relationship Id="rId5" Type="http://schemas.openxmlformats.org/officeDocument/2006/relationships/image" Target="../media/image29.png"/><Relationship Id="rId10" Type="http://schemas.openxmlformats.org/officeDocument/2006/relationships/image" Target="../media/image33.png"/><Relationship Id="rId4" Type="http://schemas.openxmlformats.org/officeDocument/2006/relationships/image" Target="../media/image28.png"/><Relationship Id="rId9" Type="http://schemas.openxmlformats.org/officeDocument/2006/relationships/image" Target="../media/image32.png"/></Relationships>
</file>

<file path=ppt/slides/_rels/slide18.xml.rels><?xml version="1.0" encoding="UTF-8" standalone="yes"?>
<Relationships xmlns="http://schemas.openxmlformats.org/package/2006/relationships"><Relationship Id="rId8" Type="http://schemas.openxmlformats.org/officeDocument/2006/relationships/image" Target="../media/image31.png"/><Relationship Id="rId3" Type="http://schemas.openxmlformats.org/officeDocument/2006/relationships/image" Target="../media/image34.png"/><Relationship Id="rId7" Type="http://schemas.openxmlformats.org/officeDocument/2006/relationships/image" Target="../media/image18.png"/><Relationship Id="rId2" Type="http://schemas.openxmlformats.org/officeDocument/2006/relationships/notesSlide" Target="../notesSlides/notesSlide18.xml"/><Relationship Id="rId1" Type="http://schemas.openxmlformats.org/officeDocument/2006/relationships/slideLayout" Target="../slideLayouts/slideLayout17.xml"/><Relationship Id="rId6" Type="http://schemas.openxmlformats.org/officeDocument/2006/relationships/image" Target="../media/image30.png"/><Relationship Id="rId5" Type="http://schemas.openxmlformats.org/officeDocument/2006/relationships/image" Target="../media/image29.png"/><Relationship Id="rId10" Type="http://schemas.openxmlformats.org/officeDocument/2006/relationships/image" Target="../media/image33.png"/><Relationship Id="rId4" Type="http://schemas.openxmlformats.org/officeDocument/2006/relationships/image" Target="../media/image28.png"/><Relationship Id="rId9" Type="http://schemas.openxmlformats.org/officeDocument/2006/relationships/image" Target="../media/image32.png"/></Relationships>
</file>

<file path=ppt/slides/_rels/slide19.xml.rels><?xml version="1.0" encoding="UTF-8" standalone="yes"?>
<Relationships xmlns="http://schemas.openxmlformats.org/package/2006/relationships"><Relationship Id="rId8" Type="http://schemas.openxmlformats.org/officeDocument/2006/relationships/image" Target="../media/image31.png"/><Relationship Id="rId3" Type="http://schemas.openxmlformats.org/officeDocument/2006/relationships/image" Target="../media/image34.png"/><Relationship Id="rId7" Type="http://schemas.openxmlformats.org/officeDocument/2006/relationships/image" Target="../media/image18.png"/><Relationship Id="rId2" Type="http://schemas.openxmlformats.org/officeDocument/2006/relationships/notesSlide" Target="../notesSlides/notesSlide19.xml"/><Relationship Id="rId1" Type="http://schemas.openxmlformats.org/officeDocument/2006/relationships/slideLayout" Target="../slideLayouts/slideLayout17.xml"/><Relationship Id="rId6" Type="http://schemas.openxmlformats.org/officeDocument/2006/relationships/image" Target="../media/image30.png"/><Relationship Id="rId5" Type="http://schemas.openxmlformats.org/officeDocument/2006/relationships/image" Target="../media/image29.png"/><Relationship Id="rId10" Type="http://schemas.openxmlformats.org/officeDocument/2006/relationships/image" Target="../media/image33.png"/><Relationship Id="rId4" Type="http://schemas.openxmlformats.org/officeDocument/2006/relationships/image" Target="../media/image28.png"/><Relationship Id="rId9" Type="http://schemas.openxmlformats.org/officeDocument/2006/relationships/image" Target="../media/image32.png"/></Relationships>
</file>

<file path=ppt/slides/_rels/slide2.xml.rels><?xml version="1.0" encoding="UTF-8" standalone="yes"?>
<Relationships xmlns="http://schemas.openxmlformats.org/package/2006/relationships"><Relationship Id="rId3" Type="http://schemas.openxmlformats.org/officeDocument/2006/relationships/tags" Target="../tags/tag3.xml"/><Relationship Id="rId7" Type="http://schemas.openxmlformats.org/officeDocument/2006/relationships/slide" Target="slide5.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notesSlide" Target="../notesSlides/notesSlide2.xml"/><Relationship Id="rId5" Type="http://schemas.openxmlformats.org/officeDocument/2006/relationships/slideLayout" Target="../slideLayouts/slideLayout6.xml"/><Relationship Id="rId4" Type="http://schemas.openxmlformats.org/officeDocument/2006/relationships/tags" Target="../tags/tag4.xml"/></Relationships>
</file>

<file path=ppt/slides/_rels/slide20.xml.rels><?xml version="1.0" encoding="UTF-8" standalone="yes"?>
<Relationships xmlns="http://schemas.openxmlformats.org/package/2006/relationships"><Relationship Id="rId8" Type="http://schemas.openxmlformats.org/officeDocument/2006/relationships/image" Target="../media/image31.png"/><Relationship Id="rId3" Type="http://schemas.openxmlformats.org/officeDocument/2006/relationships/image" Target="../media/image34.png"/><Relationship Id="rId7" Type="http://schemas.openxmlformats.org/officeDocument/2006/relationships/image" Target="../media/image18.png"/><Relationship Id="rId2" Type="http://schemas.openxmlformats.org/officeDocument/2006/relationships/notesSlide" Target="../notesSlides/notesSlide20.xml"/><Relationship Id="rId1" Type="http://schemas.openxmlformats.org/officeDocument/2006/relationships/slideLayout" Target="../slideLayouts/slideLayout17.xml"/><Relationship Id="rId6" Type="http://schemas.openxmlformats.org/officeDocument/2006/relationships/image" Target="../media/image30.png"/><Relationship Id="rId5" Type="http://schemas.openxmlformats.org/officeDocument/2006/relationships/image" Target="../media/image29.png"/><Relationship Id="rId10" Type="http://schemas.openxmlformats.org/officeDocument/2006/relationships/image" Target="../media/image33.png"/><Relationship Id="rId4" Type="http://schemas.openxmlformats.org/officeDocument/2006/relationships/image" Target="../media/image28.png"/><Relationship Id="rId9" Type="http://schemas.openxmlformats.org/officeDocument/2006/relationships/image" Target="../media/image32.png"/></Relationships>
</file>

<file path=ppt/slides/_rels/slide21.xml.rels><?xml version="1.0" encoding="UTF-8" standalone="yes"?>
<Relationships xmlns="http://schemas.openxmlformats.org/package/2006/relationships"><Relationship Id="rId8" Type="http://schemas.openxmlformats.org/officeDocument/2006/relationships/image" Target="../media/image31.png"/><Relationship Id="rId3" Type="http://schemas.openxmlformats.org/officeDocument/2006/relationships/image" Target="../media/image34.png"/><Relationship Id="rId7" Type="http://schemas.openxmlformats.org/officeDocument/2006/relationships/image" Target="../media/image18.png"/><Relationship Id="rId2" Type="http://schemas.openxmlformats.org/officeDocument/2006/relationships/notesSlide" Target="../notesSlides/notesSlide21.xml"/><Relationship Id="rId1" Type="http://schemas.openxmlformats.org/officeDocument/2006/relationships/slideLayout" Target="../slideLayouts/slideLayout17.xml"/><Relationship Id="rId6" Type="http://schemas.openxmlformats.org/officeDocument/2006/relationships/image" Target="../media/image30.png"/><Relationship Id="rId5" Type="http://schemas.openxmlformats.org/officeDocument/2006/relationships/image" Target="../media/image29.png"/><Relationship Id="rId10" Type="http://schemas.openxmlformats.org/officeDocument/2006/relationships/image" Target="../media/image33.png"/><Relationship Id="rId4" Type="http://schemas.openxmlformats.org/officeDocument/2006/relationships/image" Target="../media/image28.png"/><Relationship Id="rId9" Type="http://schemas.openxmlformats.org/officeDocument/2006/relationships/image" Target="../media/image32.png"/></Relationships>
</file>

<file path=ppt/slides/_rels/slide22.xml.rels><?xml version="1.0" encoding="UTF-8" standalone="yes"?>
<Relationships xmlns="http://schemas.openxmlformats.org/package/2006/relationships"><Relationship Id="rId8" Type="http://schemas.openxmlformats.org/officeDocument/2006/relationships/image" Target="../media/image31.png"/><Relationship Id="rId3" Type="http://schemas.openxmlformats.org/officeDocument/2006/relationships/image" Target="../media/image34.png"/><Relationship Id="rId7" Type="http://schemas.openxmlformats.org/officeDocument/2006/relationships/image" Target="../media/image18.png"/><Relationship Id="rId2" Type="http://schemas.openxmlformats.org/officeDocument/2006/relationships/notesSlide" Target="../notesSlides/notesSlide22.xml"/><Relationship Id="rId1" Type="http://schemas.openxmlformats.org/officeDocument/2006/relationships/slideLayout" Target="../slideLayouts/slideLayout17.xml"/><Relationship Id="rId6" Type="http://schemas.openxmlformats.org/officeDocument/2006/relationships/image" Target="../media/image30.png"/><Relationship Id="rId5" Type="http://schemas.openxmlformats.org/officeDocument/2006/relationships/image" Target="../media/image29.png"/><Relationship Id="rId10" Type="http://schemas.openxmlformats.org/officeDocument/2006/relationships/image" Target="../media/image33.png"/><Relationship Id="rId4" Type="http://schemas.openxmlformats.org/officeDocument/2006/relationships/image" Target="../media/image28.png"/><Relationship Id="rId9" Type="http://schemas.openxmlformats.org/officeDocument/2006/relationships/image" Target="../media/image32.png"/></Relationships>
</file>

<file path=ppt/slides/_rels/slide23.xml.rels><?xml version="1.0" encoding="UTF-8" standalone="yes"?>
<Relationships xmlns="http://schemas.openxmlformats.org/package/2006/relationships"><Relationship Id="rId8" Type="http://schemas.openxmlformats.org/officeDocument/2006/relationships/image" Target="../media/image31.png"/><Relationship Id="rId3" Type="http://schemas.openxmlformats.org/officeDocument/2006/relationships/image" Target="../media/image34.png"/><Relationship Id="rId7" Type="http://schemas.openxmlformats.org/officeDocument/2006/relationships/image" Target="../media/image18.png"/><Relationship Id="rId2" Type="http://schemas.openxmlformats.org/officeDocument/2006/relationships/notesSlide" Target="../notesSlides/notesSlide23.xml"/><Relationship Id="rId1" Type="http://schemas.openxmlformats.org/officeDocument/2006/relationships/slideLayout" Target="../slideLayouts/slideLayout17.xml"/><Relationship Id="rId6" Type="http://schemas.openxmlformats.org/officeDocument/2006/relationships/image" Target="../media/image30.png"/><Relationship Id="rId5" Type="http://schemas.openxmlformats.org/officeDocument/2006/relationships/image" Target="../media/image29.png"/><Relationship Id="rId10" Type="http://schemas.openxmlformats.org/officeDocument/2006/relationships/image" Target="../media/image33.png"/><Relationship Id="rId4" Type="http://schemas.openxmlformats.org/officeDocument/2006/relationships/image" Target="../media/image28.png"/><Relationship Id="rId9" Type="http://schemas.openxmlformats.org/officeDocument/2006/relationships/image" Target="../media/image32.png"/></Relationships>
</file>

<file path=ppt/slides/_rels/slide24.xml.rels><?xml version="1.0" encoding="UTF-8" standalone="yes"?>
<Relationships xmlns="http://schemas.openxmlformats.org/package/2006/relationships"><Relationship Id="rId8" Type="http://schemas.openxmlformats.org/officeDocument/2006/relationships/image" Target="../media/image31.png"/><Relationship Id="rId3" Type="http://schemas.openxmlformats.org/officeDocument/2006/relationships/image" Target="../media/image34.png"/><Relationship Id="rId7" Type="http://schemas.openxmlformats.org/officeDocument/2006/relationships/image" Target="../media/image18.png"/><Relationship Id="rId2" Type="http://schemas.openxmlformats.org/officeDocument/2006/relationships/notesSlide" Target="../notesSlides/notesSlide24.xml"/><Relationship Id="rId1" Type="http://schemas.openxmlformats.org/officeDocument/2006/relationships/slideLayout" Target="../slideLayouts/slideLayout17.xml"/><Relationship Id="rId6" Type="http://schemas.openxmlformats.org/officeDocument/2006/relationships/image" Target="../media/image30.png"/><Relationship Id="rId5" Type="http://schemas.openxmlformats.org/officeDocument/2006/relationships/image" Target="../media/image29.png"/><Relationship Id="rId10" Type="http://schemas.openxmlformats.org/officeDocument/2006/relationships/image" Target="../media/image33.png"/><Relationship Id="rId4" Type="http://schemas.openxmlformats.org/officeDocument/2006/relationships/image" Target="../media/image28.png"/><Relationship Id="rId9" Type="http://schemas.openxmlformats.org/officeDocument/2006/relationships/image" Target="../media/image32.png"/></Relationships>
</file>

<file path=ppt/slides/_rels/slide25.xml.rels><?xml version="1.0" encoding="UTF-8" standalone="yes"?>
<Relationships xmlns="http://schemas.openxmlformats.org/package/2006/relationships"><Relationship Id="rId8" Type="http://schemas.openxmlformats.org/officeDocument/2006/relationships/image" Target="../media/image31.png"/><Relationship Id="rId3" Type="http://schemas.openxmlformats.org/officeDocument/2006/relationships/image" Target="../media/image34.png"/><Relationship Id="rId7" Type="http://schemas.openxmlformats.org/officeDocument/2006/relationships/image" Target="../media/image18.png"/><Relationship Id="rId2" Type="http://schemas.openxmlformats.org/officeDocument/2006/relationships/notesSlide" Target="../notesSlides/notesSlide25.xml"/><Relationship Id="rId1" Type="http://schemas.openxmlformats.org/officeDocument/2006/relationships/slideLayout" Target="../slideLayouts/slideLayout17.xml"/><Relationship Id="rId6" Type="http://schemas.openxmlformats.org/officeDocument/2006/relationships/image" Target="../media/image30.png"/><Relationship Id="rId5" Type="http://schemas.openxmlformats.org/officeDocument/2006/relationships/image" Target="../media/image29.png"/><Relationship Id="rId10" Type="http://schemas.openxmlformats.org/officeDocument/2006/relationships/image" Target="../media/image33.png"/><Relationship Id="rId4" Type="http://schemas.openxmlformats.org/officeDocument/2006/relationships/image" Target="../media/image28.png"/><Relationship Id="rId9" Type="http://schemas.openxmlformats.org/officeDocument/2006/relationships/image" Target="../media/image32.png"/></Relationships>
</file>

<file path=ppt/slides/_rels/slide26.xml.rels><?xml version="1.0" encoding="UTF-8" standalone="yes"?>
<Relationships xmlns="http://schemas.openxmlformats.org/package/2006/relationships"><Relationship Id="rId8" Type="http://schemas.openxmlformats.org/officeDocument/2006/relationships/image" Target="../media/image31.png"/><Relationship Id="rId3" Type="http://schemas.openxmlformats.org/officeDocument/2006/relationships/image" Target="../media/image34.png"/><Relationship Id="rId7" Type="http://schemas.openxmlformats.org/officeDocument/2006/relationships/image" Target="../media/image18.png"/><Relationship Id="rId2" Type="http://schemas.openxmlformats.org/officeDocument/2006/relationships/notesSlide" Target="../notesSlides/notesSlide26.xml"/><Relationship Id="rId1" Type="http://schemas.openxmlformats.org/officeDocument/2006/relationships/slideLayout" Target="../slideLayouts/slideLayout17.xml"/><Relationship Id="rId6" Type="http://schemas.openxmlformats.org/officeDocument/2006/relationships/image" Target="../media/image30.png"/><Relationship Id="rId5" Type="http://schemas.openxmlformats.org/officeDocument/2006/relationships/image" Target="../media/image29.png"/><Relationship Id="rId10" Type="http://schemas.openxmlformats.org/officeDocument/2006/relationships/image" Target="../media/image33.png"/><Relationship Id="rId4" Type="http://schemas.openxmlformats.org/officeDocument/2006/relationships/image" Target="../media/image28.png"/><Relationship Id="rId9" Type="http://schemas.openxmlformats.org/officeDocument/2006/relationships/image" Target="../media/image32.png"/></Relationships>
</file>

<file path=ppt/slides/_rels/slide27.xml.rels><?xml version="1.0" encoding="UTF-8" standalone="yes"?>
<Relationships xmlns="http://schemas.openxmlformats.org/package/2006/relationships"><Relationship Id="rId8" Type="http://schemas.openxmlformats.org/officeDocument/2006/relationships/image" Target="../media/image31.png"/><Relationship Id="rId3" Type="http://schemas.openxmlformats.org/officeDocument/2006/relationships/image" Target="../media/image34.png"/><Relationship Id="rId7" Type="http://schemas.openxmlformats.org/officeDocument/2006/relationships/image" Target="../media/image18.png"/><Relationship Id="rId2" Type="http://schemas.openxmlformats.org/officeDocument/2006/relationships/notesSlide" Target="../notesSlides/notesSlide27.xml"/><Relationship Id="rId1" Type="http://schemas.openxmlformats.org/officeDocument/2006/relationships/slideLayout" Target="../slideLayouts/slideLayout17.xml"/><Relationship Id="rId6" Type="http://schemas.openxmlformats.org/officeDocument/2006/relationships/image" Target="../media/image30.png"/><Relationship Id="rId5" Type="http://schemas.openxmlformats.org/officeDocument/2006/relationships/image" Target="../media/image29.png"/><Relationship Id="rId10" Type="http://schemas.openxmlformats.org/officeDocument/2006/relationships/image" Target="../media/image33.png"/><Relationship Id="rId4" Type="http://schemas.openxmlformats.org/officeDocument/2006/relationships/image" Target="../media/image28.png"/><Relationship Id="rId9" Type="http://schemas.openxmlformats.org/officeDocument/2006/relationships/image" Target="../media/image32.png"/></Relationships>
</file>

<file path=ppt/slides/_rels/slide28.xml.rels><?xml version="1.0" encoding="UTF-8" standalone="yes"?>
<Relationships xmlns="http://schemas.openxmlformats.org/package/2006/relationships"><Relationship Id="rId8" Type="http://schemas.openxmlformats.org/officeDocument/2006/relationships/image" Target="../media/image31.png"/><Relationship Id="rId3" Type="http://schemas.openxmlformats.org/officeDocument/2006/relationships/image" Target="../media/image34.png"/><Relationship Id="rId7" Type="http://schemas.openxmlformats.org/officeDocument/2006/relationships/image" Target="../media/image18.png"/><Relationship Id="rId2" Type="http://schemas.openxmlformats.org/officeDocument/2006/relationships/notesSlide" Target="../notesSlides/notesSlide28.xml"/><Relationship Id="rId1" Type="http://schemas.openxmlformats.org/officeDocument/2006/relationships/slideLayout" Target="../slideLayouts/slideLayout17.xml"/><Relationship Id="rId6" Type="http://schemas.openxmlformats.org/officeDocument/2006/relationships/image" Target="../media/image30.png"/><Relationship Id="rId5" Type="http://schemas.openxmlformats.org/officeDocument/2006/relationships/image" Target="../media/image29.png"/><Relationship Id="rId10" Type="http://schemas.openxmlformats.org/officeDocument/2006/relationships/image" Target="../media/image33.png"/><Relationship Id="rId4" Type="http://schemas.openxmlformats.org/officeDocument/2006/relationships/image" Target="../media/image28.png"/><Relationship Id="rId9" Type="http://schemas.openxmlformats.org/officeDocument/2006/relationships/image" Target="../media/image32.png"/></Relationships>
</file>

<file path=ppt/slides/_rels/slide29.xml.rels><?xml version="1.0" encoding="UTF-8" standalone="yes"?>
<Relationships xmlns="http://schemas.openxmlformats.org/package/2006/relationships"><Relationship Id="rId8" Type="http://schemas.openxmlformats.org/officeDocument/2006/relationships/image" Target="../media/image31.png"/><Relationship Id="rId3" Type="http://schemas.openxmlformats.org/officeDocument/2006/relationships/image" Target="../media/image34.png"/><Relationship Id="rId7" Type="http://schemas.openxmlformats.org/officeDocument/2006/relationships/image" Target="../media/image18.png"/><Relationship Id="rId2" Type="http://schemas.openxmlformats.org/officeDocument/2006/relationships/notesSlide" Target="../notesSlides/notesSlide29.xml"/><Relationship Id="rId1" Type="http://schemas.openxmlformats.org/officeDocument/2006/relationships/slideLayout" Target="../slideLayouts/slideLayout17.xml"/><Relationship Id="rId6" Type="http://schemas.openxmlformats.org/officeDocument/2006/relationships/image" Target="../media/image30.png"/><Relationship Id="rId5" Type="http://schemas.openxmlformats.org/officeDocument/2006/relationships/image" Target="../media/image29.png"/><Relationship Id="rId10" Type="http://schemas.openxmlformats.org/officeDocument/2006/relationships/image" Target="../media/image33.png"/><Relationship Id="rId4" Type="http://schemas.openxmlformats.org/officeDocument/2006/relationships/image" Target="../media/image28.png"/><Relationship Id="rId9" Type="http://schemas.openxmlformats.org/officeDocument/2006/relationships/image" Target="../media/image32.png"/></Relationships>
</file>

<file path=ppt/slides/_rels/slide3.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3.xml"/><Relationship Id="rId1" Type="http://schemas.openxmlformats.org/officeDocument/2006/relationships/slideLayout" Target="../slideLayouts/slideLayout11.xml"/><Relationship Id="rId4" Type="http://schemas.microsoft.com/office/2007/relationships/hdphoto" Target="../media/hdphoto1.wdp"/></Relationships>
</file>

<file path=ppt/slides/_rels/slide30.xml.rels><?xml version="1.0" encoding="UTF-8" standalone="yes"?>
<Relationships xmlns="http://schemas.openxmlformats.org/package/2006/relationships"><Relationship Id="rId8" Type="http://schemas.openxmlformats.org/officeDocument/2006/relationships/image" Target="../media/image31.png"/><Relationship Id="rId3" Type="http://schemas.openxmlformats.org/officeDocument/2006/relationships/image" Target="../media/image34.png"/><Relationship Id="rId7" Type="http://schemas.openxmlformats.org/officeDocument/2006/relationships/image" Target="../media/image18.png"/><Relationship Id="rId2" Type="http://schemas.openxmlformats.org/officeDocument/2006/relationships/notesSlide" Target="../notesSlides/notesSlide30.xml"/><Relationship Id="rId1" Type="http://schemas.openxmlformats.org/officeDocument/2006/relationships/slideLayout" Target="../slideLayouts/slideLayout17.xml"/><Relationship Id="rId6" Type="http://schemas.openxmlformats.org/officeDocument/2006/relationships/image" Target="../media/image30.png"/><Relationship Id="rId5" Type="http://schemas.openxmlformats.org/officeDocument/2006/relationships/image" Target="../media/image29.png"/><Relationship Id="rId10" Type="http://schemas.openxmlformats.org/officeDocument/2006/relationships/image" Target="../media/image33.png"/><Relationship Id="rId4" Type="http://schemas.openxmlformats.org/officeDocument/2006/relationships/image" Target="../media/image28.png"/><Relationship Id="rId9" Type="http://schemas.openxmlformats.org/officeDocument/2006/relationships/image" Target="../media/image32.png"/></Relationships>
</file>

<file path=ppt/slides/_rels/slide31.xml.rels><?xml version="1.0" encoding="UTF-8" standalone="yes"?>
<Relationships xmlns="http://schemas.openxmlformats.org/package/2006/relationships"><Relationship Id="rId8" Type="http://schemas.openxmlformats.org/officeDocument/2006/relationships/image" Target="../media/image31.png"/><Relationship Id="rId3" Type="http://schemas.openxmlformats.org/officeDocument/2006/relationships/image" Target="../media/image34.png"/><Relationship Id="rId7" Type="http://schemas.openxmlformats.org/officeDocument/2006/relationships/image" Target="../media/image18.png"/><Relationship Id="rId2" Type="http://schemas.openxmlformats.org/officeDocument/2006/relationships/notesSlide" Target="../notesSlides/notesSlide31.xml"/><Relationship Id="rId1" Type="http://schemas.openxmlformats.org/officeDocument/2006/relationships/slideLayout" Target="../slideLayouts/slideLayout17.xml"/><Relationship Id="rId6" Type="http://schemas.openxmlformats.org/officeDocument/2006/relationships/image" Target="../media/image30.png"/><Relationship Id="rId5" Type="http://schemas.openxmlformats.org/officeDocument/2006/relationships/image" Target="../media/image29.png"/><Relationship Id="rId10" Type="http://schemas.openxmlformats.org/officeDocument/2006/relationships/image" Target="../media/image33.png"/><Relationship Id="rId4" Type="http://schemas.openxmlformats.org/officeDocument/2006/relationships/image" Target="../media/image28.png"/><Relationship Id="rId9" Type="http://schemas.openxmlformats.org/officeDocument/2006/relationships/image" Target="../media/image32.png"/></Relationships>
</file>

<file path=ppt/slides/_rels/slide32.xml.rels><?xml version="1.0" encoding="UTF-8" standalone="yes"?>
<Relationships xmlns="http://schemas.openxmlformats.org/package/2006/relationships"><Relationship Id="rId8" Type="http://schemas.openxmlformats.org/officeDocument/2006/relationships/image" Target="../media/image31.png"/><Relationship Id="rId3" Type="http://schemas.openxmlformats.org/officeDocument/2006/relationships/image" Target="../media/image34.png"/><Relationship Id="rId7" Type="http://schemas.openxmlformats.org/officeDocument/2006/relationships/image" Target="../media/image18.png"/><Relationship Id="rId2" Type="http://schemas.openxmlformats.org/officeDocument/2006/relationships/notesSlide" Target="../notesSlides/notesSlide32.xml"/><Relationship Id="rId1" Type="http://schemas.openxmlformats.org/officeDocument/2006/relationships/slideLayout" Target="../slideLayouts/slideLayout17.xml"/><Relationship Id="rId6" Type="http://schemas.openxmlformats.org/officeDocument/2006/relationships/image" Target="../media/image30.png"/><Relationship Id="rId5" Type="http://schemas.openxmlformats.org/officeDocument/2006/relationships/image" Target="../media/image29.png"/><Relationship Id="rId10" Type="http://schemas.openxmlformats.org/officeDocument/2006/relationships/image" Target="../media/image33.png"/><Relationship Id="rId4" Type="http://schemas.openxmlformats.org/officeDocument/2006/relationships/image" Target="../media/image28.png"/><Relationship Id="rId9" Type="http://schemas.openxmlformats.org/officeDocument/2006/relationships/image" Target="../media/image32.png"/></Relationships>
</file>

<file path=ppt/slides/_rels/slide33.xml.rels><?xml version="1.0" encoding="UTF-8" standalone="yes"?>
<Relationships xmlns="http://schemas.openxmlformats.org/package/2006/relationships"><Relationship Id="rId3" Type="http://schemas.openxmlformats.org/officeDocument/2006/relationships/image" Target="../media/image36.svg"/><Relationship Id="rId2" Type="http://schemas.openxmlformats.org/officeDocument/2006/relationships/image" Target="../media/image35.png"/><Relationship Id="rId1" Type="http://schemas.openxmlformats.org/officeDocument/2006/relationships/slideLayout" Target="../slideLayouts/slideLayout11.xml"/></Relationships>
</file>

<file path=ppt/slides/_rels/slide34.xml.rels><?xml version="1.0" encoding="UTF-8" standalone="yes"?>
<Relationships xmlns="http://schemas.openxmlformats.org/package/2006/relationships"><Relationship Id="rId3" Type="http://schemas.openxmlformats.org/officeDocument/2006/relationships/image" Target="../media/image36.svg"/><Relationship Id="rId2" Type="http://schemas.openxmlformats.org/officeDocument/2006/relationships/image" Target="../media/image35.png"/><Relationship Id="rId1" Type="http://schemas.openxmlformats.org/officeDocument/2006/relationships/slideLayout" Target="../slideLayouts/slideLayout11.xml"/></Relationships>
</file>

<file path=ppt/slides/_rels/slide35.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33.xml"/><Relationship Id="rId1" Type="http://schemas.openxmlformats.org/officeDocument/2006/relationships/slideLayout" Target="../slideLayouts/slideLayout11.xml"/><Relationship Id="rId4" Type="http://schemas.openxmlformats.org/officeDocument/2006/relationships/image" Target="../media/image36.svg"/></Relationships>
</file>

<file path=ppt/slides/_rels/slide36.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34.xml"/><Relationship Id="rId1" Type="http://schemas.openxmlformats.org/officeDocument/2006/relationships/slideLayout" Target="../slideLayouts/slideLayout74.xml"/><Relationship Id="rId5" Type="http://schemas.openxmlformats.org/officeDocument/2006/relationships/image" Target="../media/image4.png"/><Relationship Id="rId4" Type="http://schemas.openxmlformats.org/officeDocument/2006/relationships/image" Target="../media/image3.emf"/></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7.xml"/></Relationships>
</file>

<file path=ppt/slides/_rels/slide5.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notesSlide" Target="../notesSlides/notesSlide5.xml"/><Relationship Id="rId1" Type="http://schemas.openxmlformats.org/officeDocument/2006/relationships/slideLayout" Target="../slideLayouts/slideLayout17.xml"/></Relationships>
</file>

<file path=ppt/slides/_rels/slide6.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6.xml"/><Relationship Id="rId1" Type="http://schemas.openxmlformats.org/officeDocument/2006/relationships/slideLayout" Target="../slideLayouts/slideLayout17.xml"/><Relationship Id="rId4" Type="http://schemas.openxmlformats.org/officeDocument/2006/relationships/image" Target="../media/image18.png"/></Relationships>
</file>

<file path=ppt/slides/_rels/slide7.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7.xml"/><Relationship Id="rId1" Type="http://schemas.openxmlformats.org/officeDocument/2006/relationships/slideLayout" Target="../slideLayouts/slideLayout56.xml"/></Relationships>
</file>

<file path=ppt/slides/_rels/slide8.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8.xml"/><Relationship Id="rId1" Type="http://schemas.openxmlformats.org/officeDocument/2006/relationships/slideLayout" Target="../slideLayouts/slideLayout17.xml"/></Relationships>
</file>

<file path=ppt/slides/_rels/slide9.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9.xml"/><Relationship Id="rId1" Type="http://schemas.openxmlformats.org/officeDocument/2006/relationships/slideLayout" Target="../slideLayouts/slideLayout1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Picture Placeholder 6">
            <a:extLst>
              <a:ext uri="{FF2B5EF4-FFF2-40B4-BE49-F238E27FC236}">
                <a16:creationId xmlns:a16="http://schemas.microsoft.com/office/drawing/2014/main" id="{BAE485C6-E4DB-1727-FC5A-8440AC42E7B0}"/>
              </a:ext>
            </a:extLst>
          </p:cNvPr>
          <p:cNvPicPr>
            <a:picLocks noChangeAspect="1"/>
          </p:cNvPicPr>
          <p:nvPr/>
        </p:nvPicPr>
        <p:blipFill>
          <a:blip r:embed="rId3"/>
          <a:srcRect/>
          <a:stretch/>
        </p:blipFill>
        <p:spPr>
          <a:xfrm>
            <a:off x="0" y="0"/>
            <a:ext cx="12192000" cy="6858000"/>
          </a:xfrm>
          <a:prstGeom prst="rect">
            <a:avLst/>
          </a:prstGeom>
          <a:noFill/>
        </p:spPr>
      </p:pic>
      <p:sp>
        <p:nvSpPr>
          <p:cNvPr id="4" name="Text Placeholder 3">
            <a:extLst>
              <a:ext uri="{FF2B5EF4-FFF2-40B4-BE49-F238E27FC236}">
                <a16:creationId xmlns:a16="http://schemas.microsoft.com/office/drawing/2014/main" id="{07E7FEEA-E176-6241-A568-786480C833AF}"/>
              </a:ext>
            </a:extLst>
          </p:cNvPr>
          <p:cNvSpPr>
            <a:spLocks noGrp="1"/>
          </p:cNvSpPr>
          <p:nvPr>
            <p:ph type="body" sz="quarter" idx="11"/>
          </p:nvPr>
        </p:nvSpPr>
        <p:spPr/>
        <p:txBody>
          <a:bodyPr vert="horz" lIns="0" tIns="0" rIns="0" bIns="0" rtlCol="0" anchor="t">
            <a:spAutoFit/>
          </a:bodyPr>
          <a:lstStyle/>
          <a:p>
            <a:r>
              <a:rPr lang="en-US" dirty="0"/>
              <a:t>Uladzimir Litvinau</a:t>
            </a:r>
          </a:p>
        </p:txBody>
      </p:sp>
      <p:sp>
        <p:nvSpPr>
          <p:cNvPr id="19" name="Text Placeholder 18">
            <a:extLst>
              <a:ext uri="{FF2B5EF4-FFF2-40B4-BE49-F238E27FC236}">
                <a16:creationId xmlns:a16="http://schemas.microsoft.com/office/drawing/2014/main" id="{1C004F51-E7DB-4857-AA9C-D4AEE3C336E1}"/>
              </a:ext>
            </a:extLst>
          </p:cNvPr>
          <p:cNvSpPr>
            <a:spLocks noGrp="1"/>
          </p:cNvSpPr>
          <p:nvPr>
            <p:ph type="body" sz="quarter" idx="12"/>
          </p:nvPr>
        </p:nvSpPr>
        <p:spPr/>
        <p:txBody>
          <a:bodyPr/>
          <a:lstStyle/>
          <a:p>
            <a:r>
              <a:rPr lang="en-US" dirty="0"/>
              <a:t>August </a:t>
            </a:r>
            <a:r>
              <a:rPr lang="en-CZ" dirty="0"/>
              <a:t>202</a:t>
            </a:r>
            <a:r>
              <a:rPr lang="en-US" dirty="0"/>
              <a:t>4</a:t>
            </a:r>
            <a:endParaRPr lang="en-CZ" dirty="0"/>
          </a:p>
        </p:txBody>
      </p:sp>
      <p:sp>
        <p:nvSpPr>
          <p:cNvPr id="3" name="Text Placeholder 2">
            <a:extLst>
              <a:ext uri="{FF2B5EF4-FFF2-40B4-BE49-F238E27FC236}">
                <a16:creationId xmlns:a16="http://schemas.microsoft.com/office/drawing/2014/main" id="{530DF3C4-2D15-B84D-82FA-408FCFE1671C}"/>
              </a:ext>
            </a:extLst>
          </p:cNvPr>
          <p:cNvSpPr>
            <a:spLocks noGrp="1"/>
          </p:cNvSpPr>
          <p:nvPr>
            <p:ph type="body" sz="quarter" idx="10"/>
          </p:nvPr>
        </p:nvSpPr>
        <p:spPr>
          <a:xfrm>
            <a:off x="639074" y="1653938"/>
            <a:ext cx="8060366" cy="2111027"/>
          </a:xfrm>
        </p:spPr>
        <p:txBody>
          <a:bodyPr/>
          <a:lstStyle/>
          <a:p>
            <a:r>
              <a:rPr lang="en-US" sz="8000" dirty="0">
                <a:latin typeface="+mj-lt"/>
              </a:rPr>
              <a:t>Team Leadership</a:t>
            </a:r>
            <a:r>
              <a:rPr lang="en-US" sz="8000" dirty="0">
                <a:solidFill>
                  <a:schemeClr val="accent6"/>
                </a:solidFill>
                <a:latin typeface="+mj-lt"/>
              </a:rPr>
              <a:t> </a:t>
            </a:r>
          </a:p>
          <a:p>
            <a:r>
              <a:rPr lang="en-US" sz="8000" dirty="0">
                <a:solidFill>
                  <a:schemeClr val="accent6"/>
                </a:solidFill>
                <a:latin typeface="+mj-lt"/>
              </a:rPr>
              <a:t>Workshop</a:t>
            </a:r>
            <a:endParaRPr lang="en-US" sz="8000" dirty="0">
              <a:solidFill>
                <a:schemeClr val="accent6"/>
              </a:solidFill>
              <a:latin typeface="+mj-lt"/>
              <a:ea typeface="Calibri Light" charset="0"/>
              <a:cs typeface="Calibri Light" charset="0"/>
            </a:endParaRPr>
          </a:p>
        </p:txBody>
      </p:sp>
      <p:pic>
        <p:nvPicPr>
          <p:cNvPr id="20" name="Picture 19">
            <a:extLst>
              <a:ext uri="{FF2B5EF4-FFF2-40B4-BE49-F238E27FC236}">
                <a16:creationId xmlns:a16="http://schemas.microsoft.com/office/drawing/2014/main" id="{1FD9D405-CD85-4189-175C-1E9F43477BBB}"/>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647699" y="716555"/>
            <a:ext cx="646663" cy="237744"/>
          </a:xfrm>
          <a:prstGeom prst="rect">
            <a:avLst/>
          </a:prstGeom>
        </p:spPr>
      </p:pic>
      <p:pic>
        <p:nvPicPr>
          <p:cNvPr id="5" name="Graphic 2">
            <a:extLst>
              <a:ext uri="{FF2B5EF4-FFF2-40B4-BE49-F238E27FC236}">
                <a16:creationId xmlns:a16="http://schemas.microsoft.com/office/drawing/2014/main" id="{F989D2CF-25F9-50D1-15C3-F4D6BECB9CCA}"/>
              </a:ext>
            </a:extLst>
          </p:cNvPr>
          <p:cNvPicPr>
            <a:picLocks noChangeAspect="1"/>
          </p:cNvPicPr>
          <p:nvPr/>
        </p:nvPicPr>
        <p:blipFill>
          <a:blip r:embed="rId5"/>
          <a:srcRect/>
          <a:stretch/>
        </p:blipFill>
        <p:spPr>
          <a:xfrm>
            <a:off x="1677511" y="692958"/>
            <a:ext cx="908033" cy="245472"/>
          </a:xfrm>
          <a:prstGeom prst="rect">
            <a:avLst/>
          </a:prstGeom>
        </p:spPr>
      </p:pic>
    </p:spTree>
    <p:extLst>
      <p:ext uri="{BB962C8B-B14F-4D97-AF65-F5344CB8AC3E}">
        <p14:creationId xmlns:p14="http://schemas.microsoft.com/office/powerpoint/2010/main" val="3260582597"/>
      </p:ext>
    </p:extLst>
  </p:cSld>
  <p:clrMapOvr>
    <a:masterClrMapping/>
  </p:clrMapOvr>
  <p:transition spd="slow">
    <p:push dir="u"/>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3E7B12-94E5-1E8A-9A20-C930CC8426EB}"/>
              </a:ext>
            </a:extLst>
          </p:cNvPr>
          <p:cNvSpPr>
            <a:spLocks noGrp="1"/>
          </p:cNvSpPr>
          <p:nvPr>
            <p:ph type="title"/>
          </p:nvPr>
        </p:nvSpPr>
        <p:spPr>
          <a:xfrm>
            <a:off x="639073" y="1424520"/>
            <a:ext cx="5333999" cy="2769989"/>
          </a:xfrm>
        </p:spPr>
        <p:txBody>
          <a:bodyPr/>
          <a:lstStyle/>
          <a:p>
            <a:r>
              <a:rPr lang="en-US" dirty="0"/>
              <a:t>What are the key skills of Team Lead?</a:t>
            </a:r>
            <a:endParaRPr lang="en-US" dirty="0">
              <a:solidFill>
                <a:schemeClr val="accent6"/>
              </a:solidFill>
              <a:latin typeface="Calibri" panose="020F0502020204030204" pitchFamily="34" charset="0"/>
              <a:cs typeface="Calibri" panose="020F0502020204030204" pitchFamily="34" charset="0"/>
            </a:endParaRPr>
          </a:p>
        </p:txBody>
      </p:sp>
      <p:sp>
        <p:nvSpPr>
          <p:cNvPr id="8" name="Text Placeholder 7">
            <a:extLst>
              <a:ext uri="{FF2B5EF4-FFF2-40B4-BE49-F238E27FC236}">
                <a16:creationId xmlns:a16="http://schemas.microsoft.com/office/drawing/2014/main" id="{A33CA039-DE3C-5D85-0DB8-D98A38BFDC35}"/>
              </a:ext>
            </a:extLst>
          </p:cNvPr>
          <p:cNvSpPr>
            <a:spLocks noGrp="1"/>
          </p:cNvSpPr>
          <p:nvPr>
            <p:ph type="body" sz="quarter" idx="28"/>
          </p:nvPr>
        </p:nvSpPr>
        <p:spPr>
          <a:xfrm>
            <a:off x="627063" y="419100"/>
            <a:ext cx="3725862" cy="397732"/>
          </a:xfrm>
        </p:spPr>
        <p:txBody>
          <a:bodyPr>
            <a:normAutofit/>
          </a:bodyPr>
          <a:lstStyle/>
          <a:p>
            <a:r>
              <a:rPr lang="en-US" dirty="0"/>
              <a:t>Tricky question</a:t>
            </a:r>
          </a:p>
        </p:txBody>
      </p:sp>
      <p:sp>
        <p:nvSpPr>
          <p:cNvPr id="10" name="Text Placeholder 9">
            <a:extLst>
              <a:ext uri="{FF2B5EF4-FFF2-40B4-BE49-F238E27FC236}">
                <a16:creationId xmlns:a16="http://schemas.microsoft.com/office/drawing/2014/main" id="{1F88C411-8C59-AFA3-5C10-11E75FDF9817}"/>
              </a:ext>
            </a:extLst>
          </p:cNvPr>
          <p:cNvSpPr>
            <a:spLocks noGrp="1"/>
          </p:cNvSpPr>
          <p:nvPr>
            <p:ph type="body" sz="quarter" idx="25"/>
          </p:nvPr>
        </p:nvSpPr>
        <p:spPr/>
        <p:txBody>
          <a:bodyPr/>
          <a:lstStyle/>
          <a:p>
            <a:r>
              <a:rPr lang="en-US" dirty="0"/>
              <a:t>Let’s try to find out now</a:t>
            </a:r>
          </a:p>
        </p:txBody>
      </p:sp>
      <p:pic>
        <p:nvPicPr>
          <p:cNvPr id="5" name="Picture 4" descr="A picture containing room, table&#10;&#10;Description automatically generated">
            <a:extLst>
              <a:ext uri="{FF2B5EF4-FFF2-40B4-BE49-F238E27FC236}">
                <a16:creationId xmlns:a16="http://schemas.microsoft.com/office/drawing/2014/main" id="{C9411D12-EFD0-94EA-0EB0-33B6FD1276EC}"/>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004672" y="1424520"/>
            <a:ext cx="3812316" cy="3506217"/>
          </a:xfrm>
          <a:prstGeom prst="rect">
            <a:avLst/>
          </a:prstGeom>
        </p:spPr>
      </p:pic>
    </p:spTree>
    <p:extLst>
      <p:ext uri="{BB962C8B-B14F-4D97-AF65-F5344CB8AC3E}">
        <p14:creationId xmlns:p14="http://schemas.microsoft.com/office/powerpoint/2010/main" val="2337380662"/>
      </p:ext>
    </p:extLst>
  </p:cSld>
  <p:clrMapOvr>
    <a:masterClrMapping/>
  </p:clrMapOvr>
  <p:transition spd="slow">
    <p:push dir="u"/>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B8B7E49-B1B9-71EB-FC7F-D3A73F732678}"/>
              </a:ext>
            </a:extLst>
          </p:cNvPr>
          <p:cNvSpPr>
            <a:spLocks noGrp="1"/>
          </p:cNvSpPr>
          <p:nvPr>
            <p:ph type="title"/>
          </p:nvPr>
        </p:nvSpPr>
        <p:spPr/>
        <p:txBody>
          <a:bodyPr/>
          <a:lstStyle/>
          <a:p>
            <a:r>
              <a:rPr lang="en-GB" b="1" dirty="0">
                <a:latin typeface="Calibri"/>
                <a:cs typeface="Calibri"/>
              </a:rPr>
              <a:t>Key Skills and Roles</a:t>
            </a:r>
            <a:endParaRPr lang="en-GB" b="1" dirty="0">
              <a:ea typeface="+mn-lt"/>
              <a:cs typeface="+mn-lt"/>
            </a:endParaRPr>
          </a:p>
        </p:txBody>
      </p:sp>
      <p:sp>
        <p:nvSpPr>
          <p:cNvPr id="6" name="Text Placeholder 5">
            <a:extLst>
              <a:ext uri="{FF2B5EF4-FFF2-40B4-BE49-F238E27FC236}">
                <a16:creationId xmlns:a16="http://schemas.microsoft.com/office/drawing/2014/main" id="{19DE40A4-CE09-7791-B5FA-7A576E1AB8D1}"/>
              </a:ext>
            </a:extLst>
          </p:cNvPr>
          <p:cNvSpPr>
            <a:spLocks noGrp="1"/>
          </p:cNvSpPr>
          <p:nvPr>
            <p:ph type="body" sz="quarter" idx="28"/>
          </p:nvPr>
        </p:nvSpPr>
        <p:spPr/>
        <p:txBody>
          <a:bodyPr/>
          <a:lstStyle/>
          <a:p>
            <a:r>
              <a:rPr lang="en-US" dirty="0"/>
              <a:t>Team Lead</a:t>
            </a:r>
          </a:p>
        </p:txBody>
      </p:sp>
      <p:graphicFrame>
        <p:nvGraphicFramePr>
          <p:cNvPr id="13" name="Table 22">
            <a:extLst>
              <a:ext uri="{FF2B5EF4-FFF2-40B4-BE49-F238E27FC236}">
                <a16:creationId xmlns:a16="http://schemas.microsoft.com/office/drawing/2014/main" id="{113D7873-3B68-A9E8-E792-242A59445F41}"/>
              </a:ext>
            </a:extLst>
          </p:cNvPr>
          <p:cNvGraphicFramePr>
            <a:graphicFrameLocks noGrp="1"/>
          </p:cNvGraphicFramePr>
          <p:nvPr>
            <p:extLst>
              <p:ext uri="{D42A27DB-BD31-4B8C-83A1-F6EECF244321}">
                <p14:modId xmlns:p14="http://schemas.microsoft.com/office/powerpoint/2010/main" val="3448733085"/>
              </p:ext>
            </p:extLst>
          </p:nvPr>
        </p:nvGraphicFramePr>
        <p:xfrm>
          <a:off x="633632" y="2341344"/>
          <a:ext cx="10963056" cy="3592508"/>
        </p:xfrm>
        <a:graphic>
          <a:graphicData uri="http://schemas.openxmlformats.org/drawingml/2006/table">
            <a:tbl>
              <a:tblPr firstRow="1" bandRow="1">
                <a:tableStyleId>{5C22544A-7EE6-4342-B048-85BDC9FD1C3A}</a:tableStyleId>
              </a:tblPr>
              <a:tblGrid>
                <a:gridCol w="2740764">
                  <a:extLst>
                    <a:ext uri="{9D8B030D-6E8A-4147-A177-3AD203B41FA5}">
                      <a16:colId xmlns:a16="http://schemas.microsoft.com/office/drawing/2014/main" val="610704003"/>
                    </a:ext>
                  </a:extLst>
                </a:gridCol>
                <a:gridCol w="2740764">
                  <a:extLst>
                    <a:ext uri="{9D8B030D-6E8A-4147-A177-3AD203B41FA5}">
                      <a16:colId xmlns:a16="http://schemas.microsoft.com/office/drawing/2014/main" val="588174359"/>
                    </a:ext>
                  </a:extLst>
                </a:gridCol>
                <a:gridCol w="2740764">
                  <a:extLst>
                    <a:ext uri="{9D8B030D-6E8A-4147-A177-3AD203B41FA5}">
                      <a16:colId xmlns:a16="http://schemas.microsoft.com/office/drawing/2014/main" val="2272569554"/>
                    </a:ext>
                  </a:extLst>
                </a:gridCol>
                <a:gridCol w="2740764">
                  <a:extLst>
                    <a:ext uri="{9D8B030D-6E8A-4147-A177-3AD203B41FA5}">
                      <a16:colId xmlns:a16="http://schemas.microsoft.com/office/drawing/2014/main" val="2201176222"/>
                    </a:ext>
                  </a:extLst>
                </a:gridCol>
              </a:tblGrid>
              <a:tr h="65159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dirty="0">
                          <a:solidFill>
                            <a:schemeClr val="tx1"/>
                          </a:solidFill>
                        </a:rPr>
                        <a:t>Basic skills</a:t>
                      </a:r>
                      <a:endParaRPr lang="en-GB" sz="1800" dirty="0">
                        <a:solidFill>
                          <a:schemeClr val="tx1"/>
                        </a:solidFill>
                        <a:ea typeface="+mn-lt"/>
                        <a:cs typeface="+mn-lt"/>
                      </a:endParaRPr>
                    </a:p>
                  </a:txBody>
                  <a:tcPr marL="180000" marR="180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dirty="0">
                          <a:solidFill>
                            <a:schemeClr val="tx1"/>
                          </a:solidFill>
                        </a:rPr>
                        <a:t>Personal skills</a:t>
                      </a:r>
                      <a:endParaRPr lang="en-GB" sz="1800" dirty="0">
                        <a:solidFill>
                          <a:schemeClr val="tx1"/>
                        </a:solidFill>
                        <a:ea typeface="+mn-lt"/>
                        <a:cs typeface="+mn-lt"/>
                      </a:endParaRPr>
                    </a:p>
                  </a:txBody>
                  <a:tcPr marL="180000" marR="180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dirty="0">
                          <a:solidFill>
                            <a:schemeClr val="tx1"/>
                          </a:solidFill>
                        </a:rPr>
                        <a:t>Roles and responsibilities</a:t>
                      </a:r>
                      <a:endParaRPr lang="en-GB" sz="1800" dirty="0">
                        <a:solidFill>
                          <a:schemeClr val="tx1"/>
                        </a:solidFill>
                        <a:ea typeface="+mn-lt"/>
                        <a:cs typeface="+mn-lt"/>
                      </a:endParaRPr>
                    </a:p>
                  </a:txBody>
                  <a:tcPr marL="180000" marR="180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1800" dirty="0">
                          <a:solidFill>
                            <a:schemeClr val="tx1"/>
                          </a:solidFill>
                        </a:rPr>
                        <a:t>Key activities</a:t>
                      </a:r>
                    </a:p>
                  </a:txBody>
                  <a:tcPr marL="180000" marR="180000" anchor="b">
                    <a:lnL w="12700" cap="flat" cmpd="sng" algn="ctr">
                      <a:noFill/>
                      <a:prstDash val="solid"/>
                      <a:round/>
                      <a:headEnd type="none" w="med" len="med"/>
                      <a:tailEnd type="none" w="med" len="med"/>
                    </a:lnL>
                    <a:lnR w="12700" cmpd="sng">
                      <a:noFill/>
                    </a:lnR>
                    <a:lnT w="12700" cmpd="sng">
                      <a:noFill/>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34784268"/>
                  </a:ext>
                </a:extLst>
              </a:tr>
              <a:tr h="2940912">
                <a:tc>
                  <a:txBody>
                    <a:bodyPr/>
                    <a:lstStyle/>
                    <a:p>
                      <a:pPr marL="171450" indent="-171450">
                        <a:spcAft>
                          <a:spcPts val="600"/>
                        </a:spcAft>
                        <a:buFont typeface="Arial" panose="020B0604020202020204" pitchFamily="34" charset="0"/>
                        <a:buChar char="•"/>
                      </a:pPr>
                      <a:r>
                        <a:rPr lang="en-US" sz="1400" b="0" i="0" dirty="0">
                          <a:latin typeface="Calibri Light" panose="020F0302020204030204" pitchFamily="34" charset="0"/>
                          <a:cs typeface="Calibri Light" panose="020F0302020204030204" pitchFamily="34" charset="0"/>
                        </a:rPr>
                        <a:t>Read (how to read)</a:t>
                      </a:r>
                    </a:p>
                    <a:p>
                      <a:pPr marL="171450" indent="-171450">
                        <a:spcAft>
                          <a:spcPts val="600"/>
                        </a:spcAft>
                        <a:buFont typeface="Arial" panose="020B0604020202020204" pitchFamily="34" charset="0"/>
                        <a:buChar char="•"/>
                      </a:pPr>
                      <a:r>
                        <a:rPr lang="en-US" sz="1400" b="0" i="0" dirty="0">
                          <a:latin typeface="Calibri Light" panose="020F0302020204030204" pitchFamily="34" charset="0"/>
                          <a:cs typeface="Calibri Light" panose="020F0302020204030204" pitchFamily="34" charset="0"/>
                        </a:rPr>
                        <a:t>Listen</a:t>
                      </a:r>
                    </a:p>
                    <a:p>
                      <a:pPr marL="171450" indent="-171450">
                        <a:spcAft>
                          <a:spcPts val="600"/>
                        </a:spcAft>
                        <a:buFont typeface="Arial" panose="020B0604020202020204" pitchFamily="34" charset="0"/>
                        <a:buChar char="•"/>
                      </a:pPr>
                      <a:r>
                        <a:rPr lang="en-US" sz="1400" b="0" i="0" dirty="0">
                          <a:latin typeface="Calibri Light" panose="020F0302020204030204" pitchFamily="34" charset="0"/>
                          <a:cs typeface="Calibri Light" panose="020F0302020204030204" pitchFamily="34" charset="0"/>
                        </a:rPr>
                        <a:t>Analyze and synthesize (formal logic)</a:t>
                      </a:r>
                    </a:p>
                    <a:p>
                      <a:pPr marL="171450" indent="-171450">
                        <a:spcAft>
                          <a:spcPts val="600"/>
                        </a:spcAft>
                        <a:buFont typeface="Arial" panose="020B0604020202020204" pitchFamily="34" charset="0"/>
                        <a:buChar char="•"/>
                      </a:pPr>
                      <a:r>
                        <a:rPr lang="en-US" sz="1400" b="0" i="0" dirty="0">
                          <a:latin typeface="Calibri Light" panose="020F0302020204030204" pitchFamily="34" charset="0"/>
                          <a:cs typeface="Calibri Light" panose="020F0302020204030204" pitchFamily="34" charset="0"/>
                        </a:rPr>
                        <a:t>Discuss (art of discussion)</a:t>
                      </a:r>
                    </a:p>
                    <a:p>
                      <a:pPr marL="171450" indent="-171450">
                        <a:spcAft>
                          <a:spcPts val="600"/>
                        </a:spcAft>
                        <a:buFont typeface="Arial" panose="020B0604020202020204" pitchFamily="34" charset="0"/>
                        <a:buChar char="•"/>
                      </a:pPr>
                      <a:r>
                        <a:rPr lang="en-US" sz="1400" b="0" i="0" dirty="0">
                          <a:latin typeface="Calibri Light" panose="020F0302020204030204" pitchFamily="34" charset="0"/>
                          <a:cs typeface="Calibri Light" panose="020F0302020204030204" pitchFamily="34" charset="0"/>
                        </a:rPr>
                        <a:t>Learn</a:t>
                      </a:r>
                    </a:p>
                    <a:p>
                      <a:pPr marL="171450" indent="-171450">
                        <a:spcAft>
                          <a:spcPts val="600"/>
                        </a:spcAft>
                        <a:buFont typeface="Arial" panose="020B0604020202020204" pitchFamily="34" charset="0"/>
                        <a:buChar char="•"/>
                      </a:pPr>
                      <a:r>
                        <a:rPr lang="en-US" sz="1400" b="0" i="0" dirty="0">
                          <a:latin typeface="Calibri Light" panose="020F0302020204030204" pitchFamily="34" charset="0"/>
                          <a:cs typeface="Calibri Light" panose="020F0302020204030204" pitchFamily="34" charset="0"/>
                        </a:rPr>
                        <a:t>Teach</a:t>
                      </a:r>
                    </a:p>
                    <a:p>
                      <a:pPr marL="171450" indent="-171450">
                        <a:spcAft>
                          <a:spcPts val="600"/>
                        </a:spcAft>
                        <a:buFont typeface="Arial" panose="020B0604020202020204" pitchFamily="34" charset="0"/>
                        <a:buChar char="•"/>
                      </a:pPr>
                      <a:r>
                        <a:rPr lang="en-US" sz="1400" b="0" i="0" dirty="0">
                          <a:latin typeface="Calibri Light" panose="020F0302020204030204" pitchFamily="34" charset="0"/>
                          <a:cs typeface="Calibri Light" panose="020F0302020204030204" pitchFamily="34" charset="0"/>
                        </a:rPr>
                        <a:t>Solve</a:t>
                      </a:r>
                    </a:p>
                    <a:p>
                      <a:pPr marL="171450" indent="-171450">
                        <a:spcAft>
                          <a:spcPts val="600"/>
                        </a:spcAft>
                        <a:buFont typeface="Arial" panose="020B0604020202020204" pitchFamily="34" charset="0"/>
                        <a:buChar char="•"/>
                      </a:pPr>
                      <a:r>
                        <a:rPr lang="en-US" sz="1400" b="0" i="0" dirty="0">
                          <a:solidFill>
                            <a:schemeClr val="accent6"/>
                          </a:solidFill>
                          <a:latin typeface="Calibri Light" panose="020F0302020204030204" pitchFamily="34" charset="0"/>
                          <a:cs typeface="Calibri Light" panose="020F0302020204030204" pitchFamily="34" charset="0"/>
                        </a:rPr>
                        <a:t>Lead</a:t>
                      </a:r>
                    </a:p>
                  </a:txBody>
                  <a:tcPr marL="180000" marR="180000" marT="180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171450" indent="-171450">
                        <a:spcAft>
                          <a:spcPts val="600"/>
                        </a:spcAft>
                        <a:buFont typeface="Arial" panose="020B0604020202020204" pitchFamily="34" charset="0"/>
                        <a:buChar char="•"/>
                      </a:pPr>
                      <a:r>
                        <a:rPr lang="en-US" sz="1400" b="0" i="0" dirty="0">
                          <a:latin typeface="Calibri Light" panose="020F0302020204030204" pitchFamily="34" charset="0"/>
                          <a:cs typeface="Calibri Light" panose="020F0302020204030204" pitchFamily="34" charset="0"/>
                        </a:rPr>
                        <a:t>Relationship building</a:t>
                      </a:r>
                    </a:p>
                    <a:p>
                      <a:pPr marL="171450" indent="-171450">
                        <a:spcAft>
                          <a:spcPts val="600"/>
                        </a:spcAft>
                        <a:buFont typeface="Arial" panose="020B0604020202020204" pitchFamily="34" charset="0"/>
                        <a:buChar char="•"/>
                      </a:pPr>
                      <a:r>
                        <a:rPr lang="en-US" sz="1400" b="0" i="0" dirty="0">
                          <a:latin typeface="Calibri Light" panose="020F0302020204030204" pitchFamily="34" charset="0"/>
                          <a:cs typeface="Calibri Light" panose="020F0302020204030204" pitchFamily="34" charset="0"/>
                        </a:rPr>
                        <a:t>Agility and adaptability</a:t>
                      </a:r>
                    </a:p>
                    <a:p>
                      <a:pPr marL="171450" indent="-171450">
                        <a:spcAft>
                          <a:spcPts val="600"/>
                        </a:spcAft>
                        <a:buFont typeface="Arial" panose="020B0604020202020204" pitchFamily="34" charset="0"/>
                        <a:buChar char="•"/>
                      </a:pPr>
                      <a:r>
                        <a:rPr lang="en-US" sz="1400" b="0" i="0" dirty="0">
                          <a:latin typeface="Calibri Light" panose="020F0302020204030204" pitchFamily="34" charset="0"/>
                          <a:cs typeface="Calibri Light" panose="020F0302020204030204" pitchFamily="34" charset="0"/>
                        </a:rPr>
                        <a:t>Innovation and creativity</a:t>
                      </a:r>
                    </a:p>
                    <a:p>
                      <a:pPr marL="171450" indent="-171450">
                        <a:spcAft>
                          <a:spcPts val="600"/>
                        </a:spcAft>
                        <a:buFont typeface="Arial" panose="020B0604020202020204" pitchFamily="34" charset="0"/>
                        <a:buChar char="•"/>
                      </a:pPr>
                      <a:r>
                        <a:rPr lang="en-US" sz="1400" b="0" i="0" dirty="0">
                          <a:latin typeface="Calibri Light" panose="020F0302020204030204" pitchFamily="34" charset="0"/>
                          <a:cs typeface="Calibri Light" panose="020F0302020204030204" pitchFamily="34" charset="0"/>
                        </a:rPr>
                        <a:t>Employee motivation</a:t>
                      </a:r>
                    </a:p>
                    <a:p>
                      <a:pPr marL="171450" indent="-171450">
                        <a:spcAft>
                          <a:spcPts val="600"/>
                        </a:spcAft>
                        <a:buFont typeface="Arial" panose="020B0604020202020204" pitchFamily="34" charset="0"/>
                        <a:buChar char="•"/>
                      </a:pPr>
                      <a:r>
                        <a:rPr lang="en-US" sz="1400" b="0" i="0" dirty="0">
                          <a:latin typeface="Calibri Light" panose="020F0302020204030204" pitchFamily="34" charset="0"/>
                          <a:cs typeface="Calibri Light" panose="020F0302020204030204" pitchFamily="34" charset="0"/>
                        </a:rPr>
                        <a:t>Decision-making</a:t>
                      </a:r>
                    </a:p>
                    <a:p>
                      <a:pPr marL="171450" indent="-171450">
                        <a:spcAft>
                          <a:spcPts val="600"/>
                        </a:spcAft>
                        <a:buFont typeface="Arial" panose="020B0604020202020204" pitchFamily="34" charset="0"/>
                        <a:buChar char="•"/>
                      </a:pPr>
                      <a:r>
                        <a:rPr lang="en-US" sz="1400" b="0" i="0" dirty="0">
                          <a:latin typeface="Calibri Light" panose="020F0302020204030204" pitchFamily="34" charset="0"/>
                          <a:cs typeface="Calibri Light" panose="020F0302020204030204" pitchFamily="34" charset="0"/>
                        </a:rPr>
                        <a:t>Conflict management</a:t>
                      </a:r>
                    </a:p>
                    <a:p>
                      <a:pPr marL="171450" indent="-171450">
                        <a:spcAft>
                          <a:spcPts val="600"/>
                        </a:spcAft>
                        <a:buFont typeface="Arial" panose="020B0604020202020204" pitchFamily="34" charset="0"/>
                        <a:buChar char="•"/>
                      </a:pPr>
                      <a:r>
                        <a:rPr lang="en-US" sz="1400" b="0" i="0" dirty="0">
                          <a:latin typeface="Calibri Light" panose="020F0302020204030204" pitchFamily="34" charset="0"/>
                          <a:cs typeface="Calibri Light" panose="020F0302020204030204" pitchFamily="34" charset="0"/>
                        </a:rPr>
                        <a:t>Negotiation</a:t>
                      </a:r>
                    </a:p>
                    <a:p>
                      <a:pPr marL="171450" indent="-171450">
                        <a:spcAft>
                          <a:spcPts val="600"/>
                        </a:spcAft>
                        <a:buFont typeface="Arial" panose="020B0604020202020204" pitchFamily="34" charset="0"/>
                        <a:buChar char="•"/>
                      </a:pPr>
                      <a:r>
                        <a:rPr lang="en-US" sz="1400" b="0" i="0" dirty="0">
                          <a:latin typeface="Calibri Light" panose="020F0302020204030204" pitchFamily="34" charset="0"/>
                          <a:cs typeface="Calibri Light" panose="020F0302020204030204" pitchFamily="34" charset="0"/>
                        </a:rPr>
                        <a:t>Critical Thinking</a:t>
                      </a:r>
                    </a:p>
                    <a:p>
                      <a:pPr marL="285750" indent="-285750">
                        <a:spcAft>
                          <a:spcPts val="600"/>
                        </a:spcAft>
                        <a:buFont typeface="Arial" panose="020B0604020202020204" pitchFamily="34" charset="0"/>
                        <a:buChar char="•"/>
                      </a:pPr>
                      <a:endParaRPr lang="en-CZ" sz="1200" b="0" i="0" dirty="0">
                        <a:solidFill>
                          <a:schemeClr val="tx1"/>
                        </a:solidFill>
                        <a:latin typeface="Calibri Light" panose="020F0302020204030204" pitchFamily="34" charset="0"/>
                        <a:cs typeface="Calibri Light" panose="020F0302020204030204" pitchFamily="34" charset="0"/>
                      </a:endParaRPr>
                    </a:p>
                  </a:txBody>
                  <a:tcPr marL="180000" marR="180000" marT="180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285750" indent="-285750">
                        <a:spcAft>
                          <a:spcPts val="600"/>
                        </a:spcAft>
                        <a:buFont typeface="Arial" panose="020B0604020202020204" pitchFamily="34" charset="0"/>
                        <a:buChar char="•"/>
                      </a:pPr>
                      <a:r>
                        <a:rPr lang="en-US" sz="1400" b="0" i="0" dirty="0">
                          <a:latin typeface="Calibri Light" panose="020F0302020204030204" pitchFamily="34" charset="0"/>
                          <a:cs typeface="Calibri Light" panose="020F0302020204030204" pitchFamily="34" charset="0"/>
                        </a:rPr>
                        <a:t>Administrator</a:t>
                      </a:r>
                    </a:p>
                    <a:p>
                      <a:pPr marL="285750" indent="-285750">
                        <a:spcAft>
                          <a:spcPts val="600"/>
                        </a:spcAft>
                        <a:buFont typeface="Arial" panose="020B0604020202020204" pitchFamily="34" charset="0"/>
                        <a:buChar char="•"/>
                      </a:pPr>
                      <a:r>
                        <a:rPr lang="en-US" sz="1400" b="0" i="0" dirty="0">
                          <a:latin typeface="Calibri Light" panose="020F0302020204030204" pitchFamily="34" charset="0"/>
                          <a:cs typeface="Calibri Light" panose="020F0302020204030204" pitchFamily="34" charset="0"/>
                        </a:rPr>
                        <a:t>Integrator</a:t>
                      </a:r>
                    </a:p>
                    <a:p>
                      <a:pPr marL="285750" indent="-285750">
                        <a:spcAft>
                          <a:spcPts val="600"/>
                        </a:spcAft>
                        <a:buFont typeface="Arial" panose="020B0604020202020204" pitchFamily="34" charset="0"/>
                        <a:buChar char="•"/>
                      </a:pPr>
                      <a:r>
                        <a:rPr lang="en-US" sz="1400" b="0" i="0" dirty="0">
                          <a:latin typeface="Calibri Light" panose="020F0302020204030204" pitchFamily="34" charset="0"/>
                          <a:cs typeface="Calibri Light" panose="020F0302020204030204" pitchFamily="34" charset="0"/>
                        </a:rPr>
                        <a:t>People manager</a:t>
                      </a:r>
                    </a:p>
                    <a:p>
                      <a:pPr marL="285750" indent="-285750">
                        <a:spcAft>
                          <a:spcPts val="600"/>
                        </a:spcAft>
                        <a:buFont typeface="Arial" panose="020B0604020202020204" pitchFamily="34" charset="0"/>
                        <a:buChar char="•"/>
                      </a:pPr>
                      <a:r>
                        <a:rPr lang="en-US" sz="1400" b="0" i="0" dirty="0">
                          <a:latin typeface="Calibri Light" panose="020F0302020204030204" pitchFamily="34" charset="0"/>
                          <a:cs typeface="Calibri Light" panose="020F0302020204030204" pitchFamily="34" charset="0"/>
                        </a:rPr>
                        <a:t>Product owner</a:t>
                      </a:r>
                    </a:p>
                    <a:p>
                      <a:pPr marL="285750" indent="-285750">
                        <a:spcAft>
                          <a:spcPts val="600"/>
                        </a:spcAft>
                        <a:buFont typeface="Arial" panose="020B0604020202020204" pitchFamily="34" charset="0"/>
                        <a:buChar char="•"/>
                      </a:pPr>
                      <a:r>
                        <a:rPr lang="en-US" sz="1400" b="0" i="0" dirty="0">
                          <a:latin typeface="Calibri Light" panose="020F0302020204030204" pitchFamily="34" charset="0"/>
                          <a:cs typeface="Calibri Light" panose="020F0302020204030204" pitchFamily="34" charset="0"/>
                        </a:rPr>
                        <a:t>Technical lead</a:t>
                      </a:r>
                    </a:p>
                    <a:p>
                      <a:pPr marL="342900" marR="0" lvl="0" indent="-3429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lang="en-GB" sz="1200" b="0" i="0" kern="1200" dirty="0">
                        <a:solidFill>
                          <a:schemeClr val="tx1"/>
                        </a:solidFill>
                        <a:latin typeface="Calibri Light" panose="020F0302020204030204" pitchFamily="34" charset="0"/>
                        <a:ea typeface="+mn-lt"/>
                        <a:cs typeface="Calibri Light" panose="020F0302020204030204" pitchFamily="34" charset="0"/>
                      </a:endParaRPr>
                    </a:p>
                  </a:txBody>
                  <a:tcPr marL="180000" marR="180000" marT="180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285750" indent="-285750">
                        <a:spcAft>
                          <a:spcPts val="600"/>
                        </a:spcAft>
                        <a:buFont typeface="Arial" panose="020B0604020202020204" pitchFamily="34" charset="0"/>
                        <a:buChar char="•"/>
                      </a:pPr>
                      <a:r>
                        <a:rPr lang="en-US" sz="1400" b="0" i="0" dirty="0">
                          <a:solidFill>
                            <a:schemeClr val="accent6"/>
                          </a:solidFill>
                          <a:latin typeface="Calibri Light" panose="020F0302020204030204" pitchFamily="34" charset="0"/>
                          <a:cs typeface="Calibri Light" panose="020F0302020204030204" pitchFamily="34" charset="0"/>
                        </a:rPr>
                        <a:t>Team development</a:t>
                      </a:r>
                    </a:p>
                    <a:p>
                      <a:pPr marL="285750" indent="-285750">
                        <a:spcAft>
                          <a:spcPts val="600"/>
                        </a:spcAft>
                        <a:buFont typeface="Arial" panose="020B0604020202020204" pitchFamily="34" charset="0"/>
                        <a:buChar char="•"/>
                      </a:pPr>
                      <a:r>
                        <a:rPr lang="en-US" sz="1400" b="0" i="0" dirty="0">
                          <a:latin typeface="Calibri Light" panose="020F0302020204030204" pitchFamily="34" charset="0"/>
                          <a:cs typeface="Calibri Light" panose="020F0302020204030204" pitchFamily="34" charset="0"/>
                        </a:rPr>
                        <a:t>Estimation</a:t>
                      </a:r>
                    </a:p>
                    <a:p>
                      <a:pPr marL="285750" lvl="0" indent="-285750">
                        <a:spcAft>
                          <a:spcPts val="600"/>
                        </a:spcAft>
                        <a:buFont typeface="Arial" panose="020B0604020202020204" pitchFamily="34" charset="0"/>
                        <a:buChar char="•"/>
                      </a:pPr>
                      <a:r>
                        <a:rPr lang="en-US" sz="1400" b="0" i="0" dirty="0">
                          <a:latin typeface="Calibri Light"/>
                          <a:cs typeface="Calibri Light"/>
                        </a:rPr>
                        <a:t>Delegation</a:t>
                      </a:r>
                    </a:p>
                    <a:p>
                      <a:pPr marL="285750" indent="-285750">
                        <a:spcAft>
                          <a:spcPts val="600"/>
                        </a:spcAft>
                        <a:buFont typeface="Arial" panose="020B0604020202020204" pitchFamily="34" charset="0"/>
                        <a:buChar char="•"/>
                      </a:pPr>
                      <a:r>
                        <a:rPr lang="en-US" sz="1400" b="0" i="0" dirty="0">
                          <a:latin typeface="Calibri Light" panose="020F0302020204030204" pitchFamily="34" charset="0"/>
                          <a:cs typeface="Calibri Light" panose="020F0302020204030204" pitchFamily="34" charset="0"/>
                        </a:rPr>
                        <a:t>Leading agile practices</a:t>
                      </a:r>
                    </a:p>
                    <a:p>
                      <a:pPr marL="285750" indent="-285750">
                        <a:spcAft>
                          <a:spcPts val="600"/>
                        </a:spcAft>
                        <a:buFont typeface="Arial" panose="020B0604020202020204" pitchFamily="34" charset="0"/>
                        <a:buChar char="•"/>
                      </a:pPr>
                      <a:r>
                        <a:rPr lang="en-US" sz="1400" b="0" i="0" dirty="0">
                          <a:latin typeface="Calibri Light"/>
                          <a:cs typeface="Calibri Light"/>
                        </a:rPr>
                        <a:t>Feedback activities (SBI)</a:t>
                      </a:r>
                    </a:p>
                    <a:p>
                      <a:pPr marL="285750" indent="-285750">
                        <a:spcAft>
                          <a:spcPts val="600"/>
                        </a:spcAft>
                        <a:buFont typeface="Arial" panose="020B0604020202020204" pitchFamily="34" charset="0"/>
                        <a:buChar char="•"/>
                      </a:pPr>
                      <a:r>
                        <a:rPr lang="en-US" sz="1400" b="0" i="0" dirty="0">
                          <a:latin typeface="Calibri Light" panose="020F0302020204030204" pitchFamily="34" charset="0"/>
                          <a:cs typeface="Calibri Light" panose="020F0302020204030204" pitchFamily="34" charset="0"/>
                        </a:rPr>
                        <a:t>Knowledge sharing</a:t>
                      </a:r>
                    </a:p>
                    <a:p>
                      <a:pPr marL="285750" indent="-285750">
                        <a:spcAft>
                          <a:spcPts val="600"/>
                        </a:spcAft>
                        <a:buFont typeface="Arial" panose="020B0604020202020204" pitchFamily="34" charset="0"/>
                        <a:buChar char="•"/>
                      </a:pPr>
                      <a:r>
                        <a:rPr lang="en-US" sz="1400" b="0" i="0" dirty="0">
                          <a:latin typeface="Calibri Light" panose="020F0302020204030204" pitchFamily="34" charset="0"/>
                          <a:cs typeface="Calibri Light" panose="020F0302020204030204" pitchFamily="34" charset="0"/>
                        </a:rPr>
                        <a:t>Facilitation</a:t>
                      </a:r>
                    </a:p>
                    <a:p>
                      <a:pPr marL="285750" indent="-285750">
                        <a:spcAft>
                          <a:spcPts val="600"/>
                        </a:spcAft>
                        <a:buFont typeface="Arial" panose="020B0604020202020204" pitchFamily="34" charset="0"/>
                        <a:buChar char="•"/>
                      </a:pPr>
                      <a:r>
                        <a:rPr lang="en-US" sz="1400" b="0" i="0" dirty="0">
                          <a:latin typeface="Calibri Light" panose="020F0302020204030204" pitchFamily="34" charset="0"/>
                          <a:cs typeface="Calibri Light" panose="020F0302020204030204" pitchFamily="34" charset="0"/>
                        </a:rPr>
                        <a:t>Teaching</a:t>
                      </a:r>
                    </a:p>
                    <a:p>
                      <a:pPr>
                        <a:spcAft>
                          <a:spcPts val="600"/>
                        </a:spcAft>
                      </a:pPr>
                      <a:endParaRPr lang="en-CZ" sz="1200" b="0" i="0" dirty="0">
                        <a:solidFill>
                          <a:schemeClr val="tx1"/>
                        </a:solidFill>
                        <a:latin typeface="Calibri Light" panose="020F0302020204030204" pitchFamily="34" charset="0"/>
                        <a:cs typeface="Calibri Light" panose="020F0302020204030204" pitchFamily="34" charset="0"/>
                      </a:endParaRPr>
                    </a:p>
                  </a:txBody>
                  <a:tcPr marL="180000" marR="180000" marT="180000">
                    <a:lnL w="12700" cap="flat" cmpd="sng" algn="ctr">
                      <a:noFill/>
                      <a:prstDash val="solid"/>
                      <a:round/>
                      <a:headEnd type="none" w="med" len="med"/>
                      <a:tailEnd type="none" w="med" len="med"/>
                    </a:lnL>
                    <a:lnR w="12700" cmpd="sng">
                      <a:noFill/>
                    </a:lnR>
                    <a:lnT w="1905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392896629"/>
                  </a:ext>
                </a:extLst>
              </a:tr>
            </a:tbl>
          </a:graphicData>
        </a:graphic>
      </p:graphicFrame>
      <p:pic>
        <p:nvPicPr>
          <p:cNvPr id="23" name="Picture 22">
            <a:extLst>
              <a:ext uri="{FF2B5EF4-FFF2-40B4-BE49-F238E27FC236}">
                <a16:creationId xmlns:a16="http://schemas.microsoft.com/office/drawing/2014/main" id="{1630F43F-2A1C-37FB-E7FC-FF059BC2ACBD}"/>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633632" y="1374070"/>
            <a:ext cx="805661" cy="654600"/>
          </a:xfrm>
          <a:prstGeom prst="rect">
            <a:avLst/>
          </a:prstGeom>
        </p:spPr>
      </p:pic>
      <p:pic>
        <p:nvPicPr>
          <p:cNvPr id="25" name="Picture 24">
            <a:extLst>
              <a:ext uri="{FF2B5EF4-FFF2-40B4-BE49-F238E27FC236}">
                <a16:creationId xmlns:a16="http://schemas.microsoft.com/office/drawing/2014/main" id="{87F4FDE2-3494-F68F-BDA6-67961F6F6242}"/>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3418664" y="1374070"/>
            <a:ext cx="818250" cy="654600"/>
          </a:xfrm>
          <a:prstGeom prst="rect">
            <a:avLst/>
          </a:prstGeom>
        </p:spPr>
      </p:pic>
      <p:pic>
        <p:nvPicPr>
          <p:cNvPr id="26" name="Picture 25">
            <a:extLst>
              <a:ext uri="{FF2B5EF4-FFF2-40B4-BE49-F238E27FC236}">
                <a16:creationId xmlns:a16="http://schemas.microsoft.com/office/drawing/2014/main" id="{421CC147-558A-23FA-FC4F-FBDCE0F5FE79}"/>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a:xfrm>
            <a:off x="6209990" y="1374070"/>
            <a:ext cx="818250" cy="654600"/>
          </a:xfrm>
          <a:prstGeom prst="rect">
            <a:avLst/>
          </a:prstGeom>
        </p:spPr>
      </p:pic>
      <p:pic>
        <p:nvPicPr>
          <p:cNvPr id="27" name="Picture 26">
            <a:extLst>
              <a:ext uri="{FF2B5EF4-FFF2-40B4-BE49-F238E27FC236}">
                <a16:creationId xmlns:a16="http://schemas.microsoft.com/office/drawing/2014/main" id="{3208BA6C-E05A-CE8E-723A-9A4C48F8EB60}"/>
              </a:ext>
            </a:extLst>
          </p:cNvPr>
          <p:cNvPicPr>
            <a:picLocks noChangeAspect="1"/>
          </p:cNvPicPr>
          <p:nvPr/>
        </p:nvPicPr>
        <p:blipFill>
          <a:blip r:embed="rId6">
            <a:extLst>
              <a:ext uri="{28A0092B-C50C-407E-A947-70E740481C1C}">
                <a14:useLocalDpi xmlns:a14="http://schemas.microsoft.com/office/drawing/2010/main" val="0"/>
              </a:ext>
            </a:extLst>
          </a:blip>
          <a:srcRect/>
          <a:stretch/>
        </p:blipFill>
        <p:spPr>
          <a:xfrm>
            <a:off x="9001316" y="1374070"/>
            <a:ext cx="818250" cy="654600"/>
          </a:xfrm>
          <a:prstGeom prst="rect">
            <a:avLst/>
          </a:prstGeom>
        </p:spPr>
      </p:pic>
    </p:spTree>
    <p:extLst>
      <p:ext uri="{BB962C8B-B14F-4D97-AF65-F5344CB8AC3E}">
        <p14:creationId xmlns:p14="http://schemas.microsoft.com/office/powerpoint/2010/main" val="3710291466"/>
      </p:ext>
    </p:extLst>
  </p:cSld>
  <p:clrMapOvr>
    <a:masterClrMapping/>
  </p:clrMapOvr>
  <p:transition spd="slow">
    <p:push dir="u"/>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3E7B12-94E5-1E8A-9A20-C930CC8426EB}"/>
              </a:ext>
            </a:extLst>
          </p:cNvPr>
          <p:cNvSpPr>
            <a:spLocks noGrp="1"/>
          </p:cNvSpPr>
          <p:nvPr>
            <p:ph type="title"/>
          </p:nvPr>
        </p:nvSpPr>
        <p:spPr>
          <a:xfrm>
            <a:off x="639073" y="1424520"/>
            <a:ext cx="5333999" cy="3693319"/>
          </a:xfrm>
        </p:spPr>
        <p:txBody>
          <a:bodyPr/>
          <a:lstStyle/>
          <a:p>
            <a:r>
              <a:rPr lang="en-US" dirty="0"/>
              <a:t>Team development model</a:t>
            </a:r>
            <a:r>
              <a:rPr lang="en-US" dirty="0">
                <a:solidFill>
                  <a:schemeClr val="accent6"/>
                </a:solidFill>
                <a:latin typeface="+mn-lt"/>
              </a:rPr>
              <a:t> by Tackman</a:t>
            </a:r>
          </a:p>
        </p:txBody>
      </p:sp>
      <p:sp>
        <p:nvSpPr>
          <p:cNvPr id="8" name="Text Placeholder 7">
            <a:extLst>
              <a:ext uri="{FF2B5EF4-FFF2-40B4-BE49-F238E27FC236}">
                <a16:creationId xmlns:a16="http://schemas.microsoft.com/office/drawing/2014/main" id="{A33CA039-DE3C-5D85-0DB8-D98A38BFDC35}"/>
              </a:ext>
            </a:extLst>
          </p:cNvPr>
          <p:cNvSpPr>
            <a:spLocks noGrp="1"/>
          </p:cNvSpPr>
          <p:nvPr>
            <p:ph type="body" sz="quarter" idx="28"/>
          </p:nvPr>
        </p:nvSpPr>
        <p:spPr>
          <a:xfrm>
            <a:off x="627063" y="419100"/>
            <a:ext cx="3725862" cy="397732"/>
          </a:xfrm>
        </p:spPr>
        <p:txBody>
          <a:bodyPr>
            <a:normAutofit/>
          </a:bodyPr>
          <a:lstStyle/>
          <a:p>
            <a:r>
              <a:rPr lang="en-US" dirty="0"/>
              <a:t>Your Main Activity</a:t>
            </a:r>
          </a:p>
        </p:txBody>
      </p:sp>
      <p:sp>
        <p:nvSpPr>
          <p:cNvPr id="10" name="Text Placeholder 9">
            <a:extLst>
              <a:ext uri="{FF2B5EF4-FFF2-40B4-BE49-F238E27FC236}">
                <a16:creationId xmlns:a16="http://schemas.microsoft.com/office/drawing/2014/main" id="{1F88C411-8C59-AFA3-5C10-11E75FDF9817}"/>
              </a:ext>
            </a:extLst>
          </p:cNvPr>
          <p:cNvSpPr>
            <a:spLocks noGrp="1"/>
          </p:cNvSpPr>
          <p:nvPr>
            <p:ph type="body" sz="quarter" idx="25"/>
          </p:nvPr>
        </p:nvSpPr>
        <p:spPr/>
        <p:txBody>
          <a:bodyPr/>
          <a:lstStyle/>
          <a:p>
            <a:r>
              <a:rPr lang="en-US" dirty="0"/>
              <a:t>How to build a Team?</a:t>
            </a:r>
          </a:p>
        </p:txBody>
      </p:sp>
      <p:pic>
        <p:nvPicPr>
          <p:cNvPr id="3" name="Picture 4" descr="4.2 Five Models for Understanding Team Dynamics – Technical Writing  Essentials">
            <a:extLst>
              <a:ext uri="{FF2B5EF4-FFF2-40B4-BE49-F238E27FC236}">
                <a16:creationId xmlns:a16="http://schemas.microsoft.com/office/drawing/2014/main" id="{55AAB63B-AF30-FF99-6EAF-A2D92D4DA3AC}"/>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505843" y="617966"/>
            <a:ext cx="5333999" cy="5110041"/>
          </a:xfrm>
          <a:prstGeom prst="snip2DiagRect">
            <a:avLst>
              <a:gd name="adj1" fmla="val 0"/>
              <a:gd name="adj2" fmla="val 16667"/>
            </a:avLst>
          </a:prstGeom>
          <a:solidFill>
            <a:srgbClr val="FFFFFF">
              <a:shade val="85000"/>
            </a:srgbClr>
          </a:solidFill>
          <a:ln w="88900" cap="sq">
            <a:solidFill>
              <a:srgbClr val="FFFFFF"/>
            </a:solidFill>
            <a:miter lim="800000"/>
          </a:ln>
          <a:effectLst>
            <a:outerShdw blurRad="88900" algn="tl" rotWithShape="0">
              <a:srgbClr val="000000">
                <a:alpha val="45000"/>
              </a:srgbClr>
            </a:outerShdw>
          </a:effectLst>
          <a:scene3d>
            <a:camera prst="orthographicFront"/>
            <a:lightRig rig="twoPt" dir="t">
              <a:rot lat="0" lon="0" rev="7200000"/>
            </a:lightRig>
          </a:scene3d>
          <a:sp3d>
            <a:bevelT w="25400" h="19050"/>
            <a:contourClr>
              <a:srgbClr val="FFFFFF"/>
            </a:contourClr>
          </a:sp3d>
        </p:spPr>
      </p:pic>
    </p:spTree>
    <p:extLst>
      <p:ext uri="{BB962C8B-B14F-4D97-AF65-F5344CB8AC3E}">
        <p14:creationId xmlns:p14="http://schemas.microsoft.com/office/powerpoint/2010/main" val="4119204716"/>
      </p:ext>
    </p:extLst>
  </p:cSld>
  <p:clrMapOvr>
    <a:masterClrMapping/>
  </p:clrMapOvr>
  <p:transition spd="slow">
    <p:push dir="u"/>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3E7B12-94E5-1E8A-9A20-C930CC8426EB}"/>
              </a:ext>
            </a:extLst>
          </p:cNvPr>
          <p:cNvSpPr>
            <a:spLocks noGrp="1"/>
          </p:cNvSpPr>
          <p:nvPr>
            <p:ph type="title"/>
          </p:nvPr>
        </p:nvSpPr>
        <p:spPr>
          <a:xfrm>
            <a:off x="627063" y="722843"/>
            <a:ext cx="3817168" cy="225706"/>
          </a:xfrm>
        </p:spPr>
        <p:txBody>
          <a:bodyPr/>
          <a:lstStyle/>
          <a:p>
            <a:r>
              <a:rPr lang="en-US" dirty="0"/>
              <a:t>THE </a:t>
            </a:r>
            <a:r>
              <a:rPr lang="en-US" dirty="0">
                <a:solidFill>
                  <a:schemeClr val="accent6"/>
                </a:solidFill>
              </a:rPr>
              <a:t>FUNDAMENTAL</a:t>
            </a:r>
            <a:r>
              <a:rPr lang="en-US" dirty="0"/>
              <a:t> ATTRIBUTION ERROR</a:t>
            </a:r>
          </a:p>
        </p:txBody>
      </p:sp>
      <p:sp>
        <p:nvSpPr>
          <p:cNvPr id="8" name="Text Placeholder 7">
            <a:extLst>
              <a:ext uri="{FF2B5EF4-FFF2-40B4-BE49-F238E27FC236}">
                <a16:creationId xmlns:a16="http://schemas.microsoft.com/office/drawing/2014/main" id="{A33CA039-DE3C-5D85-0DB8-D98A38BFDC35}"/>
              </a:ext>
            </a:extLst>
          </p:cNvPr>
          <p:cNvSpPr>
            <a:spLocks noGrp="1"/>
          </p:cNvSpPr>
          <p:nvPr>
            <p:ph type="body" sz="quarter" idx="28"/>
          </p:nvPr>
        </p:nvSpPr>
        <p:spPr/>
        <p:txBody>
          <a:bodyPr>
            <a:normAutofit/>
          </a:bodyPr>
          <a:lstStyle/>
          <a:p>
            <a:r>
              <a:rPr lang="en-US" dirty="0"/>
              <a:t>Point of view problem</a:t>
            </a:r>
          </a:p>
        </p:txBody>
      </p:sp>
      <p:sp>
        <p:nvSpPr>
          <p:cNvPr id="7" name="Text Placeholder 6">
            <a:extLst>
              <a:ext uri="{FF2B5EF4-FFF2-40B4-BE49-F238E27FC236}">
                <a16:creationId xmlns:a16="http://schemas.microsoft.com/office/drawing/2014/main" id="{CA211C83-0ECC-7201-4143-28C0C45C24D4}"/>
              </a:ext>
            </a:extLst>
          </p:cNvPr>
          <p:cNvSpPr>
            <a:spLocks noGrp="1"/>
          </p:cNvSpPr>
          <p:nvPr>
            <p:ph type="body" sz="quarter" idx="16"/>
          </p:nvPr>
        </p:nvSpPr>
        <p:spPr>
          <a:xfrm>
            <a:off x="627062" y="1981200"/>
            <a:ext cx="4636915" cy="3221651"/>
          </a:xfrm>
        </p:spPr>
        <p:txBody>
          <a:bodyPr/>
          <a:lstStyle/>
          <a:p>
            <a:r>
              <a:rPr lang="en-US" sz="1600" b="1" dirty="0"/>
              <a:t>The fundamental attribution </a:t>
            </a:r>
            <a:r>
              <a:rPr lang="en-US" sz="1600" dirty="0"/>
              <a:t>error describes a common cognitive bias where individuals are inclined to ascribe the behavior of others to inherent personality traits, while attributing their own actions to environmental or situational influences.</a:t>
            </a:r>
          </a:p>
          <a:p>
            <a:r>
              <a:rPr lang="en-US" sz="1600" i="1" dirty="0"/>
              <a:t>In practical terms, this means that when it comes to evaluating others, we may overlook external factors and disproportionately blame their character. Conversely, we often excuse our own actions by citing circumstantial challenges or pressures.</a:t>
            </a:r>
          </a:p>
          <a:p>
            <a:r>
              <a:rPr lang="en-US" sz="1600" b="1" dirty="0"/>
              <a:t>Areas: </a:t>
            </a:r>
            <a:r>
              <a:rPr lang="en-US" sz="1600" dirty="0"/>
              <a:t>Performance Review, Conflicts Resolution, Feedback (Internal and External) </a:t>
            </a:r>
            <a:endParaRPr lang="en-US" sz="1600" b="1" dirty="0"/>
          </a:p>
        </p:txBody>
      </p:sp>
      <p:pic>
        <p:nvPicPr>
          <p:cNvPr id="2050" name="Picture 2" descr="Fundamental Attribution Error — DTA Innovation">
            <a:extLst>
              <a:ext uri="{FF2B5EF4-FFF2-40B4-BE49-F238E27FC236}">
                <a16:creationId xmlns:a16="http://schemas.microsoft.com/office/drawing/2014/main" id="{A5FDD9F3-FF97-5AF5-F57A-9A54FDDC8732}"/>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352159" y="1081115"/>
            <a:ext cx="5958843" cy="469576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01109454"/>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7">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7">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3E7B12-94E5-1E8A-9A20-C930CC8426EB}"/>
              </a:ext>
            </a:extLst>
          </p:cNvPr>
          <p:cNvSpPr>
            <a:spLocks noGrp="1"/>
          </p:cNvSpPr>
          <p:nvPr>
            <p:ph type="title"/>
          </p:nvPr>
        </p:nvSpPr>
        <p:spPr>
          <a:xfrm>
            <a:off x="627063" y="722843"/>
            <a:ext cx="3817168" cy="225706"/>
          </a:xfrm>
        </p:spPr>
        <p:txBody>
          <a:bodyPr/>
          <a:lstStyle/>
          <a:p>
            <a:r>
              <a:rPr lang="en-US" dirty="0">
                <a:solidFill>
                  <a:schemeClr val="accent6"/>
                </a:solidFill>
              </a:rPr>
              <a:t>Dialectical</a:t>
            </a:r>
            <a:r>
              <a:rPr lang="en-US" dirty="0"/>
              <a:t> method (logic)</a:t>
            </a:r>
          </a:p>
        </p:txBody>
      </p:sp>
      <p:sp>
        <p:nvSpPr>
          <p:cNvPr id="8" name="Text Placeholder 7">
            <a:extLst>
              <a:ext uri="{FF2B5EF4-FFF2-40B4-BE49-F238E27FC236}">
                <a16:creationId xmlns:a16="http://schemas.microsoft.com/office/drawing/2014/main" id="{A33CA039-DE3C-5D85-0DB8-D98A38BFDC35}"/>
              </a:ext>
            </a:extLst>
          </p:cNvPr>
          <p:cNvSpPr>
            <a:spLocks noGrp="1"/>
          </p:cNvSpPr>
          <p:nvPr>
            <p:ph type="body" sz="quarter" idx="28"/>
          </p:nvPr>
        </p:nvSpPr>
        <p:spPr/>
        <p:txBody>
          <a:bodyPr>
            <a:normAutofit/>
          </a:bodyPr>
          <a:lstStyle/>
          <a:p>
            <a:r>
              <a:rPr lang="en-US" dirty="0"/>
              <a:t>A bit of Philosophy</a:t>
            </a:r>
          </a:p>
        </p:txBody>
      </p:sp>
      <p:sp>
        <p:nvSpPr>
          <p:cNvPr id="7" name="Text Placeholder 6">
            <a:extLst>
              <a:ext uri="{FF2B5EF4-FFF2-40B4-BE49-F238E27FC236}">
                <a16:creationId xmlns:a16="http://schemas.microsoft.com/office/drawing/2014/main" id="{CA211C83-0ECC-7201-4143-28C0C45C24D4}"/>
              </a:ext>
            </a:extLst>
          </p:cNvPr>
          <p:cNvSpPr>
            <a:spLocks noGrp="1"/>
          </p:cNvSpPr>
          <p:nvPr>
            <p:ph type="body" sz="quarter" idx="16"/>
          </p:nvPr>
        </p:nvSpPr>
        <p:spPr>
          <a:xfrm>
            <a:off x="627062" y="1490597"/>
            <a:ext cx="5603571" cy="3708964"/>
          </a:xfrm>
        </p:spPr>
        <p:txBody>
          <a:bodyPr/>
          <a:lstStyle/>
          <a:p>
            <a:r>
              <a:rPr lang="en-US" sz="1600" dirty="0"/>
              <a:t>“Dialectics” refers to a method of philosophical reasoning that examines contradictions between opposing viewpoints.</a:t>
            </a:r>
          </a:p>
          <a:p>
            <a:r>
              <a:rPr lang="en-US" sz="1600" dirty="0"/>
              <a:t>The core principle of dialectics is to analyze any given object or phenomenon from multiple angles by understanding its development and interrelationships.</a:t>
            </a:r>
          </a:p>
          <a:p>
            <a:r>
              <a:rPr lang="en-US" sz="1600" dirty="0"/>
              <a:t>To apply dialectic logic in team leadership, consider each situation through three key perspectives:</a:t>
            </a:r>
          </a:p>
          <a:p>
            <a:pPr marL="285750" indent="-285750">
              <a:buFont typeface="Arial" panose="020B0604020202020204" pitchFamily="34" charset="0"/>
              <a:buChar char="•"/>
            </a:pPr>
            <a:r>
              <a:rPr lang="en-US" sz="1600" b="1" dirty="0"/>
              <a:t>Multiple Points of View</a:t>
            </a:r>
            <a:r>
              <a:rPr lang="en-US" sz="1600" dirty="0"/>
              <a:t>: Look at the situation from various perspectives to understand the current context.</a:t>
            </a:r>
          </a:p>
          <a:p>
            <a:pPr marL="285750" indent="-285750">
              <a:buFont typeface="Arial" panose="020B0604020202020204" pitchFamily="34" charset="0"/>
              <a:buChar char="•"/>
            </a:pPr>
            <a:r>
              <a:rPr lang="en-US" sz="1600" b="1" dirty="0"/>
              <a:t>Historical Context</a:t>
            </a:r>
            <a:r>
              <a:rPr lang="en-US" sz="1600" dirty="0"/>
              <a:t>: Analyze the factors that led to the situation and predict potential future outcomes.</a:t>
            </a:r>
          </a:p>
          <a:p>
            <a:pPr marL="285750" indent="-285750">
              <a:buFont typeface="Arial" panose="020B0604020202020204" pitchFamily="34" charset="0"/>
              <a:buChar char="•"/>
            </a:pPr>
            <a:r>
              <a:rPr lang="en-US" sz="1600" b="1" dirty="0"/>
              <a:t>Interconnections</a:t>
            </a:r>
            <a:r>
              <a:rPr lang="en-US" sz="1600" dirty="0"/>
              <a:t>: Evaluate the impact of the situation on other team members and ongoing processes.</a:t>
            </a:r>
          </a:p>
        </p:txBody>
      </p:sp>
      <p:pic>
        <p:nvPicPr>
          <p:cNvPr id="3" name="Picture 2" descr="The Anti-Dialectic and the Nihilectic -">
            <a:extLst>
              <a:ext uri="{FF2B5EF4-FFF2-40B4-BE49-F238E27FC236}">
                <a16:creationId xmlns:a16="http://schemas.microsoft.com/office/drawing/2014/main" id="{21E6D042-3DC1-71F8-8974-A353C9DDEF8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418941" y="419100"/>
            <a:ext cx="5035464" cy="581909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0625334"/>
      </p:ext>
    </p:extLst>
  </p:cSld>
  <p:clrMapOvr>
    <a:masterClrMapping/>
  </p:clrMapOvr>
  <p:transition spd="slow">
    <p:push dir="u"/>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3E7B12-94E5-1E8A-9A20-C930CC8426EB}"/>
              </a:ext>
            </a:extLst>
          </p:cNvPr>
          <p:cNvSpPr>
            <a:spLocks noGrp="1"/>
          </p:cNvSpPr>
          <p:nvPr>
            <p:ph type="title"/>
          </p:nvPr>
        </p:nvSpPr>
        <p:spPr>
          <a:xfrm>
            <a:off x="627062" y="722843"/>
            <a:ext cx="5468937" cy="225706"/>
          </a:xfrm>
        </p:spPr>
        <p:txBody>
          <a:bodyPr/>
          <a:lstStyle/>
          <a:p>
            <a:r>
              <a:rPr lang="en-US" dirty="0">
                <a:solidFill>
                  <a:schemeClr val="accent6"/>
                </a:solidFill>
              </a:rPr>
              <a:t>Dialectical</a:t>
            </a:r>
            <a:r>
              <a:rPr lang="en-US" dirty="0"/>
              <a:t> method (logic) - Examples</a:t>
            </a:r>
          </a:p>
        </p:txBody>
      </p:sp>
      <p:sp>
        <p:nvSpPr>
          <p:cNvPr id="8" name="Text Placeholder 7">
            <a:extLst>
              <a:ext uri="{FF2B5EF4-FFF2-40B4-BE49-F238E27FC236}">
                <a16:creationId xmlns:a16="http://schemas.microsoft.com/office/drawing/2014/main" id="{A33CA039-DE3C-5D85-0DB8-D98A38BFDC35}"/>
              </a:ext>
            </a:extLst>
          </p:cNvPr>
          <p:cNvSpPr>
            <a:spLocks noGrp="1"/>
          </p:cNvSpPr>
          <p:nvPr>
            <p:ph type="body" sz="quarter" idx="28"/>
          </p:nvPr>
        </p:nvSpPr>
        <p:spPr/>
        <p:txBody>
          <a:bodyPr>
            <a:normAutofit/>
          </a:bodyPr>
          <a:lstStyle/>
          <a:p>
            <a:r>
              <a:rPr lang="en-US" dirty="0"/>
              <a:t>A bit of Philosophy</a:t>
            </a:r>
          </a:p>
        </p:txBody>
      </p:sp>
      <p:sp>
        <p:nvSpPr>
          <p:cNvPr id="7" name="Text Placeholder 6">
            <a:extLst>
              <a:ext uri="{FF2B5EF4-FFF2-40B4-BE49-F238E27FC236}">
                <a16:creationId xmlns:a16="http://schemas.microsoft.com/office/drawing/2014/main" id="{CA211C83-0ECC-7201-4143-28C0C45C24D4}"/>
              </a:ext>
            </a:extLst>
          </p:cNvPr>
          <p:cNvSpPr>
            <a:spLocks noGrp="1"/>
          </p:cNvSpPr>
          <p:nvPr>
            <p:ph type="body" sz="quarter" idx="16"/>
          </p:nvPr>
        </p:nvSpPr>
        <p:spPr>
          <a:xfrm>
            <a:off x="627062" y="1490597"/>
            <a:ext cx="5468937" cy="4247573"/>
          </a:xfrm>
        </p:spPr>
        <p:txBody>
          <a:bodyPr/>
          <a:lstStyle/>
          <a:p>
            <a:r>
              <a:rPr lang="en-US" sz="1600" b="1" dirty="0"/>
              <a:t>Project Management: </a:t>
            </a:r>
            <a:r>
              <a:rPr lang="en-US" sz="1600" dirty="0"/>
              <a:t>When leading a software development team, use dialectic logic to balance the need for rapid innovation (thesis) with the necessity of maintaining system stability (antithesis). Synthesize these opposing needs to find a middle ground that ensures both progressive development and reliable performance.</a:t>
            </a:r>
          </a:p>
          <a:p>
            <a:r>
              <a:rPr lang="en-US" sz="1600" b="1" dirty="0"/>
              <a:t>Conflict Resolution: </a:t>
            </a:r>
            <a:r>
              <a:rPr lang="en-US" sz="1600" dirty="0"/>
              <a:t>If two team members have opposing ideas about how to implement a feature, encourage a dialectic approach by having them present their arguments and counterarguments. This process can lead to a synthesis of ideas, where a new, improved solution emerges that incorporates elements from both original proposals.</a:t>
            </a:r>
          </a:p>
          <a:p>
            <a:r>
              <a:rPr lang="en-US" sz="1600" b="1" dirty="0"/>
              <a:t>Resource Allocation: </a:t>
            </a:r>
            <a:r>
              <a:rPr lang="en-US" sz="1600" dirty="0"/>
              <a:t>When deciding how to allocate limited resources like developer time or server capacity, consider the immediate needs of the project (thesis) as well as long-term growth objectives (antithesis). Using dialectic reasoning, develop a strategy that optimally supports both current and future demands.</a:t>
            </a:r>
          </a:p>
        </p:txBody>
      </p:sp>
      <p:pic>
        <p:nvPicPr>
          <p:cNvPr id="2050" name="Picture 2" descr="The Anti-Dialectic and the Nihilectic -">
            <a:extLst>
              <a:ext uri="{FF2B5EF4-FFF2-40B4-BE49-F238E27FC236}">
                <a16:creationId xmlns:a16="http://schemas.microsoft.com/office/drawing/2014/main" id="{D9E1441F-183C-174F-112F-9BEEF6EDD8F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400800" y="419100"/>
            <a:ext cx="5035464" cy="581909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22059108"/>
      </p:ext>
    </p:extLst>
  </p:cSld>
  <p:clrMapOvr>
    <a:masterClrMapping/>
  </p:clrMapOvr>
  <p:transition spd="slow">
    <p:push dir="u"/>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3E7B12-94E5-1E8A-9A20-C930CC8426EB}"/>
              </a:ext>
            </a:extLst>
          </p:cNvPr>
          <p:cNvSpPr>
            <a:spLocks noGrp="1"/>
          </p:cNvSpPr>
          <p:nvPr>
            <p:ph type="title"/>
          </p:nvPr>
        </p:nvSpPr>
        <p:spPr>
          <a:xfrm>
            <a:off x="627063" y="722843"/>
            <a:ext cx="6337408" cy="225706"/>
          </a:xfrm>
        </p:spPr>
        <p:txBody>
          <a:bodyPr/>
          <a:lstStyle/>
          <a:p>
            <a:r>
              <a:rPr lang="en-US" dirty="0"/>
              <a:t>So, you've just become a team lead of new team that will work on new project… </a:t>
            </a:r>
          </a:p>
        </p:txBody>
      </p:sp>
      <p:sp>
        <p:nvSpPr>
          <p:cNvPr id="8" name="Text Placeholder 7">
            <a:extLst>
              <a:ext uri="{FF2B5EF4-FFF2-40B4-BE49-F238E27FC236}">
                <a16:creationId xmlns:a16="http://schemas.microsoft.com/office/drawing/2014/main" id="{A33CA039-DE3C-5D85-0DB8-D98A38BFDC35}"/>
              </a:ext>
            </a:extLst>
          </p:cNvPr>
          <p:cNvSpPr>
            <a:spLocks noGrp="1"/>
          </p:cNvSpPr>
          <p:nvPr>
            <p:ph type="body" sz="quarter" idx="28"/>
          </p:nvPr>
        </p:nvSpPr>
        <p:spPr/>
        <p:txBody>
          <a:bodyPr>
            <a:normAutofit/>
          </a:bodyPr>
          <a:lstStyle/>
          <a:p>
            <a:r>
              <a:rPr lang="en-US" dirty="0"/>
              <a:t>Team Leadership workshop: USE-cases</a:t>
            </a:r>
          </a:p>
        </p:txBody>
      </p:sp>
      <p:sp>
        <p:nvSpPr>
          <p:cNvPr id="7" name="Text Placeholder 6">
            <a:extLst>
              <a:ext uri="{FF2B5EF4-FFF2-40B4-BE49-F238E27FC236}">
                <a16:creationId xmlns:a16="http://schemas.microsoft.com/office/drawing/2014/main" id="{CA211C83-0ECC-7201-4143-28C0C45C24D4}"/>
              </a:ext>
            </a:extLst>
          </p:cNvPr>
          <p:cNvSpPr>
            <a:spLocks noGrp="1"/>
          </p:cNvSpPr>
          <p:nvPr>
            <p:ph type="body" sz="quarter" idx="16"/>
          </p:nvPr>
        </p:nvSpPr>
        <p:spPr>
          <a:xfrm>
            <a:off x="627062" y="1981200"/>
            <a:ext cx="6787235" cy="4119333"/>
          </a:xfrm>
        </p:spPr>
        <p:txBody>
          <a:bodyPr/>
          <a:lstStyle/>
          <a:p>
            <a:r>
              <a:rPr lang="en-US" sz="1600" dirty="0"/>
              <a:t>Team:</a:t>
            </a:r>
          </a:p>
          <a:p>
            <a:pPr marL="285750" indent="-285750">
              <a:buFont typeface="Arial" panose="020B0604020202020204" pitchFamily="34" charset="0"/>
              <a:buChar char="•"/>
            </a:pPr>
            <a:r>
              <a:rPr lang="en-US" sz="1600" b="1" dirty="0"/>
              <a:t>Adam</a:t>
            </a:r>
            <a:r>
              <a:rPr lang="en-US" sz="1600" dirty="0"/>
              <a:t>: A highly </a:t>
            </a:r>
            <a:r>
              <a:rPr lang="en-US" sz="1600" b="1" dirty="0"/>
              <a:t>experienced senior developer</a:t>
            </a:r>
            <a:r>
              <a:rPr lang="en-US" sz="1600" dirty="0"/>
              <a:t>, primarily focused on the technical aspects of projects.</a:t>
            </a:r>
          </a:p>
          <a:p>
            <a:pPr marL="285750" indent="-285750">
              <a:buFont typeface="Arial" panose="020B0604020202020204" pitchFamily="34" charset="0"/>
              <a:buChar char="•"/>
            </a:pPr>
            <a:r>
              <a:rPr lang="en-US" sz="1600" b="1" dirty="0"/>
              <a:t>Bob</a:t>
            </a:r>
            <a:r>
              <a:rPr lang="en-US" sz="1600" dirty="0"/>
              <a:t>: A strong </a:t>
            </a:r>
            <a:r>
              <a:rPr lang="en-US" sz="1600" b="1" dirty="0"/>
              <a:t>middle+ developer</a:t>
            </a:r>
            <a:r>
              <a:rPr lang="en-US" sz="1600" dirty="0"/>
              <a:t> and has specific skills crucial to this project. Loyal to his former team and skeptical about the new team's potential.</a:t>
            </a:r>
          </a:p>
          <a:p>
            <a:pPr marL="285750" indent="-285750">
              <a:buFont typeface="Arial" panose="020B0604020202020204" pitchFamily="34" charset="0"/>
              <a:buChar char="•"/>
            </a:pPr>
            <a:r>
              <a:rPr lang="en-US" sz="1600" b="1" dirty="0"/>
              <a:t>Eva</a:t>
            </a:r>
            <a:r>
              <a:rPr lang="en-US" sz="1600" dirty="0"/>
              <a:t>: A promising junior developer eager to learn and explore new technologies.</a:t>
            </a:r>
          </a:p>
          <a:p>
            <a:pPr marL="285750" indent="-285750">
              <a:buFont typeface="Arial" panose="020B0604020202020204" pitchFamily="34" charset="0"/>
              <a:buChar char="•"/>
            </a:pPr>
            <a:r>
              <a:rPr lang="en-US" sz="1600" b="1" dirty="0"/>
              <a:t>Diana</a:t>
            </a:r>
            <a:r>
              <a:rPr lang="en-US" sz="1600" dirty="0"/>
              <a:t>: A </a:t>
            </a:r>
            <a:r>
              <a:rPr lang="en-US" sz="1600" b="1" dirty="0"/>
              <a:t>tester</a:t>
            </a:r>
            <a:r>
              <a:rPr lang="en-US" sz="1600" dirty="0"/>
              <a:t> with aspirations to advance in </a:t>
            </a:r>
            <a:r>
              <a:rPr lang="en-US" sz="1600" b="1" dirty="0"/>
              <a:t>test automation</a:t>
            </a:r>
            <a:r>
              <a:rPr lang="en-US" sz="1600" dirty="0"/>
              <a:t>. Expressed concerns about maintaining feature stability as new updates are implemented.</a:t>
            </a:r>
          </a:p>
          <a:p>
            <a:pPr marL="285750" indent="-285750">
              <a:buFont typeface="Arial" panose="020B0604020202020204" pitchFamily="34" charset="0"/>
              <a:buChar char="•"/>
            </a:pPr>
            <a:r>
              <a:rPr lang="en-US" sz="1600" b="1" dirty="0"/>
              <a:t>Mary</a:t>
            </a:r>
            <a:r>
              <a:rPr lang="en-US" sz="1600" dirty="0"/>
              <a:t>: The </a:t>
            </a:r>
            <a:r>
              <a:rPr lang="en-US" sz="1600" b="1" dirty="0"/>
              <a:t>product owner </a:t>
            </a:r>
            <a:r>
              <a:rPr lang="en-US" sz="1600" dirty="0"/>
              <a:t>and</a:t>
            </a:r>
            <a:r>
              <a:rPr lang="en-US" sz="1600" b="1" dirty="0"/>
              <a:t> business analyst</a:t>
            </a:r>
            <a:r>
              <a:rPr lang="en-US" sz="1600" dirty="0"/>
              <a:t>, acting as the primary liaison between the team and the client.</a:t>
            </a:r>
          </a:p>
          <a:p>
            <a:pPr marL="285750" indent="-285750">
              <a:buFont typeface="Arial" panose="020B0604020202020204" pitchFamily="34" charset="0"/>
              <a:buChar char="•"/>
            </a:pPr>
            <a:r>
              <a:rPr lang="en-US" sz="1600" b="1" dirty="0"/>
              <a:t>Dean</a:t>
            </a:r>
            <a:r>
              <a:rPr lang="en-US" sz="1600" dirty="0"/>
              <a:t>: A </a:t>
            </a:r>
            <a:r>
              <a:rPr lang="en-US" sz="1600" b="1" dirty="0"/>
              <a:t>scrum master </a:t>
            </a:r>
            <a:r>
              <a:rPr lang="en-US" sz="1600" dirty="0"/>
              <a:t>experienced in facilitating standard agile ceremonies but offers limited additional contributions.</a:t>
            </a:r>
          </a:p>
          <a:p>
            <a:pPr marL="285750" indent="-285750">
              <a:buFont typeface="Arial" panose="020B0604020202020204" pitchFamily="34" charset="0"/>
              <a:buChar char="•"/>
            </a:pPr>
            <a:r>
              <a:rPr lang="en-US" sz="1600" b="1" dirty="0"/>
              <a:t>Pavel</a:t>
            </a:r>
            <a:r>
              <a:rPr lang="en-US" sz="1600" dirty="0"/>
              <a:t>: A </a:t>
            </a:r>
            <a:r>
              <a:rPr lang="en-US" sz="1600" b="1" dirty="0"/>
              <a:t>DevOps</a:t>
            </a:r>
            <a:r>
              <a:rPr lang="en-US" sz="1600" dirty="0"/>
              <a:t> engineer focused on achieving a fully automated CI/CD pipeline for the project.</a:t>
            </a:r>
          </a:p>
        </p:txBody>
      </p:sp>
      <p:grpSp>
        <p:nvGrpSpPr>
          <p:cNvPr id="21" name="Group 20">
            <a:extLst>
              <a:ext uri="{FF2B5EF4-FFF2-40B4-BE49-F238E27FC236}">
                <a16:creationId xmlns:a16="http://schemas.microsoft.com/office/drawing/2014/main" id="{B67B7893-3F66-AC57-B9B8-6DC0F5260A9C}"/>
              </a:ext>
            </a:extLst>
          </p:cNvPr>
          <p:cNvGrpSpPr/>
          <p:nvPr/>
        </p:nvGrpSpPr>
        <p:grpSpPr>
          <a:xfrm>
            <a:off x="9027705" y="677498"/>
            <a:ext cx="923632" cy="1258357"/>
            <a:chOff x="9278671" y="722843"/>
            <a:chExt cx="923632" cy="1258357"/>
          </a:xfrm>
        </p:grpSpPr>
        <p:pic>
          <p:nvPicPr>
            <p:cNvPr id="14" name="Picture 13" descr="Icon&#10;&#10;Description automatically generated">
              <a:extLst>
                <a:ext uri="{FF2B5EF4-FFF2-40B4-BE49-F238E27FC236}">
                  <a16:creationId xmlns:a16="http://schemas.microsoft.com/office/drawing/2014/main" id="{58BC4A20-D726-6A4C-E97A-81BCE468C2C1}"/>
                </a:ext>
              </a:extLst>
            </p:cNvPr>
            <p:cNvPicPr>
              <a:picLocks noChangeAspect="1"/>
            </p:cNvPicPr>
            <p:nvPr/>
          </p:nvPicPr>
          <p:blipFill>
            <a:blip r:embed="rId3"/>
            <a:stretch>
              <a:fillRect/>
            </a:stretch>
          </p:blipFill>
          <p:spPr>
            <a:xfrm>
              <a:off x="9278671" y="722843"/>
              <a:ext cx="862741" cy="862741"/>
            </a:xfrm>
            <a:prstGeom prst="rect">
              <a:avLst/>
            </a:prstGeom>
          </p:spPr>
        </p:pic>
        <p:sp>
          <p:nvSpPr>
            <p:cNvPr id="20" name="TextBox 19">
              <a:extLst>
                <a:ext uri="{FF2B5EF4-FFF2-40B4-BE49-F238E27FC236}">
                  <a16:creationId xmlns:a16="http://schemas.microsoft.com/office/drawing/2014/main" id="{F6C03A81-4BC5-46FC-7AE6-39BD20FCB462}"/>
                </a:ext>
              </a:extLst>
            </p:cNvPr>
            <p:cNvSpPr txBox="1"/>
            <p:nvPr/>
          </p:nvSpPr>
          <p:spPr>
            <a:xfrm>
              <a:off x="9287903" y="1673675"/>
              <a:ext cx="914400" cy="307525"/>
            </a:xfrm>
            <a:prstGeom prst="rect">
              <a:avLst/>
            </a:prstGeom>
            <a:noFill/>
          </p:spPr>
          <p:txBody>
            <a:bodyPr wrap="none" lIns="0" tIns="0" rIns="0" bIns="0" rtlCol="0">
              <a:noAutofit/>
            </a:bodyPr>
            <a:lstStyle/>
            <a:p>
              <a:pPr algn="ctr">
                <a:lnSpc>
                  <a:spcPct val="110000"/>
                </a:lnSpc>
                <a:spcBef>
                  <a:spcPts val="600"/>
                </a:spcBef>
              </a:pPr>
              <a:r>
                <a:rPr lang="en-US" sz="1200" dirty="0">
                  <a:ea typeface="Human Sans" charset="0"/>
                  <a:cs typeface="Human Sans" charset="0"/>
                </a:rPr>
                <a:t>Dean - SM</a:t>
              </a:r>
            </a:p>
          </p:txBody>
        </p:sp>
      </p:grpSp>
      <p:grpSp>
        <p:nvGrpSpPr>
          <p:cNvPr id="29" name="Group 28">
            <a:extLst>
              <a:ext uri="{FF2B5EF4-FFF2-40B4-BE49-F238E27FC236}">
                <a16:creationId xmlns:a16="http://schemas.microsoft.com/office/drawing/2014/main" id="{F2EF02E5-8F60-8DA6-2D9F-CE040D63FE3A}"/>
              </a:ext>
            </a:extLst>
          </p:cNvPr>
          <p:cNvGrpSpPr/>
          <p:nvPr/>
        </p:nvGrpSpPr>
        <p:grpSpPr>
          <a:xfrm>
            <a:off x="7949057" y="1717959"/>
            <a:ext cx="914400" cy="1280310"/>
            <a:chOff x="7949057" y="1717959"/>
            <a:chExt cx="914400" cy="1280310"/>
          </a:xfrm>
        </p:grpSpPr>
        <p:pic>
          <p:nvPicPr>
            <p:cNvPr id="6" name="Picture 5" descr="Icon, circle&#10;&#10;Description automatically generated">
              <a:extLst>
                <a:ext uri="{FF2B5EF4-FFF2-40B4-BE49-F238E27FC236}">
                  <a16:creationId xmlns:a16="http://schemas.microsoft.com/office/drawing/2014/main" id="{EC77AC7B-0E47-E0D9-90E7-0E46158BB532}"/>
                </a:ext>
              </a:extLst>
            </p:cNvPr>
            <p:cNvPicPr>
              <a:picLocks noChangeAspect="1"/>
            </p:cNvPicPr>
            <p:nvPr/>
          </p:nvPicPr>
          <p:blipFill>
            <a:blip r:embed="rId4"/>
            <a:stretch>
              <a:fillRect/>
            </a:stretch>
          </p:blipFill>
          <p:spPr>
            <a:xfrm>
              <a:off x="7974889" y="1717959"/>
              <a:ext cx="862741" cy="862741"/>
            </a:xfrm>
            <a:prstGeom prst="rect">
              <a:avLst/>
            </a:prstGeom>
          </p:spPr>
        </p:pic>
        <p:sp>
          <p:nvSpPr>
            <p:cNvPr id="22" name="TextBox 21">
              <a:extLst>
                <a:ext uri="{FF2B5EF4-FFF2-40B4-BE49-F238E27FC236}">
                  <a16:creationId xmlns:a16="http://schemas.microsoft.com/office/drawing/2014/main" id="{2D1D3825-BD8F-7792-1F6F-1BC084CB37CD}"/>
                </a:ext>
              </a:extLst>
            </p:cNvPr>
            <p:cNvSpPr txBox="1"/>
            <p:nvPr/>
          </p:nvSpPr>
          <p:spPr>
            <a:xfrm>
              <a:off x="7949057" y="2690744"/>
              <a:ext cx="914400" cy="307525"/>
            </a:xfrm>
            <a:prstGeom prst="rect">
              <a:avLst/>
            </a:prstGeom>
            <a:noFill/>
          </p:spPr>
          <p:txBody>
            <a:bodyPr wrap="none" lIns="0" tIns="0" rIns="0" bIns="0" rtlCol="0">
              <a:noAutofit/>
            </a:bodyPr>
            <a:lstStyle/>
            <a:p>
              <a:pPr algn="ctr">
                <a:lnSpc>
                  <a:spcPct val="110000"/>
                </a:lnSpc>
                <a:spcBef>
                  <a:spcPts val="600"/>
                </a:spcBef>
              </a:pPr>
              <a:r>
                <a:rPr lang="en-US" sz="1200" dirty="0">
                  <a:ea typeface="Human Sans" charset="0"/>
                  <a:cs typeface="Human Sans" charset="0"/>
                </a:rPr>
                <a:t>Adam – SD</a:t>
              </a:r>
            </a:p>
          </p:txBody>
        </p:sp>
      </p:grpSp>
      <p:grpSp>
        <p:nvGrpSpPr>
          <p:cNvPr id="30" name="Group 29">
            <a:extLst>
              <a:ext uri="{FF2B5EF4-FFF2-40B4-BE49-F238E27FC236}">
                <a16:creationId xmlns:a16="http://schemas.microsoft.com/office/drawing/2014/main" id="{45BB9897-42C0-9EA7-E1F1-808E0968272E}"/>
              </a:ext>
            </a:extLst>
          </p:cNvPr>
          <p:cNvGrpSpPr/>
          <p:nvPr/>
        </p:nvGrpSpPr>
        <p:grpSpPr>
          <a:xfrm>
            <a:off x="10141412" y="1757429"/>
            <a:ext cx="926780" cy="1257253"/>
            <a:chOff x="10327938" y="1717960"/>
            <a:chExt cx="926780" cy="1257253"/>
          </a:xfrm>
        </p:grpSpPr>
        <p:pic>
          <p:nvPicPr>
            <p:cNvPr id="10" name="Picture 9" descr="Icon&#10;&#10;Description automatically generated">
              <a:extLst>
                <a:ext uri="{FF2B5EF4-FFF2-40B4-BE49-F238E27FC236}">
                  <a16:creationId xmlns:a16="http://schemas.microsoft.com/office/drawing/2014/main" id="{F15D876D-2C86-622A-886D-49D3F316E86B}"/>
                </a:ext>
              </a:extLst>
            </p:cNvPr>
            <p:cNvPicPr>
              <a:picLocks noChangeAspect="1"/>
            </p:cNvPicPr>
            <p:nvPr/>
          </p:nvPicPr>
          <p:blipFill>
            <a:blip r:embed="rId5"/>
            <a:stretch>
              <a:fillRect/>
            </a:stretch>
          </p:blipFill>
          <p:spPr>
            <a:xfrm>
              <a:off x="10327938" y="1717960"/>
              <a:ext cx="862741" cy="862741"/>
            </a:xfrm>
            <a:prstGeom prst="rect">
              <a:avLst/>
            </a:prstGeom>
          </p:spPr>
        </p:pic>
        <p:sp>
          <p:nvSpPr>
            <p:cNvPr id="23" name="TextBox 22">
              <a:extLst>
                <a:ext uri="{FF2B5EF4-FFF2-40B4-BE49-F238E27FC236}">
                  <a16:creationId xmlns:a16="http://schemas.microsoft.com/office/drawing/2014/main" id="{B042E3C5-6455-E737-55BF-FE37B29D8097}"/>
                </a:ext>
              </a:extLst>
            </p:cNvPr>
            <p:cNvSpPr txBox="1"/>
            <p:nvPr/>
          </p:nvSpPr>
          <p:spPr>
            <a:xfrm>
              <a:off x="10340318" y="2667688"/>
              <a:ext cx="914400" cy="307525"/>
            </a:xfrm>
            <a:prstGeom prst="rect">
              <a:avLst/>
            </a:prstGeom>
            <a:noFill/>
          </p:spPr>
          <p:txBody>
            <a:bodyPr wrap="none" lIns="0" tIns="0" rIns="0" bIns="0" rtlCol="0">
              <a:noAutofit/>
            </a:bodyPr>
            <a:lstStyle/>
            <a:p>
              <a:pPr algn="ctr">
                <a:lnSpc>
                  <a:spcPct val="110000"/>
                </a:lnSpc>
                <a:spcBef>
                  <a:spcPts val="600"/>
                </a:spcBef>
              </a:pPr>
              <a:r>
                <a:rPr lang="en-US" sz="1200" dirty="0">
                  <a:ea typeface="Human Sans" charset="0"/>
                  <a:cs typeface="Human Sans" charset="0"/>
                </a:rPr>
                <a:t>Mary – PO/BA</a:t>
              </a:r>
            </a:p>
          </p:txBody>
        </p:sp>
      </p:grpSp>
      <p:grpSp>
        <p:nvGrpSpPr>
          <p:cNvPr id="31" name="Group 30">
            <a:extLst>
              <a:ext uri="{FF2B5EF4-FFF2-40B4-BE49-F238E27FC236}">
                <a16:creationId xmlns:a16="http://schemas.microsoft.com/office/drawing/2014/main" id="{F5F0539E-D70C-410C-6159-1431F50B1F88}"/>
              </a:ext>
            </a:extLst>
          </p:cNvPr>
          <p:cNvGrpSpPr/>
          <p:nvPr/>
        </p:nvGrpSpPr>
        <p:grpSpPr>
          <a:xfrm>
            <a:off x="7810607" y="3089981"/>
            <a:ext cx="933043" cy="1261978"/>
            <a:chOff x="7810607" y="3089981"/>
            <a:chExt cx="933043" cy="1261978"/>
          </a:xfrm>
        </p:grpSpPr>
        <p:pic>
          <p:nvPicPr>
            <p:cNvPr id="11" name="Picture 10" descr="Icon&#10;&#10;Description automatically generated">
              <a:extLst>
                <a:ext uri="{FF2B5EF4-FFF2-40B4-BE49-F238E27FC236}">
                  <a16:creationId xmlns:a16="http://schemas.microsoft.com/office/drawing/2014/main" id="{F215881F-E044-9C3B-3ADC-5201CB8938FF}"/>
                </a:ext>
              </a:extLst>
            </p:cNvPr>
            <p:cNvPicPr>
              <a:picLocks noChangeAspect="1"/>
            </p:cNvPicPr>
            <p:nvPr/>
          </p:nvPicPr>
          <p:blipFill>
            <a:blip r:embed="rId6"/>
            <a:stretch>
              <a:fillRect/>
            </a:stretch>
          </p:blipFill>
          <p:spPr>
            <a:xfrm>
              <a:off x="7810607" y="3089981"/>
              <a:ext cx="862741" cy="862741"/>
            </a:xfrm>
            <a:prstGeom prst="rect">
              <a:avLst/>
            </a:prstGeom>
          </p:spPr>
        </p:pic>
        <p:sp>
          <p:nvSpPr>
            <p:cNvPr id="24" name="TextBox 23">
              <a:extLst>
                <a:ext uri="{FF2B5EF4-FFF2-40B4-BE49-F238E27FC236}">
                  <a16:creationId xmlns:a16="http://schemas.microsoft.com/office/drawing/2014/main" id="{C5DE6761-84BF-A505-465E-92594D628EB8}"/>
                </a:ext>
              </a:extLst>
            </p:cNvPr>
            <p:cNvSpPr txBox="1"/>
            <p:nvPr/>
          </p:nvSpPr>
          <p:spPr>
            <a:xfrm>
              <a:off x="7829250" y="4044434"/>
              <a:ext cx="914400" cy="307525"/>
            </a:xfrm>
            <a:prstGeom prst="rect">
              <a:avLst/>
            </a:prstGeom>
            <a:noFill/>
          </p:spPr>
          <p:txBody>
            <a:bodyPr wrap="none" lIns="0" tIns="0" rIns="0" bIns="0" rtlCol="0">
              <a:noAutofit/>
            </a:bodyPr>
            <a:lstStyle/>
            <a:p>
              <a:pPr algn="ctr">
                <a:lnSpc>
                  <a:spcPct val="110000"/>
                </a:lnSpc>
                <a:spcBef>
                  <a:spcPts val="600"/>
                </a:spcBef>
              </a:pPr>
              <a:r>
                <a:rPr lang="en-US" sz="1200" dirty="0">
                  <a:ea typeface="Human Sans" charset="0"/>
                  <a:cs typeface="Human Sans" charset="0"/>
                </a:rPr>
                <a:t>Bob – MD</a:t>
              </a:r>
            </a:p>
          </p:txBody>
        </p:sp>
      </p:grpSp>
      <p:grpSp>
        <p:nvGrpSpPr>
          <p:cNvPr id="32" name="Group 31">
            <a:extLst>
              <a:ext uri="{FF2B5EF4-FFF2-40B4-BE49-F238E27FC236}">
                <a16:creationId xmlns:a16="http://schemas.microsoft.com/office/drawing/2014/main" id="{F8ECD77C-0570-0DCF-F3A9-671F311F8A11}"/>
              </a:ext>
            </a:extLst>
          </p:cNvPr>
          <p:cNvGrpSpPr/>
          <p:nvPr/>
        </p:nvGrpSpPr>
        <p:grpSpPr>
          <a:xfrm>
            <a:off x="8856532" y="3089982"/>
            <a:ext cx="914400" cy="1265709"/>
            <a:chOff x="8856532" y="3089982"/>
            <a:chExt cx="914400" cy="1265709"/>
          </a:xfrm>
        </p:grpSpPr>
        <p:pic>
          <p:nvPicPr>
            <p:cNvPr id="15" name="Picture 14" descr="Icon&#10;&#10;Description automatically generated">
              <a:extLst>
                <a:ext uri="{FF2B5EF4-FFF2-40B4-BE49-F238E27FC236}">
                  <a16:creationId xmlns:a16="http://schemas.microsoft.com/office/drawing/2014/main" id="{8F1A8B90-73AD-48FE-7188-337C22CD618B}"/>
                </a:ext>
              </a:extLst>
            </p:cNvPr>
            <p:cNvPicPr>
              <a:picLocks noChangeAspect="1"/>
            </p:cNvPicPr>
            <p:nvPr/>
          </p:nvPicPr>
          <p:blipFill>
            <a:blip r:embed="rId7"/>
            <a:stretch>
              <a:fillRect/>
            </a:stretch>
          </p:blipFill>
          <p:spPr>
            <a:xfrm>
              <a:off x="8882362" y="3089982"/>
              <a:ext cx="862741" cy="862741"/>
            </a:xfrm>
            <a:prstGeom prst="rect">
              <a:avLst/>
            </a:prstGeom>
          </p:spPr>
        </p:pic>
        <p:sp>
          <p:nvSpPr>
            <p:cNvPr id="25" name="TextBox 24">
              <a:extLst>
                <a:ext uri="{FF2B5EF4-FFF2-40B4-BE49-F238E27FC236}">
                  <a16:creationId xmlns:a16="http://schemas.microsoft.com/office/drawing/2014/main" id="{BA12B1B8-9A78-2F2B-A318-CC8C7907A95D}"/>
                </a:ext>
              </a:extLst>
            </p:cNvPr>
            <p:cNvSpPr txBox="1"/>
            <p:nvPr/>
          </p:nvSpPr>
          <p:spPr>
            <a:xfrm>
              <a:off x="8856532" y="4048166"/>
              <a:ext cx="914400" cy="307525"/>
            </a:xfrm>
            <a:prstGeom prst="rect">
              <a:avLst/>
            </a:prstGeom>
            <a:noFill/>
          </p:spPr>
          <p:txBody>
            <a:bodyPr wrap="none" lIns="0" tIns="0" rIns="0" bIns="0" rtlCol="0">
              <a:noAutofit/>
            </a:bodyPr>
            <a:lstStyle/>
            <a:p>
              <a:pPr algn="ctr">
                <a:lnSpc>
                  <a:spcPct val="110000"/>
                </a:lnSpc>
                <a:spcBef>
                  <a:spcPts val="600"/>
                </a:spcBef>
              </a:pPr>
              <a:r>
                <a:rPr lang="en-US" sz="1200" dirty="0">
                  <a:ea typeface="Human Sans" charset="0"/>
                  <a:cs typeface="Human Sans" charset="0"/>
                </a:rPr>
                <a:t>Eva - JD</a:t>
              </a:r>
            </a:p>
          </p:txBody>
        </p:sp>
      </p:grpSp>
      <p:grpSp>
        <p:nvGrpSpPr>
          <p:cNvPr id="33" name="Group 32">
            <a:extLst>
              <a:ext uri="{FF2B5EF4-FFF2-40B4-BE49-F238E27FC236}">
                <a16:creationId xmlns:a16="http://schemas.microsoft.com/office/drawing/2014/main" id="{EFF9DC71-9BD4-F110-AEB9-FFF927215D40}"/>
              </a:ext>
            </a:extLst>
          </p:cNvPr>
          <p:cNvGrpSpPr/>
          <p:nvPr/>
        </p:nvGrpSpPr>
        <p:grpSpPr>
          <a:xfrm>
            <a:off x="10115582" y="3089982"/>
            <a:ext cx="914400" cy="1285035"/>
            <a:chOff x="10115582" y="3089982"/>
            <a:chExt cx="914400" cy="1285035"/>
          </a:xfrm>
        </p:grpSpPr>
        <p:pic>
          <p:nvPicPr>
            <p:cNvPr id="13" name="Picture 12" descr="Icon&#10;&#10;Description automatically generated">
              <a:extLst>
                <a:ext uri="{FF2B5EF4-FFF2-40B4-BE49-F238E27FC236}">
                  <a16:creationId xmlns:a16="http://schemas.microsoft.com/office/drawing/2014/main" id="{5CB8F84C-C493-4283-51D1-6574E0EE8432}"/>
                </a:ext>
              </a:extLst>
            </p:cNvPr>
            <p:cNvPicPr>
              <a:picLocks noChangeAspect="1"/>
            </p:cNvPicPr>
            <p:nvPr/>
          </p:nvPicPr>
          <p:blipFill>
            <a:blip r:embed="rId8"/>
            <a:stretch>
              <a:fillRect/>
            </a:stretch>
          </p:blipFill>
          <p:spPr>
            <a:xfrm>
              <a:off x="10141412" y="3089982"/>
              <a:ext cx="862741" cy="862741"/>
            </a:xfrm>
            <a:prstGeom prst="rect">
              <a:avLst/>
            </a:prstGeom>
          </p:spPr>
        </p:pic>
        <p:sp>
          <p:nvSpPr>
            <p:cNvPr id="26" name="TextBox 25">
              <a:extLst>
                <a:ext uri="{FF2B5EF4-FFF2-40B4-BE49-F238E27FC236}">
                  <a16:creationId xmlns:a16="http://schemas.microsoft.com/office/drawing/2014/main" id="{982FD42B-CC5D-2261-9565-FD62D958938B}"/>
                </a:ext>
              </a:extLst>
            </p:cNvPr>
            <p:cNvSpPr txBox="1"/>
            <p:nvPr/>
          </p:nvSpPr>
          <p:spPr>
            <a:xfrm>
              <a:off x="10115582" y="4067492"/>
              <a:ext cx="914400" cy="307525"/>
            </a:xfrm>
            <a:prstGeom prst="rect">
              <a:avLst/>
            </a:prstGeom>
            <a:noFill/>
          </p:spPr>
          <p:txBody>
            <a:bodyPr wrap="none" lIns="0" tIns="0" rIns="0" bIns="0" rtlCol="0">
              <a:noAutofit/>
            </a:bodyPr>
            <a:lstStyle/>
            <a:p>
              <a:pPr algn="ctr">
                <a:lnSpc>
                  <a:spcPct val="110000"/>
                </a:lnSpc>
                <a:spcBef>
                  <a:spcPts val="600"/>
                </a:spcBef>
              </a:pPr>
              <a:r>
                <a:rPr lang="en-US" sz="1200" dirty="0">
                  <a:ea typeface="Human Sans" charset="0"/>
                  <a:cs typeface="Human Sans" charset="0"/>
                </a:rPr>
                <a:t>Diana - QA</a:t>
              </a:r>
            </a:p>
          </p:txBody>
        </p:sp>
      </p:grpSp>
      <p:grpSp>
        <p:nvGrpSpPr>
          <p:cNvPr id="34" name="Group 33">
            <a:extLst>
              <a:ext uri="{FF2B5EF4-FFF2-40B4-BE49-F238E27FC236}">
                <a16:creationId xmlns:a16="http://schemas.microsoft.com/office/drawing/2014/main" id="{7A920AD3-9843-125B-FAE7-6BC4FD5EE736}"/>
              </a:ext>
            </a:extLst>
          </p:cNvPr>
          <p:cNvGrpSpPr/>
          <p:nvPr/>
        </p:nvGrpSpPr>
        <p:grpSpPr>
          <a:xfrm>
            <a:off x="10153792" y="4495283"/>
            <a:ext cx="914400" cy="1246962"/>
            <a:chOff x="10338849" y="4462008"/>
            <a:chExt cx="914400" cy="1246962"/>
          </a:xfrm>
        </p:grpSpPr>
        <p:pic>
          <p:nvPicPr>
            <p:cNvPr id="5" name="Picture 4" descr="Icon&#10;&#10;Description automatically generated">
              <a:extLst>
                <a:ext uri="{FF2B5EF4-FFF2-40B4-BE49-F238E27FC236}">
                  <a16:creationId xmlns:a16="http://schemas.microsoft.com/office/drawing/2014/main" id="{FAF329BB-F7B2-1621-81AF-CA852487FD0B}"/>
                </a:ext>
              </a:extLst>
            </p:cNvPr>
            <p:cNvPicPr>
              <a:picLocks noChangeAspect="1"/>
            </p:cNvPicPr>
            <p:nvPr/>
          </p:nvPicPr>
          <p:blipFill>
            <a:blip r:embed="rId9"/>
            <a:stretch>
              <a:fillRect/>
            </a:stretch>
          </p:blipFill>
          <p:spPr>
            <a:xfrm>
              <a:off x="10364679" y="4462008"/>
              <a:ext cx="862741" cy="862741"/>
            </a:xfrm>
            <a:prstGeom prst="rect">
              <a:avLst/>
            </a:prstGeom>
          </p:spPr>
        </p:pic>
        <p:sp>
          <p:nvSpPr>
            <p:cNvPr id="27" name="TextBox 26">
              <a:extLst>
                <a:ext uri="{FF2B5EF4-FFF2-40B4-BE49-F238E27FC236}">
                  <a16:creationId xmlns:a16="http://schemas.microsoft.com/office/drawing/2014/main" id="{E41C8A80-0D20-9DEA-78E2-2C136138CFA8}"/>
                </a:ext>
              </a:extLst>
            </p:cNvPr>
            <p:cNvSpPr txBox="1"/>
            <p:nvPr/>
          </p:nvSpPr>
          <p:spPr>
            <a:xfrm>
              <a:off x="10338849" y="5401445"/>
              <a:ext cx="914400" cy="307525"/>
            </a:xfrm>
            <a:prstGeom prst="rect">
              <a:avLst/>
            </a:prstGeom>
            <a:noFill/>
          </p:spPr>
          <p:txBody>
            <a:bodyPr wrap="none" lIns="0" tIns="0" rIns="0" bIns="0" rtlCol="0">
              <a:noAutofit/>
            </a:bodyPr>
            <a:lstStyle/>
            <a:p>
              <a:pPr algn="ctr">
                <a:lnSpc>
                  <a:spcPct val="110000"/>
                </a:lnSpc>
                <a:spcBef>
                  <a:spcPts val="600"/>
                </a:spcBef>
              </a:pPr>
              <a:r>
                <a:rPr lang="en-US" sz="1200" dirty="0">
                  <a:ea typeface="Human Sans" charset="0"/>
                  <a:cs typeface="Human Sans" charset="0"/>
                </a:rPr>
                <a:t>Pavel - DevOps</a:t>
              </a:r>
            </a:p>
          </p:txBody>
        </p:sp>
      </p:grpSp>
      <p:grpSp>
        <p:nvGrpSpPr>
          <p:cNvPr id="35" name="Group 34">
            <a:extLst>
              <a:ext uri="{FF2B5EF4-FFF2-40B4-BE49-F238E27FC236}">
                <a16:creationId xmlns:a16="http://schemas.microsoft.com/office/drawing/2014/main" id="{81D67649-A9BA-281C-BDAB-0A8D150A00AE}"/>
              </a:ext>
            </a:extLst>
          </p:cNvPr>
          <p:cNvGrpSpPr/>
          <p:nvPr/>
        </p:nvGrpSpPr>
        <p:grpSpPr>
          <a:xfrm>
            <a:off x="7843185" y="4998887"/>
            <a:ext cx="914400" cy="1507452"/>
            <a:chOff x="7954394" y="5075784"/>
            <a:chExt cx="914400" cy="1507452"/>
          </a:xfrm>
        </p:grpSpPr>
        <p:pic>
          <p:nvPicPr>
            <p:cNvPr id="19" name="Picture 18" descr="Icon&#10;&#10;Description automatically generated">
              <a:extLst>
                <a:ext uri="{FF2B5EF4-FFF2-40B4-BE49-F238E27FC236}">
                  <a16:creationId xmlns:a16="http://schemas.microsoft.com/office/drawing/2014/main" id="{302F583D-A58C-F0C0-0AC9-7A3120F34DDA}"/>
                </a:ext>
              </a:extLst>
            </p:cNvPr>
            <p:cNvPicPr>
              <a:picLocks noChangeAspect="1"/>
            </p:cNvPicPr>
            <p:nvPr/>
          </p:nvPicPr>
          <p:blipFill>
            <a:blip r:embed="rId10"/>
            <a:stretch>
              <a:fillRect/>
            </a:stretch>
          </p:blipFill>
          <p:spPr>
            <a:xfrm>
              <a:off x="7974887" y="5075784"/>
              <a:ext cx="862741" cy="1133067"/>
            </a:xfrm>
            <a:prstGeom prst="rect">
              <a:avLst/>
            </a:prstGeom>
          </p:spPr>
        </p:pic>
        <p:sp>
          <p:nvSpPr>
            <p:cNvPr id="28" name="TextBox 27">
              <a:extLst>
                <a:ext uri="{FF2B5EF4-FFF2-40B4-BE49-F238E27FC236}">
                  <a16:creationId xmlns:a16="http://schemas.microsoft.com/office/drawing/2014/main" id="{89EC0938-4C09-0464-5A2E-284ADE0B6E72}"/>
                </a:ext>
              </a:extLst>
            </p:cNvPr>
            <p:cNvSpPr txBox="1"/>
            <p:nvPr/>
          </p:nvSpPr>
          <p:spPr>
            <a:xfrm>
              <a:off x="7954394" y="6275711"/>
              <a:ext cx="914400" cy="307525"/>
            </a:xfrm>
            <a:prstGeom prst="rect">
              <a:avLst/>
            </a:prstGeom>
            <a:noFill/>
          </p:spPr>
          <p:txBody>
            <a:bodyPr wrap="none" lIns="0" tIns="0" rIns="0" bIns="0" rtlCol="0">
              <a:noAutofit/>
            </a:bodyPr>
            <a:lstStyle/>
            <a:p>
              <a:pPr algn="ctr">
                <a:lnSpc>
                  <a:spcPct val="110000"/>
                </a:lnSpc>
                <a:spcBef>
                  <a:spcPts val="600"/>
                </a:spcBef>
              </a:pPr>
              <a:r>
                <a:rPr lang="en-US" sz="1200" dirty="0">
                  <a:ea typeface="Human Sans" charset="0"/>
                  <a:cs typeface="Human Sans" charset="0"/>
                </a:rPr>
                <a:t>You</a:t>
              </a:r>
            </a:p>
          </p:txBody>
        </p:sp>
      </p:grpSp>
    </p:spTree>
    <p:extLst>
      <p:ext uri="{BB962C8B-B14F-4D97-AF65-F5344CB8AC3E}">
        <p14:creationId xmlns:p14="http://schemas.microsoft.com/office/powerpoint/2010/main" val="3691387356"/>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7">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29"/>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7">
                                            <p:txEl>
                                              <p:pRg st="2" end="2"/>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31"/>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7">
                                            <p:txEl>
                                              <p:pRg st="3" end="3"/>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32"/>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7">
                                            <p:txEl>
                                              <p:pRg st="4" end="4"/>
                                            </p:txEl>
                                          </p:spTgt>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nodeType="clickEffect">
                                  <p:stCondLst>
                                    <p:cond delay="0"/>
                                  </p:stCondLst>
                                  <p:childTnLst>
                                    <p:set>
                                      <p:cBhvr>
                                        <p:cTn id="38" dur="1" fill="hold">
                                          <p:stCondLst>
                                            <p:cond delay="0"/>
                                          </p:stCondLst>
                                        </p:cTn>
                                        <p:tgtEl>
                                          <p:spTgt spid="33"/>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nodeType="clickEffect">
                                  <p:stCondLst>
                                    <p:cond delay="0"/>
                                  </p:stCondLst>
                                  <p:childTnLst>
                                    <p:set>
                                      <p:cBhvr>
                                        <p:cTn id="42" dur="1" fill="hold">
                                          <p:stCondLst>
                                            <p:cond delay="0"/>
                                          </p:stCondLst>
                                        </p:cTn>
                                        <p:tgtEl>
                                          <p:spTgt spid="7">
                                            <p:txEl>
                                              <p:pRg st="5" end="5"/>
                                            </p:txEl>
                                          </p:spTgt>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1" presetClass="entr" presetSubtype="0" fill="hold" nodeType="clickEffect">
                                  <p:stCondLst>
                                    <p:cond delay="0"/>
                                  </p:stCondLst>
                                  <p:childTnLst>
                                    <p:set>
                                      <p:cBhvr>
                                        <p:cTn id="46" dur="1" fill="hold">
                                          <p:stCondLst>
                                            <p:cond delay="0"/>
                                          </p:stCondLst>
                                        </p:cTn>
                                        <p:tgtEl>
                                          <p:spTgt spid="30"/>
                                        </p:tgtEl>
                                        <p:attrNameLst>
                                          <p:attrName>style.visibility</p:attrName>
                                        </p:attrNameLst>
                                      </p:cBhvr>
                                      <p:to>
                                        <p:strVal val="visible"/>
                                      </p:to>
                                    </p:set>
                                  </p:childTnLst>
                                </p:cTn>
                              </p:par>
                            </p:childTnLst>
                          </p:cTn>
                        </p:par>
                      </p:childTnLst>
                    </p:cTn>
                  </p:par>
                  <p:par>
                    <p:cTn id="47" fill="hold">
                      <p:stCondLst>
                        <p:cond delay="indefinite"/>
                      </p:stCondLst>
                      <p:childTnLst>
                        <p:par>
                          <p:cTn id="48" fill="hold">
                            <p:stCondLst>
                              <p:cond delay="0"/>
                            </p:stCondLst>
                            <p:childTnLst>
                              <p:par>
                                <p:cTn id="49" presetID="1" presetClass="entr" presetSubtype="0" fill="hold" nodeType="clickEffect">
                                  <p:stCondLst>
                                    <p:cond delay="0"/>
                                  </p:stCondLst>
                                  <p:childTnLst>
                                    <p:set>
                                      <p:cBhvr>
                                        <p:cTn id="50" dur="1" fill="hold">
                                          <p:stCondLst>
                                            <p:cond delay="0"/>
                                          </p:stCondLst>
                                        </p:cTn>
                                        <p:tgtEl>
                                          <p:spTgt spid="7">
                                            <p:txEl>
                                              <p:pRg st="6" end="6"/>
                                            </p:txEl>
                                          </p:spTgt>
                                        </p:tgtEl>
                                        <p:attrNameLst>
                                          <p:attrName>style.visibility</p:attrName>
                                        </p:attrNameLst>
                                      </p:cBhvr>
                                      <p:to>
                                        <p:strVal val="visible"/>
                                      </p:to>
                                    </p:set>
                                  </p:childTnLst>
                                </p:cTn>
                              </p:par>
                            </p:childTnLst>
                          </p:cTn>
                        </p:par>
                      </p:childTnLst>
                    </p:cTn>
                  </p:par>
                  <p:par>
                    <p:cTn id="51" fill="hold">
                      <p:stCondLst>
                        <p:cond delay="indefinite"/>
                      </p:stCondLst>
                      <p:childTnLst>
                        <p:par>
                          <p:cTn id="52" fill="hold">
                            <p:stCondLst>
                              <p:cond delay="0"/>
                            </p:stCondLst>
                            <p:childTnLst>
                              <p:par>
                                <p:cTn id="53" presetID="1" presetClass="entr" presetSubtype="0" fill="hold" nodeType="clickEffect">
                                  <p:stCondLst>
                                    <p:cond delay="0"/>
                                  </p:stCondLst>
                                  <p:childTnLst>
                                    <p:set>
                                      <p:cBhvr>
                                        <p:cTn id="54" dur="1" fill="hold">
                                          <p:stCondLst>
                                            <p:cond delay="0"/>
                                          </p:stCondLst>
                                        </p:cTn>
                                        <p:tgtEl>
                                          <p:spTgt spid="21"/>
                                        </p:tgtEl>
                                        <p:attrNameLst>
                                          <p:attrName>style.visibility</p:attrName>
                                        </p:attrNameLst>
                                      </p:cBhvr>
                                      <p:to>
                                        <p:strVal val="visible"/>
                                      </p:to>
                                    </p:set>
                                  </p:childTnLst>
                                </p:cTn>
                              </p:par>
                            </p:childTnLst>
                          </p:cTn>
                        </p:par>
                      </p:childTnLst>
                    </p:cTn>
                  </p:par>
                  <p:par>
                    <p:cTn id="55" fill="hold">
                      <p:stCondLst>
                        <p:cond delay="indefinite"/>
                      </p:stCondLst>
                      <p:childTnLst>
                        <p:par>
                          <p:cTn id="56" fill="hold">
                            <p:stCondLst>
                              <p:cond delay="0"/>
                            </p:stCondLst>
                            <p:childTnLst>
                              <p:par>
                                <p:cTn id="57" presetID="1" presetClass="entr" presetSubtype="0" fill="hold" nodeType="clickEffect">
                                  <p:stCondLst>
                                    <p:cond delay="0"/>
                                  </p:stCondLst>
                                  <p:childTnLst>
                                    <p:set>
                                      <p:cBhvr>
                                        <p:cTn id="58" dur="1" fill="hold">
                                          <p:stCondLst>
                                            <p:cond delay="0"/>
                                          </p:stCondLst>
                                        </p:cTn>
                                        <p:tgtEl>
                                          <p:spTgt spid="7">
                                            <p:txEl>
                                              <p:pRg st="7" end="7"/>
                                            </p:txEl>
                                          </p:spTgt>
                                        </p:tgtEl>
                                        <p:attrNameLst>
                                          <p:attrName>style.visibility</p:attrName>
                                        </p:attrNameLst>
                                      </p:cBhvr>
                                      <p:to>
                                        <p:strVal val="visible"/>
                                      </p:to>
                                    </p:set>
                                  </p:childTnLst>
                                </p:cTn>
                              </p:par>
                            </p:childTnLst>
                          </p:cTn>
                        </p:par>
                      </p:childTnLst>
                    </p:cTn>
                  </p:par>
                  <p:par>
                    <p:cTn id="59" fill="hold">
                      <p:stCondLst>
                        <p:cond delay="indefinite"/>
                      </p:stCondLst>
                      <p:childTnLst>
                        <p:par>
                          <p:cTn id="60" fill="hold">
                            <p:stCondLst>
                              <p:cond delay="0"/>
                            </p:stCondLst>
                            <p:childTnLst>
                              <p:par>
                                <p:cTn id="61" presetID="1" presetClass="entr" presetSubtype="0" fill="hold" nodeType="clickEffect">
                                  <p:stCondLst>
                                    <p:cond delay="0"/>
                                  </p:stCondLst>
                                  <p:childTnLst>
                                    <p:set>
                                      <p:cBhvr>
                                        <p:cTn id="62" dur="1" fill="hold">
                                          <p:stCondLst>
                                            <p:cond delay="0"/>
                                          </p:stCondLst>
                                        </p:cTn>
                                        <p:tgtEl>
                                          <p:spTgt spid="34"/>
                                        </p:tgtEl>
                                        <p:attrNameLst>
                                          <p:attrName>style.visibility</p:attrName>
                                        </p:attrNameLst>
                                      </p:cBhvr>
                                      <p:to>
                                        <p:strVal val="visible"/>
                                      </p:to>
                                    </p:set>
                                  </p:childTnLst>
                                </p:cTn>
                              </p:par>
                            </p:childTnLst>
                          </p:cTn>
                        </p:par>
                      </p:childTnLst>
                    </p:cTn>
                  </p:par>
                  <p:par>
                    <p:cTn id="63" fill="hold">
                      <p:stCondLst>
                        <p:cond delay="indefinite"/>
                      </p:stCondLst>
                      <p:childTnLst>
                        <p:par>
                          <p:cTn id="64" fill="hold">
                            <p:stCondLst>
                              <p:cond delay="0"/>
                            </p:stCondLst>
                            <p:childTnLst>
                              <p:par>
                                <p:cTn id="65" presetID="1" presetClass="entr" presetSubtype="0" fill="hold" nodeType="clickEffect">
                                  <p:stCondLst>
                                    <p:cond delay="0"/>
                                  </p:stCondLst>
                                  <p:childTnLst>
                                    <p:set>
                                      <p:cBhvr>
                                        <p:cTn id="66" dur="1" fill="hold">
                                          <p:stCondLst>
                                            <p:cond delay="0"/>
                                          </p:stCondLst>
                                        </p:cTn>
                                        <p:tgtEl>
                                          <p:spTgt spid="3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3E7B12-94E5-1E8A-9A20-C930CC8426EB}"/>
              </a:ext>
            </a:extLst>
          </p:cNvPr>
          <p:cNvSpPr>
            <a:spLocks noGrp="1"/>
          </p:cNvSpPr>
          <p:nvPr>
            <p:ph type="title"/>
          </p:nvPr>
        </p:nvSpPr>
        <p:spPr>
          <a:xfrm>
            <a:off x="639073" y="1424520"/>
            <a:ext cx="5333999" cy="1969770"/>
          </a:xfrm>
        </p:spPr>
        <p:txBody>
          <a:bodyPr/>
          <a:lstStyle/>
          <a:p>
            <a:r>
              <a:rPr lang="en-US" sz="3200" dirty="0"/>
              <a:t>You've just met your new team. </a:t>
            </a:r>
            <a:r>
              <a:rPr lang="en-US" sz="3200" dirty="0">
                <a:solidFill>
                  <a:srgbClr val="199B87"/>
                </a:solidFill>
              </a:rPr>
              <a:t>What are your first actions to establish rapport and set expectations?</a:t>
            </a:r>
            <a:endParaRPr lang="en-US" sz="3200" dirty="0">
              <a:solidFill>
                <a:srgbClr val="199B87"/>
              </a:solidFill>
              <a:latin typeface="Calibri" panose="020F0502020204030204" pitchFamily="34" charset="0"/>
              <a:cs typeface="Calibri" panose="020F0502020204030204" pitchFamily="34" charset="0"/>
            </a:endParaRPr>
          </a:p>
        </p:txBody>
      </p:sp>
      <p:sp>
        <p:nvSpPr>
          <p:cNvPr id="8" name="Text Placeholder 7">
            <a:extLst>
              <a:ext uri="{FF2B5EF4-FFF2-40B4-BE49-F238E27FC236}">
                <a16:creationId xmlns:a16="http://schemas.microsoft.com/office/drawing/2014/main" id="{A33CA039-DE3C-5D85-0DB8-D98A38BFDC35}"/>
              </a:ext>
            </a:extLst>
          </p:cNvPr>
          <p:cNvSpPr>
            <a:spLocks noGrp="1"/>
          </p:cNvSpPr>
          <p:nvPr>
            <p:ph type="body" sz="quarter" idx="28"/>
          </p:nvPr>
        </p:nvSpPr>
        <p:spPr>
          <a:xfrm>
            <a:off x="627063" y="419100"/>
            <a:ext cx="3725862" cy="397732"/>
          </a:xfrm>
        </p:spPr>
        <p:txBody>
          <a:bodyPr>
            <a:normAutofit/>
          </a:bodyPr>
          <a:lstStyle/>
          <a:p>
            <a:r>
              <a:rPr lang="en-US" dirty="0"/>
              <a:t>Team Leadership workshop: USE-cases</a:t>
            </a:r>
          </a:p>
        </p:txBody>
      </p:sp>
      <p:sp>
        <p:nvSpPr>
          <p:cNvPr id="10" name="Text Placeholder 9">
            <a:extLst>
              <a:ext uri="{FF2B5EF4-FFF2-40B4-BE49-F238E27FC236}">
                <a16:creationId xmlns:a16="http://schemas.microsoft.com/office/drawing/2014/main" id="{1F88C411-8C59-AFA3-5C10-11E75FDF9817}"/>
              </a:ext>
            </a:extLst>
          </p:cNvPr>
          <p:cNvSpPr>
            <a:spLocks noGrp="1"/>
          </p:cNvSpPr>
          <p:nvPr>
            <p:ph type="body" sz="quarter" idx="25"/>
          </p:nvPr>
        </p:nvSpPr>
        <p:spPr>
          <a:xfrm>
            <a:off x="627063" y="722843"/>
            <a:ext cx="4547838" cy="338554"/>
          </a:xfrm>
        </p:spPr>
        <p:txBody>
          <a:bodyPr/>
          <a:lstStyle/>
          <a:p>
            <a:r>
              <a:rPr lang="en-US" dirty="0"/>
              <a:t>Case 1: Initial Team Engagement</a:t>
            </a:r>
          </a:p>
        </p:txBody>
      </p:sp>
      <p:grpSp>
        <p:nvGrpSpPr>
          <p:cNvPr id="32" name="Group 31">
            <a:extLst>
              <a:ext uri="{FF2B5EF4-FFF2-40B4-BE49-F238E27FC236}">
                <a16:creationId xmlns:a16="http://schemas.microsoft.com/office/drawing/2014/main" id="{38CAE5AD-B9D9-1BE3-D8DA-9F3BAC97EFE3}"/>
              </a:ext>
            </a:extLst>
          </p:cNvPr>
          <p:cNvGrpSpPr/>
          <p:nvPr/>
        </p:nvGrpSpPr>
        <p:grpSpPr>
          <a:xfrm>
            <a:off x="7031633" y="5174495"/>
            <a:ext cx="914400" cy="1507452"/>
            <a:chOff x="7954394" y="5075784"/>
            <a:chExt cx="914400" cy="1507452"/>
          </a:xfrm>
        </p:grpSpPr>
        <p:pic>
          <p:nvPicPr>
            <p:cNvPr id="33" name="Picture 32" descr="Icon&#10;&#10;Description automatically generated">
              <a:extLst>
                <a:ext uri="{FF2B5EF4-FFF2-40B4-BE49-F238E27FC236}">
                  <a16:creationId xmlns:a16="http://schemas.microsoft.com/office/drawing/2014/main" id="{2F838510-22B0-4FBB-C199-A585524A88F1}"/>
                </a:ext>
              </a:extLst>
            </p:cNvPr>
            <p:cNvPicPr>
              <a:picLocks noChangeAspect="1"/>
            </p:cNvPicPr>
            <p:nvPr/>
          </p:nvPicPr>
          <p:blipFill>
            <a:blip r:embed="rId3"/>
            <a:stretch>
              <a:fillRect/>
            </a:stretch>
          </p:blipFill>
          <p:spPr>
            <a:xfrm>
              <a:off x="7974887" y="5075784"/>
              <a:ext cx="862741" cy="1133067"/>
            </a:xfrm>
            <a:prstGeom prst="ellipse">
              <a:avLst/>
            </a:prstGeom>
            <a:ln w="63500" cap="rnd">
              <a:solidFill>
                <a:srgbClr val="FF0000"/>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sp>
          <p:nvSpPr>
            <p:cNvPr id="34" name="TextBox 33">
              <a:extLst>
                <a:ext uri="{FF2B5EF4-FFF2-40B4-BE49-F238E27FC236}">
                  <a16:creationId xmlns:a16="http://schemas.microsoft.com/office/drawing/2014/main" id="{587F560B-62C0-B867-EC11-79B4C360893D}"/>
                </a:ext>
              </a:extLst>
            </p:cNvPr>
            <p:cNvSpPr txBox="1"/>
            <p:nvPr/>
          </p:nvSpPr>
          <p:spPr>
            <a:xfrm>
              <a:off x="7954394" y="6275711"/>
              <a:ext cx="914400" cy="307525"/>
            </a:xfrm>
            <a:prstGeom prst="rect">
              <a:avLst/>
            </a:prstGeom>
            <a:noFill/>
            <a:ln>
              <a:solidFill>
                <a:srgbClr val="FF0000"/>
              </a:solidFill>
            </a:ln>
          </p:spPr>
          <p:txBody>
            <a:bodyPr wrap="none" lIns="0" tIns="0" rIns="0" bIns="0" rtlCol="0">
              <a:noAutofit/>
            </a:bodyPr>
            <a:lstStyle/>
            <a:p>
              <a:pPr algn="ctr">
                <a:lnSpc>
                  <a:spcPct val="110000"/>
                </a:lnSpc>
                <a:spcBef>
                  <a:spcPts val="600"/>
                </a:spcBef>
              </a:pPr>
              <a:r>
                <a:rPr lang="en-US" sz="1200" dirty="0">
                  <a:ea typeface="Human Sans" charset="0"/>
                  <a:cs typeface="Human Sans" charset="0"/>
                </a:rPr>
                <a:t>You</a:t>
              </a:r>
            </a:p>
          </p:txBody>
        </p:sp>
      </p:grpSp>
      <p:sp>
        <p:nvSpPr>
          <p:cNvPr id="35" name="Speech Bubble: Rectangle 34">
            <a:extLst>
              <a:ext uri="{FF2B5EF4-FFF2-40B4-BE49-F238E27FC236}">
                <a16:creationId xmlns:a16="http://schemas.microsoft.com/office/drawing/2014/main" id="{5A3D9C85-096D-77E0-F8FF-1459C0ADD876}"/>
              </a:ext>
            </a:extLst>
          </p:cNvPr>
          <p:cNvSpPr/>
          <p:nvPr/>
        </p:nvSpPr>
        <p:spPr bwMode="auto">
          <a:xfrm>
            <a:off x="7049123" y="4603162"/>
            <a:ext cx="2332872" cy="420629"/>
          </a:xfrm>
          <a:prstGeom prst="wedgeRectCallout">
            <a:avLst/>
          </a:prstGeom>
          <a:ln/>
        </p:spPr>
        <p:style>
          <a:lnRef idx="2">
            <a:schemeClr val="dk1"/>
          </a:lnRef>
          <a:fillRef idx="1">
            <a:schemeClr val="lt1"/>
          </a:fillRef>
          <a:effectRef idx="0">
            <a:schemeClr val="dk1"/>
          </a:effectRef>
          <a:fontRef idx="minor">
            <a:schemeClr val="dk1"/>
          </a:fontRef>
        </p:style>
        <p:txBody>
          <a:bodyPr wrap="none" rtlCol="0" anchor="ctr"/>
          <a:lstStyle/>
          <a:p>
            <a:pPr algn="ctr"/>
            <a:r>
              <a:rPr lang="en-US" sz="2400" dirty="0">
                <a:ln w="0"/>
                <a:solidFill>
                  <a:schemeClr val="tx1"/>
                </a:solidFill>
                <a:latin typeface="Calibri Light" panose="020F0302020204030204" pitchFamily="34" charset="0"/>
                <a:ea typeface="Human Sans ExtraLight" charset="0"/>
                <a:cs typeface="Human Sans ExtraLight" charset="0"/>
              </a:rPr>
              <a:t>Hello </a:t>
            </a:r>
            <a:r>
              <a:rPr lang="en-US" sz="2400" strike="sngStrike" dirty="0">
                <a:ln w="0"/>
                <a:solidFill>
                  <a:schemeClr val="tx1"/>
                </a:solidFill>
                <a:latin typeface="Calibri Light" panose="020F0302020204030204" pitchFamily="34" charset="0"/>
                <a:ea typeface="Human Sans ExtraLight" charset="0"/>
                <a:cs typeface="Human Sans ExtraLight" charset="0"/>
              </a:rPr>
              <a:t>team</a:t>
            </a:r>
            <a:r>
              <a:rPr lang="en-US" sz="2400" dirty="0">
                <a:ln w="0"/>
                <a:solidFill>
                  <a:schemeClr val="tx1"/>
                </a:solidFill>
                <a:latin typeface="Calibri Light" panose="020F0302020204030204" pitchFamily="34" charset="0"/>
                <a:ea typeface="Human Sans ExtraLight" charset="0"/>
                <a:cs typeface="Human Sans ExtraLight" charset="0"/>
              </a:rPr>
              <a:t> group!</a:t>
            </a:r>
            <a:endParaRPr lang="en-US" sz="2400" strike="sngStrike" dirty="0">
              <a:solidFill>
                <a:schemeClr val="bg1"/>
              </a:solidFill>
              <a:latin typeface="Calibri Light" panose="020F0302020204030204" pitchFamily="34" charset="0"/>
              <a:ea typeface="Human Sans ExtraLight" charset="0"/>
              <a:cs typeface="Human Sans ExtraLight" charset="0"/>
            </a:endParaRPr>
          </a:p>
        </p:txBody>
      </p:sp>
      <p:grpSp>
        <p:nvGrpSpPr>
          <p:cNvPr id="36" name="Group 35">
            <a:extLst>
              <a:ext uri="{FF2B5EF4-FFF2-40B4-BE49-F238E27FC236}">
                <a16:creationId xmlns:a16="http://schemas.microsoft.com/office/drawing/2014/main" id="{88B11F8F-178B-97F4-98EF-0AFB4F938D50}"/>
              </a:ext>
            </a:extLst>
          </p:cNvPr>
          <p:cNvGrpSpPr/>
          <p:nvPr/>
        </p:nvGrpSpPr>
        <p:grpSpPr>
          <a:xfrm>
            <a:off x="8993544" y="432218"/>
            <a:ext cx="923632" cy="1258357"/>
            <a:chOff x="9278671" y="722843"/>
            <a:chExt cx="923632" cy="1258357"/>
          </a:xfrm>
        </p:grpSpPr>
        <p:pic>
          <p:nvPicPr>
            <p:cNvPr id="37" name="Picture 36" descr="Icon&#10;&#10;Description automatically generated">
              <a:extLst>
                <a:ext uri="{FF2B5EF4-FFF2-40B4-BE49-F238E27FC236}">
                  <a16:creationId xmlns:a16="http://schemas.microsoft.com/office/drawing/2014/main" id="{61A84A7C-D011-32D2-3E73-03D71F55FB34}"/>
                </a:ext>
              </a:extLst>
            </p:cNvPr>
            <p:cNvPicPr>
              <a:picLocks noChangeAspect="1"/>
            </p:cNvPicPr>
            <p:nvPr/>
          </p:nvPicPr>
          <p:blipFill>
            <a:blip r:embed="rId4"/>
            <a:stretch>
              <a:fillRect/>
            </a:stretch>
          </p:blipFill>
          <p:spPr>
            <a:xfrm>
              <a:off x="9278671" y="722843"/>
              <a:ext cx="862741" cy="862741"/>
            </a:xfrm>
            <a:prstGeom prst="rect">
              <a:avLst/>
            </a:prstGeom>
          </p:spPr>
        </p:pic>
        <p:sp>
          <p:nvSpPr>
            <p:cNvPr id="38" name="TextBox 37">
              <a:extLst>
                <a:ext uri="{FF2B5EF4-FFF2-40B4-BE49-F238E27FC236}">
                  <a16:creationId xmlns:a16="http://schemas.microsoft.com/office/drawing/2014/main" id="{09616F8D-4957-C04E-D440-17D26FF18B8C}"/>
                </a:ext>
              </a:extLst>
            </p:cNvPr>
            <p:cNvSpPr txBox="1"/>
            <p:nvPr/>
          </p:nvSpPr>
          <p:spPr>
            <a:xfrm>
              <a:off x="9287903" y="1673675"/>
              <a:ext cx="914400" cy="307525"/>
            </a:xfrm>
            <a:prstGeom prst="rect">
              <a:avLst/>
            </a:prstGeom>
            <a:noFill/>
          </p:spPr>
          <p:txBody>
            <a:bodyPr wrap="none" lIns="0" tIns="0" rIns="0" bIns="0" rtlCol="0">
              <a:noAutofit/>
            </a:bodyPr>
            <a:lstStyle/>
            <a:p>
              <a:pPr algn="ctr">
                <a:lnSpc>
                  <a:spcPct val="110000"/>
                </a:lnSpc>
                <a:spcBef>
                  <a:spcPts val="600"/>
                </a:spcBef>
              </a:pPr>
              <a:r>
                <a:rPr lang="en-US" sz="1200" dirty="0">
                  <a:ea typeface="Human Sans" charset="0"/>
                  <a:cs typeface="Human Sans" charset="0"/>
                </a:rPr>
                <a:t>Dean - SM</a:t>
              </a:r>
            </a:p>
          </p:txBody>
        </p:sp>
      </p:grpSp>
      <p:grpSp>
        <p:nvGrpSpPr>
          <p:cNvPr id="39" name="Group 38">
            <a:extLst>
              <a:ext uri="{FF2B5EF4-FFF2-40B4-BE49-F238E27FC236}">
                <a16:creationId xmlns:a16="http://schemas.microsoft.com/office/drawing/2014/main" id="{8D13E281-B204-256D-EA48-6E441F8E97D2}"/>
              </a:ext>
            </a:extLst>
          </p:cNvPr>
          <p:cNvGrpSpPr/>
          <p:nvPr/>
        </p:nvGrpSpPr>
        <p:grpSpPr>
          <a:xfrm>
            <a:off x="7914896" y="1472679"/>
            <a:ext cx="914400" cy="1280310"/>
            <a:chOff x="7949057" y="1717959"/>
            <a:chExt cx="914400" cy="1280310"/>
          </a:xfrm>
        </p:grpSpPr>
        <p:pic>
          <p:nvPicPr>
            <p:cNvPr id="40" name="Picture 39" descr="Icon, circle&#10;&#10;Description automatically generated">
              <a:extLst>
                <a:ext uri="{FF2B5EF4-FFF2-40B4-BE49-F238E27FC236}">
                  <a16:creationId xmlns:a16="http://schemas.microsoft.com/office/drawing/2014/main" id="{58B38F99-6F9A-884D-C67F-263784EE92BA}"/>
                </a:ext>
              </a:extLst>
            </p:cNvPr>
            <p:cNvPicPr>
              <a:picLocks noChangeAspect="1"/>
            </p:cNvPicPr>
            <p:nvPr/>
          </p:nvPicPr>
          <p:blipFill>
            <a:blip r:embed="rId5"/>
            <a:stretch>
              <a:fillRect/>
            </a:stretch>
          </p:blipFill>
          <p:spPr>
            <a:xfrm>
              <a:off x="7974889" y="1717959"/>
              <a:ext cx="862741" cy="862741"/>
            </a:xfrm>
            <a:prstGeom prst="rect">
              <a:avLst/>
            </a:prstGeom>
          </p:spPr>
        </p:pic>
        <p:sp>
          <p:nvSpPr>
            <p:cNvPr id="41" name="TextBox 40">
              <a:extLst>
                <a:ext uri="{FF2B5EF4-FFF2-40B4-BE49-F238E27FC236}">
                  <a16:creationId xmlns:a16="http://schemas.microsoft.com/office/drawing/2014/main" id="{5F86A836-9F92-F9B7-BAB1-56DFB48164B3}"/>
                </a:ext>
              </a:extLst>
            </p:cNvPr>
            <p:cNvSpPr txBox="1"/>
            <p:nvPr/>
          </p:nvSpPr>
          <p:spPr>
            <a:xfrm>
              <a:off x="7949057" y="2690744"/>
              <a:ext cx="914400" cy="307525"/>
            </a:xfrm>
            <a:prstGeom prst="rect">
              <a:avLst/>
            </a:prstGeom>
            <a:noFill/>
          </p:spPr>
          <p:txBody>
            <a:bodyPr wrap="none" lIns="0" tIns="0" rIns="0" bIns="0" rtlCol="0">
              <a:noAutofit/>
            </a:bodyPr>
            <a:lstStyle/>
            <a:p>
              <a:pPr algn="ctr">
                <a:lnSpc>
                  <a:spcPct val="110000"/>
                </a:lnSpc>
                <a:spcBef>
                  <a:spcPts val="600"/>
                </a:spcBef>
              </a:pPr>
              <a:r>
                <a:rPr lang="en-US" sz="1200" dirty="0">
                  <a:ea typeface="Human Sans" charset="0"/>
                  <a:cs typeface="Human Sans" charset="0"/>
                </a:rPr>
                <a:t>Adam – SD</a:t>
              </a:r>
            </a:p>
          </p:txBody>
        </p:sp>
      </p:grpSp>
      <p:grpSp>
        <p:nvGrpSpPr>
          <p:cNvPr id="42" name="Group 41">
            <a:extLst>
              <a:ext uri="{FF2B5EF4-FFF2-40B4-BE49-F238E27FC236}">
                <a16:creationId xmlns:a16="http://schemas.microsoft.com/office/drawing/2014/main" id="{9969954B-721A-B53C-B701-405E526E1079}"/>
              </a:ext>
            </a:extLst>
          </p:cNvPr>
          <p:cNvGrpSpPr/>
          <p:nvPr/>
        </p:nvGrpSpPr>
        <p:grpSpPr>
          <a:xfrm>
            <a:off x="10107251" y="1512149"/>
            <a:ext cx="926780" cy="1257253"/>
            <a:chOff x="10327938" y="1717960"/>
            <a:chExt cx="926780" cy="1257253"/>
          </a:xfrm>
        </p:grpSpPr>
        <p:pic>
          <p:nvPicPr>
            <p:cNvPr id="43" name="Picture 42" descr="Icon&#10;&#10;Description automatically generated">
              <a:extLst>
                <a:ext uri="{FF2B5EF4-FFF2-40B4-BE49-F238E27FC236}">
                  <a16:creationId xmlns:a16="http://schemas.microsoft.com/office/drawing/2014/main" id="{6108923B-0615-DA92-E782-6B489A4C1100}"/>
                </a:ext>
              </a:extLst>
            </p:cNvPr>
            <p:cNvPicPr>
              <a:picLocks noChangeAspect="1"/>
            </p:cNvPicPr>
            <p:nvPr/>
          </p:nvPicPr>
          <p:blipFill>
            <a:blip r:embed="rId6"/>
            <a:stretch>
              <a:fillRect/>
            </a:stretch>
          </p:blipFill>
          <p:spPr>
            <a:xfrm>
              <a:off x="10327938" y="1717960"/>
              <a:ext cx="862741" cy="862741"/>
            </a:xfrm>
            <a:prstGeom prst="rect">
              <a:avLst/>
            </a:prstGeom>
          </p:spPr>
        </p:pic>
        <p:sp>
          <p:nvSpPr>
            <p:cNvPr id="44" name="TextBox 43">
              <a:extLst>
                <a:ext uri="{FF2B5EF4-FFF2-40B4-BE49-F238E27FC236}">
                  <a16:creationId xmlns:a16="http://schemas.microsoft.com/office/drawing/2014/main" id="{8AD4DD94-EAD0-3E33-5708-915EE664896C}"/>
                </a:ext>
              </a:extLst>
            </p:cNvPr>
            <p:cNvSpPr txBox="1"/>
            <p:nvPr/>
          </p:nvSpPr>
          <p:spPr>
            <a:xfrm>
              <a:off x="10340318" y="2667688"/>
              <a:ext cx="914400" cy="307525"/>
            </a:xfrm>
            <a:prstGeom prst="rect">
              <a:avLst/>
            </a:prstGeom>
            <a:noFill/>
          </p:spPr>
          <p:txBody>
            <a:bodyPr wrap="none" lIns="0" tIns="0" rIns="0" bIns="0" rtlCol="0">
              <a:noAutofit/>
            </a:bodyPr>
            <a:lstStyle/>
            <a:p>
              <a:pPr algn="ctr">
                <a:lnSpc>
                  <a:spcPct val="110000"/>
                </a:lnSpc>
                <a:spcBef>
                  <a:spcPts val="600"/>
                </a:spcBef>
              </a:pPr>
              <a:r>
                <a:rPr lang="en-US" sz="1200" dirty="0">
                  <a:ea typeface="Human Sans" charset="0"/>
                  <a:cs typeface="Human Sans" charset="0"/>
                </a:rPr>
                <a:t>Mary – PO/BA</a:t>
              </a:r>
            </a:p>
          </p:txBody>
        </p:sp>
      </p:grpSp>
      <p:grpSp>
        <p:nvGrpSpPr>
          <p:cNvPr id="45" name="Group 44">
            <a:extLst>
              <a:ext uri="{FF2B5EF4-FFF2-40B4-BE49-F238E27FC236}">
                <a16:creationId xmlns:a16="http://schemas.microsoft.com/office/drawing/2014/main" id="{2D11AE18-A145-2DBC-1C6F-F2990F7FA8D1}"/>
              </a:ext>
            </a:extLst>
          </p:cNvPr>
          <p:cNvGrpSpPr/>
          <p:nvPr/>
        </p:nvGrpSpPr>
        <p:grpSpPr>
          <a:xfrm>
            <a:off x="7776446" y="2844701"/>
            <a:ext cx="933043" cy="1261978"/>
            <a:chOff x="7810607" y="3089981"/>
            <a:chExt cx="933043" cy="1261978"/>
          </a:xfrm>
        </p:grpSpPr>
        <p:pic>
          <p:nvPicPr>
            <p:cNvPr id="46" name="Picture 45" descr="Icon&#10;&#10;Description automatically generated">
              <a:extLst>
                <a:ext uri="{FF2B5EF4-FFF2-40B4-BE49-F238E27FC236}">
                  <a16:creationId xmlns:a16="http://schemas.microsoft.com/office/drawing/2014/main" id="{DEB2D16E-646A-FC3D-E27E-B46048049768}"/>
                </a:ext>
              </a:extLst>
            </p:cNvPr>
            <p:cNvPicPr>
              <a:picLocks noChangeAspect="1"/>
            </p:cNvPicPr>
            <p:nvPr/>
          </p:nvPicPr>
          <p:blipFill>
            <a:blip r:embed="rId7"/>
            <a:stretch>
              <a:fillRect/>
            </a:stretch>
          </p:blipFill>
          <p:spPr>
            <a:xfrm>
              <a:off x="7810607" y="3089981"/>
              <a:ext cx="862741" cy="862741"/>
            </a:xfrm>
            <a:prstGeom prst="rect">
              <a:avLst/>
            </a:prstGeom>
          </p:spPr>
        </p:pic>
        <p:sp>
          <p:nvSpPr>
            <p:cNvPr id="47" name="TextBox 46">
              <a:extLst>
                <a:ext uri="{FF2B5EF4-FFF2-40B4-BE49-F238E27FC236}">
                  <a16:creationId xmlns:a16="http://schemas.microsoft.com/office/drawing/2014/main" id="{600EE915-23CC-2F21-27E1-18355757295B}"/>
                </a:ext>
              </a:extLst>
            </p:cNvPr>
            <p:cNvSpPr txBox="1"/>
            <p:nvPr/>
          </p:nvSpPr>
          <p:spPr>
            <a:xfrm>
              <a:off x="7829250" y="4044434"/>
              <a:ext cx="914400" cy="307525"/>
            </a:xfrm>
            <a:prstGeom prst="rect">
              <a:avLst/>
            </a:prstGeom>
            <a:noFill/>
          </p:spPr>
          <p:txBody>
            <a:bodyPr wrap="none" lIns="0" tIns="0" rIns="0" bIns="0" rtlCol="0">
              <a:noAutofit/>
            </a:bodyPr>
            <a:lstStyle/>
            <a:p>
              <a:pPr algn="ctr">
                <a:lnSpc>
                  <a:spcPct val="110000"/>
                </a:lnSpc>
                <a:spcBef>
                  <a:spcPts val="600"/>
                </a:spcBef>
              </a:pPr>
              <a:r>
                <a:rPr lang="en-US" sz="1200" dirty="0">
                  <a:ea typeface="Human Sans" charset="0"/>
                  <a:cs typeface="Human Sans" charset="0"/>
                </a:rPr>
                <a:t>Bob – MD</a:t>
              </a:r>
            </a:p>
          </p:txBody>
        </p:sp>
      </p:grpSp>
      <p:grpSp>
        <p:nvGrpSpPr>
          <p:cNvPr id="48" name="Group 47">
            <a:extLst>
              <a:ext uri="{FF2B5EF4-FFF2-40B4-BE49-F238E27FC236}">
                <a16:creationId xmlns:a16="http://schemas.microsoft.com/office/drawing/2014/main" id="{EB6AA686-A92B-4B14-0AE5-F2A39E595BD4}"/>
              </a:ext>
            </a:extLst>
          </p:cNvPr>
          <p:cNvGrpSpPr/>
          <p:nvPr/>
        </p:nvGrpSpPr>
        <p:grpSpPr>
          <a:xfrm>
            <a:off x="8822371" y="2844702"/>
            <a:ext cx="914400" cy="1265709"/>
            <a:chOff x="8856532" y="3089982"/>
            <a:chExt cx="914400" cy="1265709"/>
          </a:xfrm>
        </p:grpSpPr>
        <p:pic>
          <p:nvPicPr>
            <p:cNvPr id="49" name="Picture 48" descr="Icon&#10;&#10;Description automatically generated">
              <a:extLst>
                <a:ext uri="{FF2B5EF4-FFF2-40B4-BE49-F238E27FC236}">
                  <a16:creationId xmlns:a16="http://schemas.microsoft.com/office/drawing/2014/main" id="{CC08BC3C-673A-F043-E388-FAF546C0827D}"/>
                </a:ext>
              </a:extLst>
            </p:cNvPr>
            <p:cNvPicPr>
              <a:picLocks noChangeAspect="1"/>
            </p:cNvPicPr>
            <p:nvPr/>
          </p:nvPicPr>
          <p:blipFill>
            <a:blip r:embed="rId8"/>
            <a:stretch>
              <a:fillRect/>
            </a:stretch>
          </p:blipFill>
          <p:spPr>
            <a:xfrm>
              <a:off x="8882362" y="3089982"/>
              <a:ext cx="862741" cy="862741"/>
            </a:xfrm>
            <a:prstGeom prst="rect">
              <a:avLst/>
            </a:prstGeom>
          </p:spPr>
        </p:pic>
        <p:sp>
          <p:nvSpPr>
            <p:cNvPr id="50" name="TextBox 49">
              <a:extLst>
                <a:ext uri="{FF2B5EF4-FFF2-40B4-BE49-F238E27FC236}">
                  <a16:creationId xmlns:a16="http://schemas.microsoft.com/office/drawing/2014/main" id="{06394596-918A-FD18-B213-547DD41EE81B}"/>
                </a:ext>
              </a:extLst>
            </p:cNvPr>
            <p:cNvSpPr txBox="1"/>
            <p:nvPr/>
          </p:nvSpPr>
          <p:spPr>
            <a:xfrm>
              <a:off x="8856532" y="4048166"/>
              <a:ext cx="914400" cy="307525"/>
            </a:xfrm>
            <a:prstGeom prst="rect">
              <a:avLst/>
            </a:prstGeom>
            <a:noFill/>
          </p:spPr>
          <p:txBody>
            <a:bodyPr wrap="none" lIns="0" tIns="0" rIns="0" bIns="0" rtlCol="0">
              <a:noAutofit/>
            </a:bodyPr>
            <a:lstStyle/>
            <a:p>
              <a:pPr algn="ctr">
                <a:lnSpc>
                  <a:spcPct val="110000"/>
                </a:lnSpc>
                <a:spcBef>
                  <a:spcPts val="600"/>
                </a:spcBef>
              </a:pPr>
              <a:r>
                <a:rPr lang="en-US" sz="1200" dirty="0">
                  <a:ea typeface="Human Sans" charset="0"/>
                  <a:cs typeface="Human Sans" charset="0"/>
                </a:rPr>
                <a:t>Eva - JD</a:t>
              </a:r>
            </a:p>
          </p:txBody>
        </p:sp>
      </p:grpSp>
      <p:grpSp>
        <p:nvGrpSpPr>
          <p:cNvPr id="51" name="Group 50">
            <a:extLst>
              <a:ext uri="{FF2B5EF4-FFF2-40B4-BE49-F238E27FC236}">
                <a16:creationId xmlns:a16="http://schemas.microsoft.com/office/drawing/2014/main" id="{55053044-2B2B-192F-F9F5-BC8D3901CAAD}"/>
              </a:ext>
            </a:extLst>
          </p:cNvPr>
          <p:cNvGrpSpPr/>
          <p:nvPr/>
        </p:nvGrpSpPr>
        <p:grpSpPr>
          <a:xfrm>
            <a:off x="10081421" y="2844702"/>
            <a:ext cx="914400" cy="1285035"/>
            <a:chOff x="10115582" y="3089982"/>
            <a:chExt cx="914400" cy="1285035"/>
          </a:xfrm>
        </p:grpSpPr>
        <p:pic>
          <p:nvPicPr>
            <p:cNvPr id="52" name="Picture 51" descr="Icon&#10;&#10;Description automatically generated">
              <a:extLst>
                <a:ext uri="{FF2B5EF4-FFF2-40B4-BE49-F238E27FC236}">
                  <a16:creationId xmlns:a16="http://schemas.microsoft.com/office/drawing/2014/main" id="{C259DE38-2736-24A7-0A02-349782F93C6A}"/>
                </a:ext>
              </a:extLst>
            </p:cNvPr>
            <p:cNvPicPr>
              <a:picLocks noChangeAspect="1"/>
            </p:cNvPicPr>
            <p:nvPr/>
          </p:nvPicPr>
          <p:blipFill>
            <a:blip r:embed="rId9"/>
            <a:stretch>
              <a:fillRect/>
            </a:stretch>
          </p:blipFill>
          <p:spPr>
            <a:xfrm>
              <a:off x="10141412" y="3089982"/>
              <a:ext cx="862741" cy="862741"/>
            </a:xfrm>
            <a:prstGeom prst="rect">
              <a:avLst/>
            </a:prstGeom>
          </p:spPr>
        </p:pic>
        <p:sp>
          <p:nvSpPr>
            <p:cNvPr id="53" name="TextBox 52">
              <a:extLst>
                <a:ext uri="{FF2B5EF4-FFF2-40B4-BE49-F238E27FC236}">
                  <a16:creationId xmlns:a16="http://schemas.microsoft.com/office/drawing/2014/main" id="{87F43D4A-371E-6B9E-EBC6-02897CB5119E}"/>
                </a:ext>
              </a:extLst>
            </p:cNvPr>
            <p:cNvSpPr txBox="1"/>
            <p:nvPr/>
          </p:nvSpPr>
          <p:spPr>
            <a:xfrm>
              <a:off x="10115582" y="4067492"/>
              <a:ext cx="914400" cy="307525"/>
            </a:xfrm>
            <a:prstGeom prst="rect">
              <a:avLst/>
            </a:prstGeom>
            <a:noFill/>
          </p:spPr>
          <p:txBody>
            <a:bodyPr wrap="none" lIns="0" tIns="0" rIns="0" bIns="0" rtlCol="0">
              <a:noAutofit/>
            </a:bodyPr>
            <a:lstStyle/>
            <a:p>
              <a:pPr algn="ctr">
                <a:lnSpc>
                  <a:spcPct val="110000"/>
                </a:lnSpc>
                <a:spcBef>
                  <a:spcPts val="600"/>
                </a:spcBef>
              </a:pPr>
              <a:r>
                <a:rPr lang="en-US" sz="1200" dirty="0">
                  <a:ea typeface="Human Sans" charset="0"/>
                  <a:cs typeface="Human Sans" charset="0"/>
                </a:rPr>
                <a:t>Diana - QA</a:t>
              </a:r>
            </a:p>
          </p:txBody>
        </p:sp>
      </p:grpSp>
      <p:grpSp>
        <p:nvGrpSpPr>
          <p:cNvPr id="54" name="Group 53">
            <a:extLst>
              <a:ext uri="{FF2B5EF4-FFF2-40B4-BE49-F238E27FC236}">
                <a16:creationId xmlns:a16="http://schemas.microsoft.com/office/drawing/2014/main" id="{BECC091B-E46E-3536-CD3F-D4B092CAC0CC}"/>
              </a:ext>
            </a:extLst>
          </p:cNvPr>
          <p:cNvGrpSpPr/>
          <p:nvPr/>
        </p:nvGrpSpPr>
        <p:grpSpPr>
          <a:xfrm>
            <a:off x="10119631" y="4250003"/>
            <a:ext cx="914400" cy="1246962"/>
            <a:chOff x="10338849" y="4462008"/>
            <a:chExt cx="914400" cy="1246962"/>
          </a:xfrm>
        </p:grpSpPr>
        <p:pic>
          <p:nvPicPr>
            <p:cNvPr id="55" name="Picture 54" descr="Icon&#10;&#10;Description automatically generated">
              <a:extLst>
                <a:ext uri="{FF2B5EF4-FFF2-40B4-BE49-F238E27FC236}">
                  <a16:creationId xmlns:a16="http://schemas.microsoft.com/office/drawing/2014/main" id="{58F01FFA-F1CB-64F1-252A-341FCDAF770D}"/>
                </a:ext>
              </a:extLst>
            </p:cNvPr>
            <p:cNvPicPr>
              <a:picLocks noChangeAspect="1"/>
            </p:cNvPicPr>
            <p:nvPr/>
          </p:nvPicPr>
          <p:blipFill>
            <a:blip r:embed="rId10"/>
            <a:stretch>
              <a:fillRect/>
            </a:stretch>
          </p:blipFill>
          <p:spPr>
            <a:xfrm>
              <a:off x="10364679" y="4462008"/>
              <a:ext cx="862741" cy="862741"/>
            </a:xfrm>
            <a:prstGeom prst="rect">
              <a:avLst/>
            </a:prstGeom>
          </p:spPr>
        </p:pic>
        <p:sp>
          <p:nvSpPr>
            <p:cNvPr id="56" name="TextBox 55">
              <a:extLst>
                <a:ext uri="{FF2B5EF4-FFF2-40B4-BE49-F238E27FC236}">
                  <a16:creationId xmlns:a16="http://schemas.microsoft.com/office/drawing/2014/main" id="{FB2491E5-6BC5-CEAC-0FA3-CB6A57FB30D5}"/>
                </a:ext>
              </a:extLst>
            </p:cNvPr>
            <p:cNvSpPr txBox="1"/>
            <p:nvPr/>
          </p:nvSpPr>
          <p:spPr>
            <a:xfrm>
              <a:off x="10338849" y="5401445"/>
              <a:ext cx="914400" cy="307525"/>
            </a:xfrm>
            <a:prstGeom prst="rect">
              <a:avLst/>
            </a:prstGeom>
            <a:noFill/>
          </p:spPr>
          <p:txBody>
            <a:bodyPr wrap="none" lIns="0" tIns="0" rIns="0" bIns="0" rtlCol="0">
              <a:noAutofit/>
            </a:bodyPr>
            <a:lstStyle/>
            <a:p>
              <a:pPr algn="ctr">
                <a:lnSpc>
                  <a:spcPct val="110000"/>
                </a:lnSpc>
                <a:spcBef>
                  <a:spcPts val="600"/>
                </a:spcBef>
              </a:pPr>
              <a:r>
                <a:rPr lang="en-US" sz="1200" dirty="0">
                  <a:ea typeface="Human Sans" charset="0"/>
                  <a:cs typeface="Human Sans" charset="0"/>
                </a:rPr>
                <a:t>Pavel - DevOps</a:t>
              </a:r>
            </a:p>
          </p:txBody>
        </p:sp>
      </p:grpSp>
    </p:spTree>
    <p:extLst>
      <p:ext uri="{BB962C8B-B14F-4D97-AF65-F5344CB8AC3E}">
        <p14:creationId xmlns:p14="http://schemas.microsoft.com/office/powerpoint/2010/main" val="3573753785"/>
      </p:ext>
    </p:extLst>
  </p:cSld>
  <p:clrMapOvr>
    <a:masterClrMapping/>
  </p:clrMapOvr>
  <p:transition spd="slow">
    <p:push dir="u"/>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3E7B12-94E5-1E8A-9A20-C930CC8426EB}"/>
              </a:ext>
            </a:extLst>
          </p:cNvPr>
          <p:cNvSpPr>
            <a:spLocks noGrp="1"/>
          </p:cNvSpPr>
          <p:nvPr>
            <p:ph type="title"/>
          </p:nvPr>
        </p:nvSpPr>
        <p:spPr>
          <a:xfrm>
            <a:off x="639073" y="1424520"/>
            <a:ext cx="5333999" cy="2462213"/>
          </a:xfrm>
        </p:spPr>
        <p:txBody>
          <a:bodyPr/>
          <a:lstStyle/>
          <a:p>
            <a:r>
              <a:rPr lang="en-US" sz="3200" dirty="0"/>
              <a:t>A client requires a specific framework, and another needs to be selected by your team. </a:t>
            </a:r>
            <a:br>
              <a:rPr lang="en-US" sz="3200" dirty="0"/>
            </a:br>
            <a:r>
              <a:rPr lang="en-US" sz="3200" dirty="0">
                <a:solidFill>
                  <a:schemeClr val="accent6"/>
                </a:solidFill>
                <a:latin typeface="Calibri" panose="020F0502020204030204" pitchFamily="34" charset="0"/>
                <a:cs typeface="Calibri" panose="020F0502020204030204" pitchFamily="34" charset="0"/>
              </a:rPr>
              <a:t>How will you facilitate this decision?</a:t>
            </a:r>
          </a:p>
        </p:txBody>
      </p:sp>
      <p:sp>
        <p:nvSpPr>
          <p:cNvPr id="8" name="Text Placeholder 7">
            <a:extLst>
              <a:ext uri="{FF2B5EF4-FFF2-40B4-BE49-F238E27FC236}">
                <a16:creationId xmlns:a16="http://schemas.microsoft.com/office/drawing/2014/main" id="{A33CA039-DE3C-5D85-0DB8-D98A38BFDC35}"/>
              </a:ext>
            </a:extLst>
          </p:cNvPr>
          <p:cNvSpPr>
            <a:spLocks noGrp="1"/>
          </p:cNvSpPr>
          <p:nvPr>
            <p:ph type="body" sz="quarter" idx="28"/>
          </p:nvPr>
        </p:nvSpPr>
        <p:spPr>
          <a:xfrm>
            <a:off x="627063" y="419100"/>
            <a:ext cx="3725862" cy="397732"/>
          </a:xfrm>
        </p:spPr>
        <p:txBody>
          <a:bodyPr>
            <a:normAutofit/>
          </a:bodyPr>
          <a:lstStyle/>
          <a:p>
            <a:r>
              <a:rPr lang="en-US" dirty="0"/>
              <a:t>Team Leadership workshop: USE-cases</a:t>
            </a:r>
          </a:p>
        </p:txBody>
      </p:sp>
      <p:sp>
        <p:nvSpPr>
          <p:cNvPr id="10" name="Text Placeholder 9">
            <a:extLst>
              <a:ext uri="{FF2B5EF4-FFF2-40B4-BE49-F238E27FC236}">
                <a16:creationId xmlns:a16="http://schemas.microsoft.com/office/drawing/2014/main" id="{1F88C411-8C59-AFA3-5C10-11E75FDF9817}"/>
              </a:ext>
            </a:extLst>
          </p:cNvPr>
          <p:cNvSpPr>
            <a:spLocks noGrp="1"/>
          </p:cNvSpPr>
          <p:nvPr>
            <p:ph type="body" sz="quarter" idx="25"/>
          </p:nvPr>
        </p:nvSpPr>
        <p:spPr>
          <a:xfrm>
            <a:off x="627063" y="722843"/>
            <a:ext cx="4256436" cy="338554"/>
          </a:xfrm>
        </p:spPr>
        <p:txBody>
          <a:bodyPr/>
          <a:lstStyle/>
          <a:p>
            <a:r>
              <a:rPr lang="en-US" dirty="0"/>
              <a:t>Case 2: Framework Decision-Making</a:t>
            </a:r>
          </a:p>
        </p:txBody>
      </p:sp>
      <p:grpSp>
        <p:nvGrpSpPr>
          <p:cNvPr id="32" name="Group 31">
            <a:extLst>
              <a:ext uri="{FF2B5EF4-FFF2-40B4-BE49-F238E27FC236}">
                <a16:creationId xmlns:a16="http://schemas.microsoft.com/office/drawing/2014/main" id="{38CAE5AD-B9D9-1BE3-D8DA-9F3BAC97EFE3}"/>
              </a:ext>
            </a:extLst>
          </p:cNvPr>
          <p:cNvGrpSpPr/>
          <p:nvPr/>
        </p:nvGrpSpPr>
        <p:grpSpPr>
          <a:xfrm>
            <a:off x="7031633" y="5174495"/>
            <a:ext cx="914400" cy="1507452"/>
            <a:chOff x="7954394" y="5075784"/>
            <a:chExt cx="914400" cy="1507452"/>
          </a:xfrm>
        </p:grpSpPr>
        <p:pic>
          <p:nvPicPr>
            <p:cNvPr id="33" name="Picture 32" descr="Icon&#10;&#10;Description automatically generated">
              <a:extLst>
                <a:ext uri="{FF2B5EF4-FFF2-40B4-BE49-F238E27FC236}">
                  <a16:creationId xmlns:a16="http://schemas.microsoft.com/office/drawing/2014/main" id="{2F838510-22B0-4FBB-C199-A585524A88F1}"/>
                </a:ext>
              </a:extLst>
            </p:cNvPr>
            <p:cNvPicPr>
              <a:picLocks noChangeAspect="1"/>
            </p:cNvPicPr>
            <p:nvPr/>
          </p:nvPicPr>
          <p:blipFill>
            <a:blip r:embed="rId3"/>
            <a:stretch>
              <a:fillRect/>
            </a:stretch>
          </p:blipFill>
          <p:spPr>
            <a:xfrm>
              <a:off x="7974887" y="5075784"/>
              <a:ext cx="862741" cy="1133067"/>
            </a:xfrm>
            <a:prstGeom prst="rect">
              <a:avLst/>
            </a:prstGeom>
          </p:spPr>
        </p:pic>
        <p:sp>
          <p:nvSpPr>
            <p:cNvPr id="34" name="TextBox 33">
              <a:extLst>
                <a:ext uri="{FF2B5EF4-FFF2-40B4-BE49-F238E27FC236}">
                  <a16:creationId xmlns:a16="http://schemas.microsoft.com/office/drawing/2014/main" id="{587F560B-62C0-B867-EC11-79B4C360893D}"/>
                </a:ext>
              </a:extLst>
            </p:cNvPr>
            <p:cNvSpPr txBox="1"/>
            <p:nvPr/>
          </p:nvSpPr>
          <p:spPr>
            <a:xfrm>
              <a:off x="7954394" y="6275711"/>
              <a:ext cx="914400" cy="307525"/>
            </a:xfrm>
            <a:prstGeom prst="rect">
              <a:avLst/>
            </a:prstGeom>
            <a:noFill/>
          </p:spPr>
          <p:txBody>
            <a:bodyPr wrap="none" lIns="0" tIns="0" rIns="0" bIns="0" rtlCol="0">
              <a:noAutofit/>
            </a:bodyPr>
            <a:lstStyle/>
            <a:p>
              <a:pPr algn="ctr">
                <a:lnSpc>
                  <a:spcPct val="110000"/>
                </a:lnSpc>
                <a:spcBef>
                  <a:spcPts val="600"/>
                </a:spcBef>
              </a:pPr>
              <a:r>
                <a:rPr lang="en-US" sz="1200" dirty="0">
                  <a:ea typeface="Human Sans" charset="0"/>
                  <a:cs typeface="Human Sans" charset="0"/>
                </a:rPr>
                <a:t>You</a:t>
              </a:r>
            </a:p>
          </p:txBody>
        </p:sp>
      </p:grpSp>
      <p:sp>
        <p:nvSpPr>
          <p:cNvPr id="35" name="Speech Bubble: Rectangle 34">
            <a:extLst>
              <a:ext uri="{FF2B5EF4-FFF2-40B4-BE49-F238E27FC236}">
                <a16:creationId xmlns:a16="http://schemas.microsoft.com/office/drawing/2014/main" id="{5A3D9C85-096D-77E0-F8FF-1459C0ADD876}"/>
              </a:ext>
            </a:extLst>
          </p:cNvPr>
          <p:cNvSpPr/>
          <p:nvPr/>
        </p:nvSpPr>
        <p:spPr bwMode="auto">
          <a:xfrm>
            <a:off x="7697873" y="4555837"/>
            <a:ext cx="396301" cy="551798"/>
          </a:xfrm>
          <a:prstGeom prst="wedgeRectCallout">
            <a:avLst/>
          </a:prstGeom>
          <a:ln/>
        </p:spPr>
        <p:style>
          <a:lnRef idx="2">
            <a:schemeClr val="dk1"/>
          </a:lnRef>
          <a:fillRef idx="1">
            <a:schemeClr val="lt1"/>
          </a:fillRef>
          <a:effectRef idx="0">
            <a:schemeClr val="dk1"/>
          </a:effectRef>
          <a:fontRef idx="minor">
            <a:schemeClr val="dk1"/>
          </a:fontRef>
        </p:style>
        <p:txBody>
          <a:bodyPr wrap="none" rtlCol="0" anchor="ctr"/>
          <a:lstStyle/>
          <a:p>
            <a:pPr algn="ctr"/>
            <a:r>
              <a:rPr lang="en-US" sz="2000" dirty="0">
                <a:ln w="0"/>
                <a:solidFill>
                  <a:schemeClr val="tx1"/>
                </a:solidFill>
                <a:effectLst>
                  <a:outerShdw blurRad="38100" dist="19050" dir="2700000" algn="tl" rotWithShape="0">
                    <a:schemeClr val="dk1">
                      <a:alpha val="40000"/>
                    </a:schemeClr>
                  </a:outerShdw>
                </a:effectLst>
                <a:latin typeface="Calibri Light" panose="020F0302020204030204" pitchFamily="34" charset="0"/>
                <a:ea typeface="Human Sans ExtraLight" charset="0"/>
                <a:cs typeface="Human Sans ExtraLight" charset="0"/>
              </a:rPr>
              <a:t>?</a:t>
            </a:r>
            <a:endParaRPr lang="en-US" sz="2000" dirty="0">
              <a:solidFill>
                <a:schemeClr val="bg1"/>
              </a:solidFill>
              <a:latin typeface="Calibri Light" panose="020F0302020204030204" pitchFamily="34" charset="0"/>
              <a:ea typeface="Human Sans ExtraLight" charset="0"/>
              <a:cs typeface="Human Sans ExtraLight" charset="0"/>
            </a:endParaRPr>
          </a:p>
        </p:txBody>
      </p:sp>
      <p:grpSp>
        <p:nvGrpSpPr>
          <p:cNvPr id="4" name="Group 3">
            <a:extLst>
              <a:ext uri="{FF2B5EF4-FFF2-40B4-BE49-F238E27FC236}">
                <a16:creationId xmlns:a16="http://schemas.microsoft.com/office/drawing/2014/main" id="{BB4845E9-5781-3F39-B75A-F8107484E395}"/>
              </a:ext>
            </a:extLst>
          </p:cNvPr>
          <p:cNvGrpSpPr/>
          <p:nvPr/>
        </p:nvGrpSpPr>
        <p:grpSpPr>
          <a:xfrm>
            <a:off x="8827288" y="550438"/>
            <a:ext cx="923632" cy="1258357"/>
            <a:chOff x="9278671" y="722843"/>
            <a:chExt cx="923632" cy="1258357"/>
          </a:xfrm>
        </p:grpSpPr>
        <p:pic>
          <p:nvPicPr>
            <p:cNvPr id="5" name="Picture 4" descr="Icon&#10;&#10;Description automatically generated">
              <a:extLst>
                <a:ext uri="{FF2B5EF4-FFF2-40B4-BE49-F238E27FC236}">
                  <a16:creationId xmlns:a16="http://schemas.microsoft.com/office/drawing/2014/main" id="{551DFBEF-7F97-AFC6-553C-1B3BBF9FFF2B}"/>
                </a:ext>
              </a:extLst>
            </p:cNvPr>
            <p:cNvPicPr>
              <a:picLocks noChangeAspect="1"/>
            </p:cNvPicPr>
            <p:nvPr/>
          </p:nvPicPr>
          <p:blipFill>
            <a:blip r:embed="rId4"/>
            <a:stretch>
              <a:fillRect/>
            </a:stretch>
          </p:blipFill>
          <p:spPr>
            <a:xfrm>
              <a:off x="9278671" y="722843"/>
              <a:ext cx="862741" cy="862741"/>
            </a:xfrm>
            <a:prstGeom prst="rect">
              <a:avLst/>
            </a:prstGeom>
          </p:spPr>
        </p:pic>
        <p:sp>
          <p:nvSpPr>
            <p:cNvPr id="6" name="TextBox 5">
              <a:extLst>
                <a:ext uri="{FF2B5EF4-FFF2-40B4-BE49-F238E27FC236}">
                  <a16:creationId xmlns:a16="http://schemas.microsoft.com/office/drawing/2014/main" id="{787D0E6B-D589-01B3-A6E4-63C68B64DD65}"/>
                </a:ext>
              </a:extLst>
            </p:cNvPr>
            <p:cNvSpPr txBox="1"/>
            <p:nvPr/>
          </p:nvSpPr>
          <p:spPr>
            <a:xfrm>
              <a:off x="9287903" y="1673675"/>
              <a:ext cx="914400" cy="307525"/>
            </a:xfrm>
            <a:prstGeom prst="rect">
              <a:avLst/>
            </a:prstGeom>
            <a:noFill/>
          </p:spPr>
          <p:txBody>
            <a:bodyPr wrap="none" lIns="0" tIns="0" rIns="0" bIns="0" rtlCol="0">
              <a:noAutofit/>
            </a:bodyPr>
            <a:lstStyle/>
            <a:p>
              <a:pPr algn="ctr">
                <a:lnSpc>
                  <a:spcPct val="110000"/>
                </a:lnSpc>
                <a:spcBef>
                  <a:spcPts val="600"/>
                </a:spcBef>
              </a:pPr>
              <a:r>
                <a:rPr lang="en-US" sz="1200" dirty="0">
                  <a:ea typeface="Human Sans" charset="0"/>
                  <a:cs typeface="Human Sans" charset="0"/>
                </a:rPr>
                <a:t>Dean - SM</a:t>
              </a:r>
            </a:p>
          </p:txBody>
        </p:sp>
      </p:grpSp>
      <p:grpSp>
        <p:nvGrpSpPr>
          <p:cNvPr id="7" name="Group 6">
            <a:extLst>
              <a:ext uri="{FF2B5EF4-FFF2-40B4-BE49-F238E27FC236}">
                <a16:creationId xmlns:a16="http://schemas.microsoft.com/office/drawing/2014/main" id="{84309EC9-FF7E-8DB6-3B0A-F24E5005367D}"/>
              </a:ext>
            </a:extLst>
          </p:cNvPr>
          <p:cNvGrpSpPr/>
          <p:nvPr/>
        </p:nvGrpSpPr>
        <p:grpSpPr>
          <a:xfrm>
            <a:off x="7748640" y="1590899"/>
            <a:ext cx="914400" cy="1280310"/>
            <a:chOff x="7949057" y="1717959"/>
            <a:chExt cx="914400" cy="1280310"/>
          </a:xfrm>
        </p:grpSpPr>
        <p:pic>
          <p:nvPicPr>
            <p:cNvPr id="9" name="Picture 8" descr="Icon, circle&#10;&#10;Description automatically generated">
              <a:extLst>
                <a:ext uri="{FF2B5EF4-FFF2-40B4-BE49-F238E27FC236}">
                  <a16:creationId xmlns:a16="http://schemas.microsoft.com/office/drawing/2014/main" id="{38E0BDAB-5373-19C6-6F91-35D85857A5DD}"/>
                </a:ext>
              </a:extLst>
            </p:cNvPr>
            <p:cNvPicPr>
              <a:picLocks noChangeAspect="1"/>
            </p:cNvPicPr>
            <p:nvPr/>
          </p:nvPicPr>
          <p:blipFill>
            <a:blip r:embed="rId5"/>
            <a:stretch>
              <a:fillRect/>
            </a:stretch>
          </p:blipFill>
          <p:spPr>
            <a:xfrm>
              <a:off x="7974889" y="1717959"/>
              <a:ext cx="862741" cy="862741"/>
            </a:xfrm>
            <a:prstGeom prst="rect">
              <a:avLst/>
            </a:prstGeom>
          </p:spPr>
        </p:pic>
        <p:sp>
          <p:nvSpPr>
            <p:cNvPr id="36" name="TextBox 35">
              <a:extLst>
                <a:ext uri="{FF2B5EF4-FFF2-40B4-BE49-F238E27FC236}">
                  <a16:creationId xmlns:a16="http://schemas.microsoft.com/office/drawing/2014/main" id="{EF22CD6A-7350-B784-9FA5-1629B4C3CE31}"/>
                </a:ext>
              </a:extLst>
            </p:cNvPr>
            <p:cNvSpPr txBox="1"/>
            <p:nvPr/>
          </p:nvSpPr>
          <p:spPr>
            <a:xfrm>
              <a:off x="7949057" y="2690744"/>
              <a:ext cx="914400" cy="307525"/>
            </a:xfrm>
            <a:prstGeom prst="rect">
              <a:avLst/>
            </a:prstGeom>
            <a:noFill/>
          </p:spPr>
          <p:txBody>
            <a:bodyPr wrap="none" lIns="0" tIns="0" rIns="0" bIns="0" rtlCol="0">
              <a:noAutofit/>
            </a:bodyPr>
            <a:lstStyle/>
            <a:p>
              <a:pPr algn="ctr">
                <a:lnSpc>
                  <a:spcPct val="110000"/>
                </a:lnSpc>
                <a:spcBef>
                  <a:spcPts val="600"/>
                </a:spcBef>
              </a:pPr>
              <a:r>
                <a:rPr lang="en-US" sz="1200" dirty="0">
                  <a:ea typeface="Human Sans" charset="0"/>
                  <a:cs typeface="Human Sans" charset="0"/>
                </a:rPr>
                <a:t>Adam – SD</a:t>
              </a:r>
            </a:p>
          </p:txBody>
        </p:sp>
      </p:grpSp>
      <p:grpSp>
        <p:nvGrpSpPr>
          <p:cNvPr id="37" name="Group 36">
            <a:extLst>
              <a:ext uri="{FF2B5EF4-FFF2-40B4-BE49-F238E27FC236}">
                <a16:creationId xmlns:a16="http://schemas.microsoft.com/office/drawing/2014/main" id="{15401A2B-13DF-F884-07EA-990F72A86F8E}"/>
              </a:ext>
            </a:extLst>
          </p:cNvPr>
          <p:cNvGrpSpPr/>
          <p:nvPr/>
        </p:nvGrpSpPr>
        <p:grpSpPr>
          <a:xfrm>
            <a:off x="9940995" y="1630369"/>
            <a:ext cx="926780" cy="1257253"/>
            <a:chOff x="10327938" y="1717960"/>
            <a:chExt cx="926780" cy="1257253"/>
          </a:xfrm>
        </p:grpSpPr>
        <p:pic>
          <p:nvPicPr>
            <p:cNvPr id="38" name="Picture 37" descr="Icon&#10;&#10;Description automatically generated">
              <a:extLst>
                <a:ext uri="{FF2B5EF4-FFF2-40B4-BE49-F238E27FC236}">
                  <a16:creationId xmlns:a16="http://schemas.microsoft.com/office/drawing/2014/main" id="{18881A4B-8FB3-CD52-49B2-C568CC61DE34}"/>
                </a:ext>
              </a:extLst>
            </p:cNvPr>
            <p:cNvPicPr>
              <a:picLocks noChangeAspect="1"/>
            </p:cNvPicPr>
            <p:nvPr/>
          </p:nvPicPr>
          <p:blipFill>
            <a:blip r:embed="rId6"/>
            <a:stretch>
              <a:fillRect/>
            </a:stretch>
          </p:blipFill>
          <p:spPr>
            <a:xfrm>
              <a:off x="10327938" y="1717960"/>
              <a:ext cx="862741" cy="862741"/>
            </a:xfrm>
            <a:prstGeom prst="rect">
              <a:avLst/>
            </a:prstGeom>
          </p:spPr>
        </p:pic>
        <p:sp>
          <p:nvSpPr>
            <p:cNvPr id="39" name="TextBox 38">
              <a:extLst>
                <a:ext uri="{FF2B5EF4-FFF2-40B4-BE49-F238E27FC236}">
                  <a16:creationId xmlns:a16="http://schemas.microsoft.com/office/drawing/2014/main" id="{123AC138-EB9B-5AF0-1D25-C569E570C2DA}"/>
                </a:ext>
              </a:extLst>
            </p:cNvPr>
            <p:cNvSpPr txBox="1"/>
            <p:nvPr/>
          </p:nvSpPr>
          <p:spPr>
            <a:xfrm>
              <a:off x="10340318" y="2667688"/>
              <a:ext cx="914400" cy="307525"/>
            </a:xfrm>
            <a:prstGeom prst="rect">
              <a:avLst/>
            </a:prstGeom>
            <a:noFill/>
          </p:spPr>
          <p:txBody>
            <a:bodyPr wrap="none" lIns="0" tIns="0" rIns="0" bIns="0" rtlCol="0">
              <a:noAutofit/>
            </a:bodyPr>
            <a:lstStyle/>
            <a:p>
              <a:pPr algn="ctr">
                <a:lnSpc>
                  <a:spcPct val="110000"/>
                </a:lnSpc>
                <a:spcBef>
                  <a:spcPts val="600"/>
                </a:spcBef>
              </a:pPr>
              <a:r>
                <a:rPr lang="en-US" sz="1200" dirty="0">
                  <a:ea typeface="Human Sans" charset="0"/>
                  <a:cs typeface="Human Sans" charset="0"/>
                </a:rPr>
                <a:t>Mary – PO/BA</a:t>
              </a:r>
            </a:p>
          </p:txBody>
        </p:sp>
      </p:grpSp>
      <p:grpSp>
        <p:nvGrpSpPr>
          <p:cNvPr id="40" name="Group 39">
            <a:extLst>
              <a:ext uri="{FF2B5EF4-FFF2-40B4-BE49-F238E27FC236}">
                <a16:creationId xmlns:a16="http://schemas.microsoft.com/office/drawing/2014/main" id="{B0B1EFE6-25B8-46DF-22EF-47268626D5DA}"/>
              </a:ext>
            </a:extLst>
          </p:cNvPr>
          <p:cNvGrpSpPr/>
          <p:nvPr/>
        </p:nvGrpSpPr>
        <p:grpSpPr>
          <a:xfrm>
            <a:off x="7610190" y="2962921"/>
            <a:ext cx="933043" cy="1261978"/>
            <a:chOff x="7810607" y="3089981"/>
            <a:chExt cx="933043" cy="1261978"/>
          </a:xfrm>
        </p:grpSpPr>
        <p:pic>
          <p:nvPicPr>
            <p:cNvPr id="41" name="Picture 40" descr="Icon&#10;&#10;Description automatically generated">
              <a:extLst>
                <a:ext uri="{FF2B5EF4-FFF2-40B4-BE49-F238E27FC236}">
                  <a16:creationId xmlns:a16="http://schemas.microsoft.com/office/drawing/2014/main" id="{5D679CD3-BC09-9870-C144-64E4120FF3EE}"/>
                </a:ext>
              </a:extLst>
            </p:cNvPr>
            <p:cNvPicPr>
              <a:picLocks noChangeAspect="1"/>
            </p:cNvPicPr>
            <p:nvPr/>
          </p:nvPicPr>
          <p:blipFill>
            <a:blip r:embed="rId7"/>
            <a:stretch>
              <a:fillRect/>
            </a:stretch>
          </p:blipFill>
          <p:spPr>
            <a:xfrm>
              <a:off x="7810607" y="3089981"/>
              <a:ext cx="862741" cy="862741"/>
            </a:xfrm>
            <a:prstGeom prst="rect">
              <a:avLst/>
            </a:prstGeom>
          </p:spPr>
        </p:pic>
        <p:sp>
          <p:nvSpPr>
            <p:cNvPr id="42" name="TextBox 41">
              <a:extLst>
                <a:ext uri="{FF2B5EF4-FFF2-40B4-BE49-F238E27FC236}">
                  <a16:creationId xmlns:a16="http://schemas.microsoft.com/office/drawing/2014/main" id="{C888D0DC-3138-63C0-086D-2383C730CE89}"/>
                </a:ext>
              </a:extLst>
            </p:cNvPr>
            <p:cNvSpPr txBox="1"/>
            <p:nvPr/>
          </p:nvSpPr>
          <p:spPr>
            <a:xfrm>
              <a:off x="7829250" y="4044434"/>
              <a:ext cx="914400" cy="307525"/>
            </a:xfrm>
            <a:prstGeom prst="rect">
              <a:avLst/>
            </a:prstGeom>
            <a:noFill/>
          </p:spPr>
          <p:txBody>
            <a:bodyPr wrap="none" lIns="0" tIns="0" rIns="0" bIns="0" rtlCol="0">
              <a:noAutofit/>
            </a:bodyPr>
            <a:lstStyle/>
            <a:p>
              <a:pPr algn="ctr">
                <a:lnSpc>
                  <a:spcPct val="110000"/>
                </a:lnSpc>
                <a:spcBef>
                  <a:spcPts val="600"/>
                </a:spcBef>
              </a:pPr>
              <a:r>
                <a:rPr lang="en-US" sz="1200" dirty="0">
                  <a:ea typeface="Human Sans" charset="0"/>
                  <a:cs typeface="Human Sans" charset="0"/>
                </a:rPr>
                <a:t>Bob – MD</a:t>
              </a:r>
            </a:p>
          </p:txBody>
        </p:sp>
      </p:grpSp>
      <p:grpSp>
        <p:nvGrpSpPr>
          <p:cNvPr id="43" name="Group 42">
            <a:extLst>
              <a:ext uri="{FF2B5EF4-FFF2-40B4-BE49-F238E27FC236}">
                <a16:creationId xmlns:a16="http://schemas.microsoft.com/office/drawing/2014/main" id="{D57BE348-96F4-A86B-766A-69EE3A26BD5F}"/>
              </a:ext>
            </a:extLst>
          </p:cNvPr>
          <p:cNvGrpSpPr/>
          <p:nvPr/>
        </p:nvGrpSpPr>
        <p:grpSpPr>
          <a:xfrm>
            <a:off x="8656115" y="2962922"/>
            <a:ext cx="914400" cy="1265709"/>
            <a:chOff x="8856532" y="3089982"/>
            <a:chExt cx="914400" cy="1265709"/>
          </a:xfrm>
        </p:grpSpPr>
        <p:pic>
          <p:nvPicPr>
            <p:cNvPr id="44" name="Picture 43" descr="Icon&#10;&#10;Description automatically generated">
              <a:extLst>
                <a:ext uri="{FF2B5EF4-FFF2-40B4-BE49-F238E27FC236}">
                  <a16:creationId xmlns:a16="http://schemas.microsoft.com/office/drawing/2014/main" id="{74801FF4-2909-3002-3F91-24C62642132B}"/>
                </a:ext>
              </a:extLst>
            </p:cNvPr>
            <p:cNvPicPr>
              <a:picLocks noChangeAspect="1"/>
            </p:cNvPicPr>
            <p:nvPr/>
          </p:nvPicPr>
          <p:blipFill>
            <a:blip r:embed="rId8"/>
            <a:stretch>
              <a:fillRect/>
            </a:stretch>
          </p:blipFill>
          <p:spPr>
            <a:xfrm>
              <a:off x="8882362" y="3089982"/>
              <a:ext cx="862741" cy="862741"/>
            </a:xfrm>
            <a:prstGeom prst="rect">
              <a:avLst/>
            </a:prstGeom>
          </p:spPr>
        </p:pic>
        <p:sp>
          <p:nvSpPr>
            <p:cNvPr id="45" name="TextBox 44">
              <a:extLst>
                <a:ext uri="{FF2B5EF4-FFF2-40B4-BE49-F238E27FC236}">
                  <a16:creationId xmlns:a16="http://schemas.microsoft.com/office/drawing/2014/main" id="{B85FC62E-3972-030F-18E0-640C16D623C7}"/>
                </a:ext>
              </a:extLst>
            </p:cNvPr>
            <p:cNvSpPr txBox="1"/>
            <p:nvPr/>
          </p:nvSpPr>
          <p:spPr>
            <a:xfrm>
              <a:off x="8856532" y="4048166"/>
              <a:ext cx="914400" cy="307525"/>
            </a:xfrm>
            <a:prstGeom prst="rect">
              <a:avLst/>
            </a:prstGeom>
            <a:noFill/>
          </p:spPr>
          <p:txBody>
            <a:bodyPr wrap="none" lIns="0" tIns="0" rIns="0" bIns="0" rtlCol="0">
              <a:noAutofit/>
            </a:bodyPr>
            <a:lstStyle/>
            <a:p>
              <a:pPr algn="ctr">
                <a:lnSpc>
                  <a:spcPct val="110000"/>
                </a:lnSpc>
                <a:spcBef>
                  <a:spcPts val="600"/>
                </a:spcBef>
              </a:pPr>
              <a:r>
                <a:rPr lang="en-US" sz="1200" dirty="0">
                  <a:ea typeface="Human Sans" charset="0"/>
                  <a:cs typeface="Human Sans" charset="0"/>
                </a:rPr>
                <a:t>Eva - JD</a:t>
              </a:r>
            </a:p>
          </p:txBody>
        </p:sp>
      </p:grpSp>
      <p:grpSp>
        <p:nvGrpSpPr>
          <p:cNvPr id="46" name="Group 45">
            <a:extLst>
              <a:ext uri="{FF2B5EF4-FFF2-40B4-BE49-F238E27FC236}">
                <a16:creationId xmlns:a16="http://schemas.microsoft.com/office/drawing/2014/main" id="{3EA658B8-54F8-A019-9430-44555FE20C4C}"/>
              </a:ext>
            </a:extLst>
          </p:cNvPr>
          <p:cNvGrpSpPr/>
          <p:nvPr/>
        </p:nvGrpSpPr>
        <p:grpSpPr>
          <a:xfrm>
            <a:off x="9915165" y="2962922"/>
            <a:ext cx="914400" cy="1285035"/>
            <a:chOff x="10115582" y="3089982"/>
            <a:chExt cx="914400" cy="1285035"/>
          </a:xfrm>
        </p:grpSpPr>
        <p:pic>
          <p:nvPicPr>
            <p:cNvPr id="47" name="Picture 46" descr="Icon&#10;&#10;Description automatically generated">
              <a:extLst>
                <a:ext uri="{FF2B5EF4-FFF2-40B4-BE49-F238E27FC236}">
                  <a16:creationId xmlns:a16="http://schemas.microsoft.com/office/drawing/2014/main" id="{7F723980-9F86-DB0F-2C39-652042288F24}"/>
                </a:ext>
              </a:extLst>
            </p:cNvPr>
            <p:cNvPicPr>
              <a:picLocks noChangeAspect="1"/>
            </p:cNvPicPr>
            <p:nvPr/>
          </p:nvPicPr>
          <p:blipFill>
            <a:blip r:embed="rId9"/>
            <a:stretch>
              <a:fillRect/>
            </a:stretch>
          </p:blipFill>
          <p:spPr>
            <a:xfrm>
              <a:off x="10141412" y="3089982"/>
              <a:ext cx="862741" cy="862741"/>
            </a:xfrm>
            <a:prstGeom prst="rect">
              <a:avLst/>
            </a:prstGeom>
          </p:spPr>
        </p:pic>
        <p:sp>
          <p:nvSpPr>
            <p:cNvPr id="48" name="TextBox 47">
              <a:extLst>
                <a:ext uri="{FF2B5EF4-FFF2-40B4-BE49-F238E27FC236}">
                  <a16:creationId xmlns:a16="http://schemas.microsoft.com/office/drawing/2014/main" id="{A41BCC08-3034-1F8B-3F21-EECBD65EB641}"/>
                </a:ext>
              </a:extLst>
            </p:cNvPr>
            <p:cNvSpPr txBox="1"/>
            <p:nvPr/>
          </p:nvSpPr>
          <p:spPr>
            <a:xfrm>
              <a:off x="10115582" y="4067492"/>
              <a:ext cx="914400" cy="307525"/>
            </a:xfrm>
            <a:prstGeom prst="rect">
              <a:avLst/>
            </a:prstGeom>
            <a:noFill/>
          </p:spPr>
          <p:txBody>
            <a:bodyPr wrap="none" lIns="0" tIns="0" rIns="0" bIns="0" rtlCol="0">
              <a:noAutofit/>
            </a:bodyPr>
            <a:lstStyle/>
            <a:p>
              <a:pPr algn="ctr">
                <a:lnSpc>
                  <a:spcPct val="110000"/>
                </a:lnSpc>
                <a:spcBef>
                  <a:spcPts val="600"/>
                </a:spcBef>
              </a:pPr>
              <a:r>
                <a:rPr lang="en-US" sz="1200" dirty="0">
                  <a:ea typeface="Human Sans" charset="0"/>
                  <a:cs typeface="Human Sans" charset="0"/>
                </a:rPr>
                <a:t>Diana - QA</a:t>
              </a:r>
            </a:p>
          </p:txBody>
        </p:sp>
      </p:grpSp>
      <p:grpSp>
        <p:nvGrpSpPr>
          <p:cNvPr id="49" name="Group 48">
            <a:extLst>
              <a:ext uri="{FF2B5EF4-FFF2-40B4-BE49-F238E27FC236}">
                <a16:creationId xmlns:a16="http://schemas.microsoft.com/office/drawing/2014/main" id="{2328E9C9-E83C-362D-F6D2-A69E23B0BBA1}"/>
              </a:ext>
            </a:extLst>
          </p:cNvPr>
          <p:cNvGrpSpPr/>
          <p:nvPr/>
        </p:nvGrpSpPr>
        <p:grpSpPr>
          <a:xfrm>
            <a:off x="9953375" y="4368223"/>
            <a:ext cx="914400" cy="1246962"/>
            <a:chOff x="10338849" y="4462008"/>
            <a:chExt cx="914400" cy="1246962"/>
          </a:xfrm>
        </p:grpSpPr>
        <p:pic>
          <p:nvPicPr>
            <p:cNvPr id="50" name="Picture 49" descr="Icon&#10;&#10;Description automatically generated">
              <a:extLst>
                <a:ext uri="{FF2B5EF4-FFF2-40B4-BE49-F238E27FC236}">
                  <a16:creationId xmlns:a16="http://schemas.microsoft.com/office/drawing/2014/main" id="{7664D971-33C2-298C-5CDD-B8E9723F4675}"/>
                </a:ext>
              </a:extLst>
            </p:cNvPr>
            <p:cNvPicPr>
              <a:picLocks noChangeAspect="1"/>
            </p:cNvPicPr>
            <p:nvPr/>
          </p:nvPicPr>
          <p:blipFill>
            <a:blip r:embed="rId10"/>
            <a:stretch>
              <a:fillRect/>
            </a:stretch>
          </p:blipFill>
          <p:spPr>
            <a:xfrm>
              <a:off x="10364679" y="4462008"/>
              <a:ext cx="862741" cy="862741"/>
            </a:xfrm>
            <a:prstGeom prst="rect">
              <a:avLst/>
            </a:prstGeom>
          </p:spPr>
        </p:pic>
        <p:sp>
          <p:nvSpPr>
            <p:cNvPr id="51" name="TextBox 50">
              <a:extLst>
                <a:ext uri="{FF2B5EF4-FFF2-40B4-BE49-F238E27FC236}">
                  <a16:creationId xmlns:a16="http://schemas.microsoft.com/office/drawing/2014/main" id="{FE7FEC11-0F04-314D-D4CF-BB326136E17C}"/>
                </a:ext>
              </a:extLst>
            </p:cNvPr>
            <p:cNvSpPr txBox="1"/>
            <p:nvPr/>
          </p:nvSpPr>
          <p:spPr>
            <a:xfrm>
              <a:off x="10338849" y="5401445"/>
              <a:ext cx="914400" cy="307525"/>
            </a:xfrm>
            <a:prstGeom prst="rect">
              <a:avLst/>
            </a:prstGeom>
            <a:noFill/>
          </p:spPr>
          <p:txBody>
            <a:bodyPr wrap="none" lIns="0" tIns="0" rIns="0" bIns="0" rtlCol="0">
              <a:noAutofit/>
            </a:bodyPr>
            <a:lstStyle/>
            <a:p>
              <a:pPr algn="ctr">
                <a:lnSpc>
                  <a:spcPct val="110000"/>
                </a:lnSpc>
                <a:spcBef>
                  <a:spcPts val="600"/>
                </a:spcBef>
              </a:pPr>
              <a:r>
                <a:rPr lang="en-US" sz="1200" dirty="0">
                  <a:ea typeface="Human Sans" charset="0"/>
                  <a:cs typeface="Human Sans" charset="0"/>
                </a:rPr>
                <a:t>Pavel - DevOps</a:t>
              </a:r>
            </a:p>
          </p:txBody>
        </p:sp>
      </p:grpSp>
    </p:spTree>
    <p:extLst>
      <p:ext uri="{BB962C8B-B14F-4D97-AF65-F5344CB8AC3E}">
        <p14:creationId xmlns:p14="http://schemas.microsoft.com/office/powerpoint/2010/main" val="260463268"/>
      </p:ext>
    </p:extLst>
  </p:cSld>
  <p:clrMapOvr>
    <a:masterClrMapping/>
  </p:clrMapOvr>
  <p:transition spd="slow">
    <p:push dir="u"/>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3E7B12-94E5-1E8A-9A20-C930CC8426EB}"/>
              </a:ext>
            </a:extLst>
          </p:cNvPr>
          <p:cNvSpPr>
            <a:spLocks noGrp="1"/>
          </p:cNvSpPr>
          <p:nvPr>
            <p:ph type="title"/>
          </p:nvPr>
        </p:nvSpPr>
        <p:spPr>
          <a:xfrm>
            <a:off x="639073" y="1424520"/>
            <a:ext cx="5333999" cy="2954655"/>
          </a:xfrm>
        </p:spPr>
        <p:txBody>
          <a:bodyPr/>
          <a:lstStyle/>
          <a:p>
            <a:r>
              <a:rPr lang="en-US" sz="3200" dirty="0"/>
              <a:t>The client asks for an estimation of the first epic comprised of several stories. </a:t>
            </a:r>
            <a:br>
              <a:rPr lang="en-US" sz="3200" dirty="0"/>
            </a:br>
            <a:r>
              <a:rPr lang="en-US" sz="3200" dirty="0">
                <a:solidFill>
                  <a:schemeClr val="accent6"/>
                </a:solidFill>
                <a:latin typeface="Calibri" panose="020F0502020204030204" pitchFamily="34" charset="0"/>
                <a:cs typeface="Calibri" panose="020F0502020204030204" pitchFamily="34" charset="0"/>
              </a:rPr>
              <a:t>Describe your approach and tools used for effective estimation. </a:t>
            </a:r>
          </a:p>
        </p:txBody>
      </p:sp>
      <p:sp>
        <p:nvSpPr>
          <p:cNvPr id="8" name="Text Placeholder 7">
            <a:extLst>
              <a:ext uri="{FF2B5EF4-FFF2-40B4-BE49-F238E27FC236}">
                <a16:creationId xmlns:a16="http://schemas.microsoft.com/office/drawing/2014/main" id="{A33CA039-DE3C-5D85-0DB8-D98A38BFDC35}"/>
              </a:ext>
            </a:extLst>
          </p:cNvPr>
          <p:cNvSpPr>
            <a:spLocks noGrp="1"/>
          </p:cNvSpPr>
          <p:nvPr>
            <p:ph type="body" sz="quarter" idx="28"/>
          </p:nvPr>
        </p:nvSpPr>
        <p:spPr>
          <a:xfrm>
            <a:off x="627063" y="419100"/>
            <a:ext cx="3725862" cy="397732"/>
          </a:xfrm>
        </p:spPr>
        <p:txBody>
          <a:bodyPr>
            <a:normAutofit/>
          </a:bodyPr>
          <a:lstStyle/>
          <a:p>
            <a:r>
              <a:rPr lang="en-US" dirty="0"/>
              <a:t>Team Leadership workshop: USE-cases</a:t>
            </a:r>
          </a:p>
        </p:txBody>
      </p:sp>
      <p:sp>
        <p:nvSpPr>
          <p:cNvPr id="10" name="Text Placeholder 9">
            <a:extLst>
              <a:ext uri="{FF2B5EF4-FFF2-40B4-BE49-F238E27FC236}">
                <a16:creationId xmlns:a16="http://schemas.microsoft.com/office/drawing/2014/main" id="{1F88C411-8C59-AFA3-5C10-11E75FDF9817}"/>
              </a:ext>
            </a:extLst>
          </p:cNvPr>
          <p:cNvSpPr>
            <a:spLocks noGrp="1"/>
          </p:cNvSpPr>
          <p:nvPr>
            <p:ph type="body" sz="quarter" idx="25"/>
          </p:nvPr>
        </p:nvSpPr>
        <p:spPr>
          <a:xfrm>
            <a:off x="627063" y="722843"/>
            <a:ext cx="4145904" cy="338554"/>
          </a:xfrm>
        </p:spPr>
        <p:txBody>
          <a:bodyPr/>
          <a:lstStyle/>
          <a:p>
            <a:r>
              <a:rPr lang="en-US" dirty="0"/>
              <a:t>Case 3.1: Epic Estimation Process</a:t>
            </a:r>
          </a:p>
        </p:txBody>
      </p:sp>
      <p:grpSp>
        <p:nvGrpSpPr>
          <p:cNvPr id="32" name="Group 31">
            <a:extLst>
              <a:ext uri="{FF2B5EF4-FFF2-40B4-BE49-F238E27FC236}">
                <a16:creationId xmlns:a16="http://schemas.microsoft.com/office/drawing/2014/main" id="{38CAE5AD-B9D9-1BE3-D8DA-9F3BAC97EFE3}"/>
              </a:ext>
            </a:extLst>
          </p:cNvPr>
          <p:cNvGrpSpPr/>
          <p:nvPr/>
        </p:nvGrpSpPr>
        <p:grpSpPr>
          <a:xfrm>
            <a:off x="7031633" y="5174495"/>
            <a:ext cx="914400" cy="1507452"/>
            <a:chOff x="7954394" y="5075784"/>
            <a:chExt cx="914400" cy="1507452"/>
          </a:xfrm>
        </p:grpSpPr>
        <p:pic>
          <p:nvPicPr>
            <p:cNvPr id="33" name="Picture 32" descr="Icon&#10;&#10;Description automatically generated">
              <a:extLst>
                <a:ext uri="{FF2B5EF4-FFF2-40B4-BE49-F238E27FC236}">
                  <a16:creationId xmlns:a16="http://schemas.microsoft.com/office/drawing/2014/main" id="{2F838510-22B0-4FBB-C199-A585524A88F1}"/>
                </a:ext>
              </a:extLst>
            </p:cNvPr>
            <p:cNvPicPr>
              <a:picLocks noChangeAspect="1"/>
            </p:cNvPicPr>
            <p:nvPr/>
          </p:nvPicPr>
          <p:blipFill>
            <a:blip r:embed="rId3"/>
            <a:stretch>
              <a:fillRect/>
            </a:stretch>
          </p:blipFill>
          <p:spPr>
            <a:xfrm>
              <a:off x="7974887" y="5075784"/>
              <a:ext cx="862741" cy="1133067"/>
            </a:xfrm>
            <a:prstGeom prst="rect">
              <a:avLst/>
            </a:prstGeom>
          </p:spPr>
        </p:pic>
        <p:sp>
          <p:nvSpPr>
            <p:cNvPr id="34" name="TextBox 33">
              <a:extLst>
                <a:ext uri="{FF2B5EF4-FFF2-40B4-BE49-F238E27FC236}">
                  <a16:creationId xmlns:a16="http://schemas.microsoft.com/office/drawing/2014/main" id="{587F560B-62C0-B867-EC11-79B4C360893D}"/>
                </a:ext>
              </a:extLst>
            </p:cNvPr>
            <p:cNvSpPr txBox="1"/>
            <p:nvPr/>
          </p:nvSpPr>
          <p:spPr>
            <a:xfrm>
              <a:off x="7954394" y="6275711"/>
              <a:ext cx="914400" cy="307525"/>
            </a:xfrm>
            <a:prstGeom prst="rect">
              <a:avLst/>
            </a:prstGeom>
            <a:noFill/>
          </p:spPr>
          <p:txBody>
            <a:bodyPr wrap="none" lIns="0" tIns="0" rIns="0" bIns="0" rtlCol="0">
              <a:noAutofit/>
            </a:bodyPr>
            <a:lstStyle/>
            <a:p>
              <a:pPr algn="ctr">
                <a:lnSpc>
                  <a:spcPct val="110000"/>
                </a:lnSpc>
                <a:spcBef>
                  <a:spcPts val="600"/>
                </a:spcBef>
              </a:pPr>
              <a:r>
                <a:rPr lang="en-US" sz="1200" dirty="0">
                  <a:ea typeface="Human Sans" charset="0"/>
                  <a:cs typeface="Human Sans" charset="0"/>
                </a:rPr>
                <a:t>You</a:t>
              </a:r>
            </a:p>
          </p:txBody>
        </p:sp>
      </p:grpSp>
      <p:sp>
        <p:nvSpPr>
          <p:cNvPr id="35" name="Speech Bubble: Rectangle 34">
            <a:extLst>
              <a:ext uri="{FF2B5EF4-FFF2-40B4-BE49-F238E27FC236}">
                <a16:creationId xmlns:a16="http://schemas.microsoft.com/office/drawing/2014/main" id="{5A3D9C85-096D-77E0-F8FF-1459C0ADD876}"/>
              </a:ext>
            </a:extLst>
          </p:cNvPr>
          <p:cNvSpPr/>
          <p:nvPr/>
        </p:nvSpPr>
        <p:spPr bwMode="auto">
          <a:xfrm>
            <a:off x="7697873" y="4555837"/>
            <a:ext cx="396301" cy="551798"/>
          </a:xfrm>
          <a:prstGeom prst="wedgeRectCallout">
            <a:avLst/>
          </a:prstGeom>
          <a:ln/>
        </p:spPr>
        <p:style>
          <a:lnRef idx="2">
            <a:schemeClr val="dk1"/>
          </a:lnRef>
          <a:fillRef idx="1">
            <a:schemeClr val="lt1"/>
          </a:fillRef>
          <a:effectRef idx="0">
            <a:schemeClr val="dk1"/>
          </a:effectRef>
          <a:fontRef idx="minor">
            <a:schemeClr val="dk1"/>
          </a:fontRef>
        </p:style>
        <p:txBody>
          <a:bodyPr wrap="none" rtlCol="0" anchor="ctr"/>
          <a:lstStyle/>
          <a:p>
            <a:pPr algn="ctr"/>
            <a:r>
              <a:rPr lang="en-US" sz="2000" dirty="0">
                <a:ln w="0"/>
                <a:solidFill>
                  <a:schemeClr val="tx1"/>
                </a:solidFill>
                <a:effectLst>
                  <a:outerShdw blurRad="38100" dist="19050" dir="2700000" algn="tl" rotWithShape="0">
                    <a:schemeClr val="dk1">
                      <a:alpha val="40000"/>
                    </a:schemeClr>
                  </a:outerShdw>
                </a:effectLst>
                <a:latin typeface="Calibri Light" panose="020F0302020204030204" pitchFamily="34" charset="0"/>
                <a:ea typeface="Human Sans ExtraLight" charset="0"/>
                <a:cs typeface="Human Sans ExtraLight" charset="0"/>
              </a:rPr>
              <a:t>?</a:t>
            </a:r>
            <a:endParaRPr lang="en-US" sz="2000" dirty="0">
              <a:solidFill>
                <a:schemeClr val="bg1"/>
              </a:solidFill>
              <a:latin typeface="Calibri Light" panose="020F0302020204030204" pitchFamily="34" charset="0"/>
              <a:ea typeface="Human Sans ExtraLight" charset="0"/>
              <a:cs typeface="Human Sans ExtraLight" charset="0"/>
            </a:endParaRPr>
          </a:p>
        </p:txBody>
      </p:sp>
      <p:grpSp>
        <p:nvGrpSpPr>
          <p:cNvPr id="4" name="Group 3">
            <a:extLst>
              <a:ext uri="{FF2B5EF4-FFF2-40B4-BE49-F238E27FC236}">
                <a16:creationId xmlns:a16="http://schemas.microsoft.com/office/drawing/2014/main" id="{BB4845E9-5781-3F39-B75A-F8107484E395}"/>
              </a:ext>
            </a:extLst>
          </p:cNvPr>
          <p:cNvGrpSpPr/>
          <p:nvPr/>
        </p:nvGrpSpPr>
        <p:grpSpPr>
          <a:xfrm>
            <a:off x="8827288" y="550438"/>
            <a:ext cx="923632" cy="1258357"/>
            <a:chOff x="9278671" y="722843"/>
            <a:chExt cx="923632" cy="1258357"/>
          </a:xfrm>
        </p:grpSpPr>
        <p:pic>
          <p:nvPicPr>
            <p:cNvPr id="5" name="Picture 4" descr="Icon&#10;&#10;Description automatically generated">
              <a:extLst>
                <a:ext uri="{FF2B5EF4-FFF2-40B4-BE49-F238E27FC236}">
                  <a16:creationId xmlns:a16="http://schemas.microsoft.com/office/drawing/2014/main" id="{551DFBEF-7F97-AFC6-553C-1B3BBF9FFF2B}"/>
                </a:ext>
              </a:extLst>
            </p:cNvPr>
            <p:cNvPicPr>
              <a:picLocks noChangeAspect="1"/>
            </p:cNvPicPr>
            <p:nvPr/>
          </p:nvPicPr>
          <p:blipFill>
            <a:blip r:embed="rId4"/>
            <a:stretch>
              <a:fillRect/>
            </a:stretch>
          </p:blipFill>
          <p:spPr>
            <a:xfrm>
              <a:off x="9278671" y="722843"/>
              <a:ext cx="862741" cy="862741"/>
            </a:xfrm>
            <a:prstGeom prst="rect">
              <a:avLst/>
            </a:prstGeom>
          </p:spPr>
        </p:pic>
        <p:sp>
          <p:nvSpPr>
            <p:cNvPr id="6" name="TextBox 5">
              <a:extLst>
                <a:ext uri="{FF2B5EF4-FFF2-40B4-BE49-F238E27FC236}">
                  <a16:creationId xmlns:a16="http://schemas.microsoft.com/office/drawing/2014/main" id="{787D0E6B-D589-01B3-A6E4-63C68B64DD65}"/>
                </a:ext>
              </a:extLst>
            </p:cNvPr>
            <p:cNvSpPr txBox="1"/>
            <p:nvPr/>
          </p:nvSpPr>
          <p:spPr>
            <a:xfrm>
              <a:off x="9287903" y="1673675"/>
              <a:ext cx="914400" cy="307525"/>
            </a:xfrm>
            <a:prstGeom prst="rect">
              <a:avLst/>
            </a:prstGeom>
            <a:noFill/>
          </p:spPr>
          <p:txBody>
            <a:bodyPr wrap="none" lIns="0" tIns="0" rIns="0" bIns="0" rtlCol="0">
              <a:noAutofit/>
            </a:bodyPr>
            <a:lstStyle/>
            <a:p>
              <a:pPr algn="ctr">
                <a:lnSpc>
                  <a:spcPct val="110000"/>
                </a:lnSpc>
                <a:spcBef>
                  <a:spcPts val="600"/>
                </a:spcBef>
              </a:pPr>
              <a:r>
                <a:rPr lang="en-US" sz="1200" dirty="0">
                  <a:ea typeface="Human Sans" charset="0"/>
                  <a:cs typeface="Human Sans" charset="0"/>
                </a:rPr>
                <a:t>Dean - SM</a:t>
              </a:r>
            </a:p>
          </p:txBody>
        </p:sp>
      </p:grpSp>
      <p:grpSp>
        <p:nvGrpSpPr>
          <p:cNvPr id="7" name="Group 6">
            <a:extLst>
              <a:ext uri="{FF2B5EF4-FFF2-40B4-BE49-F238E27FC236}">
                <a16:creationId xmlns:a16="http://schemas.microsoft.com/office/drawing/2014/main" id="{84309EC9-FF7E-8DB6-3B0A-F24E5005367D}"/>
              </a:ext>
            </a:extLst>
          </p:cNvPr>
          <p:cNvGrpSpPr/>
          <p:nvPr/>
        </p:nvGrpSpPr>
        <p:grpSpPr>
          <a:xfrm>
            <a:off x="7748640" y="1590899"/>
            <a:ext cx="914400" cy="1280310"/>
            <a:chOff x="7949057" y="1717959"/>
            <a:chExt cx="914400" cy="1280310"/>
          </a:xfrm>
        </p:grpSpPr>
        <p:pic>
          <p:nvPicPr>
            <p:cNvPr id="9" name="Picture 8" descr="Icon, circle&#10;&#10;Description automatically generated">
              <a:extLst>
                <a:ext uri="{FF2B5EF4-FFF2-40B4-BE49-F238E27FC236}">
                  <a16:creationId xmlns:a16="http://schemas.microsoft.com/office/drawing/2014/main" id="{38E0BDAB-5373-19C6-6F91-35D85857A5DD}"/>
                </a:ext>
              </a:extLst>
            </p:cNvPr>
            <p:cNvPicPr>
              <a:picLocks noChangeAspect="1"/>
            </p:cNvPicPr>
            <p:nvPr/>
          </p:nvPicPr>
          <p:blipFill>
            <a:blip r:embed="rId5"/>
            <a:stretch>
              <a:fillRect/>
            </a:stretch>
          </p:blipFill>
          <p:spPr>
            <a:xfrm>
              <a:off x="7974889" y="1717959"/>
              <a:ext cx="862741" cy="862741"/>
            </a:xfrm>
            <a:prstGeom prst="rect">
              <a:avLst/>
            </a:prstGeom>
          </p:spPr>
        </p:pic>
        <p:sp>
          <p:nvSpPr>
            <p:cNvPr id="36" name="TextBox 35">
              <a:extLst>
                <a:ext uri="{FF2B5EF4-FFF2-40B4-BE49-F238E27FC236}">
                  <a16:creationId xmlns:a16="http://schemas.microsoft.com/office/drawing/2014/main" id="{EF22CD6A-7350-B784-9FA5-1629B4C3CE31}"/>
                </a:ext>
              </a:extLst>
            </p:cNvPr>
            <p:cNvSpPr txBox="1"/>
            <p:nvPr/>
          </p:nvSpPr>
          <p:spPr>
            <a:xfrm>
              <a:off x="7949057" y="2690744"/>
              <a:ext cx="914400" cy="307525"/>
            </a:xfrm>
            <a:prstGeom prst="rect">
              <a:avLst/>
            </a:prstGeom>
            <a:noFill/>
          </p:spPr>
          <p:txBody>
            <a:bodyPr wrap="none" lIns="0" tIns="0" rIns="0" bIns="0" rtlCol="0">
              <a:noAutofit/>
            </a:bodyPr>
            <a:lstStyle/>
            <a:p>
              <a:pPr algn="ctr">
                <a:lnSpc>
                  <a:spcPct val="110000"/>
                </a:lnSpc>
                <a:spcBef>
                  <a:spcPts val="600"/>
                </a:spcBef>
              </a:pPr>
              <a:r>
                <a:rPr lang="en-US" sz="1200" dirty="0">
                  <a:ea typeface="Human Sans" charset="0"/>
                  <a:cs typeface="Human Sans" charset="0"/>
                </a:rPr>
                <a:t>Adam – SD</a:t>
              </a:r>
            </a:p>
          </p:txBody>
        </p:sp>
      </p:grpSp>
      <p:grpSp>
        <p:nvGrpSpPr>
          <p:cNvPr id="37" name="Group 36">
            <a:extLst>
              <a:ext uri="{FF2B5EF4-FFF2-40B4-BE49-F238E27FC236}">
                <a16:creationId xmlns:a16="http://schemas.microsoft.com/office/drawing/2014/main" id="{15401A2B-13DF-F884-07EA-990F72A86F8E}"/>
              </a:ext>
            </a:extLst>
          </p:cNvPr>
          <p:cNvGrpSpPr/>
          <p:nvPr/>
        </p:nvGrpSpPr>
        <p:grpSpPr>
          <a:xfrm>
            <a:off x="9940995" y="1630369"/>
            <a:ext cx="926780" cy="1257253"/>
            <a:chOff x="10327938" y="1717960"/>
            <a:chExt cx="926780" cy="1257253"/>
          </a:xfrm>
        </p:grpSpPr>
        <p:pic>
          <p:nvPicPr>
            <p:cNvPr id="38" name="Picture 37" descr="Icon&#10;&#10;Description automatically generated">
              <a:extLst>
                <a:ext uri="{FF2B5EF4-FFF2-40B4-BE49-F238E27FC236}">
                  <a16:creationId xmlns:a16="http://schemas.microsoft.com/office/drawing/2014/main" id="{18881A4B-8FB3-CD52-49B2-C568CC61DE34}"/>
                </a:ext>
              </a:extLst>
            </p:cNvPr>
            <p:cNvPicPr>
              <a:picLocks noChangeAspect="1"/>
            </p:cNvPicPr>
            <p:nvPr/>
          </p:nvPicPr>
          <p:blipFill>
            <a:blip r:embed="rId6"/>
            <a:stretch>
              <a:fillRect/>
            </a:stretch>
          </p:blipFill>
          <p:spPr>
            <a:xfrm>
              <a:off x="10327938" y="1717960"/>
              <a:ext cx="862741" cy="862741"/>
            </a:xfrm>
            <a:prstGeom prst="rect">
              <a:avLst/>
            </a:prstGeom>
          </p:spPr>
        </p:pic>
        <p:sp>
          <p:nvSpPr>
            <p:cNvPr id="39" name="TextBox 38">
              <a:extLst>
                <a:ext uri="{FF2B5EF4-FFF2-40B4-BE49-F238E27FC236}">
                  <a16:creationId xmlns:a16="http://schemas.microsoft.com/office/drawing/2014/main" id="{123AC138-EB9B-5AF0-1D25-C569E570C2DA}"/>
                </a:ext>
              </a:extLst>
            </p:cNvPr>
            <p:cNvSpPr txBox="1"/>
            <p:nvPr/>
          </p:nvSpPr>
          <p:spPr>
            <a:xfrm>
              <a:off x="10340318" y="2667688"/>
              <a:ext cx="914400" cy="307525"/>
            </a:xfrm>
            <a:prstGeom prst="rect">
              <a:avLst/>
            </a:prstGeom>
            <a:noFill/>
          </p:spPr>
          <p:txBody>
            <a:bodyPr wrap="none" lIns="0" tIns="0" rIns="0" bIns="0" rtlCol="0">
              <a:noAutofit/>
            </a:bodyPr>
            <a:lstStyle/>
            <a:p>
              <a:pPr algn="ctr">
                <a:lnSpc>
                  <a:spcPct val="110000"/>
                </a:lnSpc>
                <a:spcBef>
                  <a:spcPts val="600"/>
                </a:spcBef>
              </a:pPr>
              <a:r>
                <a:rPr lang="en-US" sz="1200" dirty="0">
                  <a:ea typeface="Human Sans" charset="0"/>
                  <a:cs typeface="Human Sans" charset="0"/>
                </a:rPr>
                <a:t>Mary – PO/BA</a:t>
              </a:r>
            </a:p>
          </p:txBody>
        </p:sp>
      </p:grpSp>
      <p:grpSp>
        <p:nvGrpSpPr>
          <p:cNvPr id="40" name="Group 39">
            <a:extLst>
              <a:ext uri="{FF2B5EF4-FFF2-40B4-BE49-F238E27FC236}">
                <a16:creationId xmlns:a16="http://schemas.microsoft.com/office/drawing/2014/main" id="{B0B1EFE6-25B8-46DF-22EF-47268626D5DA}"/>
              </a:ext>
            </a:extLst>
          </p:cNvPr>
          <p:cNvGrpSpPr/>
          <p:nvPr/>
        </p:nvGrpSpPr>
        <p:grpSpPr>
          <a:xfrm>
            <a:off x="7610190" y="2962921"/>
            <a:ext cx="933043" cy="1261978"/>
            <a:chOff x="7810607" y="3089981"/>
            <a:chExt cx="933043" cy="1261978"/>
          </a:xfrm>
        </p:grpSpPr>
        <p:pic>
          <p:nvPicPr>
            <p:cNvPr id="41" name="Picture 40" descr="Icon&#10;&#10;Description automatically generated">
              <a:extLst>
                <a:ext uri="{FF2B5EF4-FFF2-40B4-BE49-F238E27FC236}">
                  <a16:creationId xmlns:a16="http://schemas.microsoft.com/office/drawing/2014/main" id="{5D679CD3-BC09-9870-C144-64E4120FF3EE}"/>
                </a:ext>
              </a:extLst>
            </p:cNvPr>
            <p:cNvPicPr>
              <a:picLocks noChangeAspect="1"/>
            </p:cNvPicPr>
            <p:nvPr/>
          </p:nvPicPr>
          <p:blipFill>
            <a:blip r:embed="rId7"/>
            <a:stretch>
              <a:fillRect/>
            </a:stretch>
          </p:blipFill>
          <p:spPr>
            <a:xfrm>
              <a:off x="7810607" y="3089981"/>
              <a:ext cx="862741" cy="862741"/>
            </a:xfrm>
            <a:prstGeom prst="rect">
              <a:avLst/>
            </a:prstGeom>
          </p:spPr>
        </p:pic>
        <p:sp>
          <p:nvSpPr>
            <p:cNvPr id="42" name="TextBox 41">
              <a:extLst>
                <a:ext uri="{FF2B5EF4-FFF2-40B4-BE49-F238E27FC236}">
                  <a16:creationId xmlns:a16="http://schemas.microsoft.com/office/drawing/2014/main" id="{C888D0DC-3138-63C0-086D-2383C730CE89}"/>
                </a:ext>
              </a:extLst>
            </p:cNvPr>
            <p:cNvSpPr txBox="1"/>
            <p:nvPr/>
          </p:nvSpPr>
          <p:spPr>
            <a:xfrm>
              <a:off x="7829250" y="4044434"/>
              <a:ext cx="914400" cy="307525"/>
            </a:xfrm>
            <a:prstGeom prst="rect">
              <a:avLst/>
            </a:prstGeom>
            <a:noFill/>
          </p:spPr>
          <p:txBody>
            <a:bodyPr wrap="none" lIns="0" tIns="0" rIns="0" bIns="0" rtlCol="0">
              <a:noAutofit/>
            </a:bodyPr>
            <a:lstStyle/>
            <a:p>
              <a:pPr algn="ctr">
                <a:lnSpc>
                  <a:spcPct val="110000"/>
                </a:lnSpc>
                <a:spcBef>
                  <a:spcPts val="600"/>
                </a:spcBef>
              </a:pPr>
              <a:r>
                <a:rPr lang="en-US" sz="1200" dirty="0">
                  <a:ea typeface="Human Sans" charset="0"/>
                  <a:cs typeface="Human Sans" charset="0"/>
                </a:rPr>
                <a:t>Bob – MD</a:t>
              </a:r>
            </a:p>
          </p:txBody>
        </p:sp>
      </p:grpSp>
      <p:grpSp>
        <p:nvGrpSpPr>
          <p:cNvPr id="43" name="Group 42">
            <a:extLst>
              <a:ext uri="{FF2B5EF4-FFF2-40B4-BE49-F238E27FC236}">
                <a16:creationId xmlns:a16="http://schemas.microsoft.com/office/drawing/2014/main" id="{D57BE348-96F4-A86B-766A-69EE3A26BD5F}"/>
              </a:ext>
            </a:extLst>
          </p:cNvPr>
          <p:cNvGrpSpPr/>
          <p:nvPr/>
        </p:nvGrpSpPr>
        <p:grpSpPr>
          <a:xfrm>
            <a:off x="8656115" y="2962922"/>
            <a:ext cx="914400" cy="1265709"/>
            <a:chOff x="8856532" y="3089982"/>
            <a:chExt cx="914400" cy="1265709"/>
          </a:xfrm>
        </p:grpSpPr>
        <p:pic>
          <p:nvPicPr>
            <p:cNvPr id="44" name="Picture 43" descr="Icon&#10;&#10;Description automatically generated">
              <a:extLst>
                <a:ext uri="{FF2B5EF4-FFF2-40B4-BE49-F238E27FC236}">
                  <a16:creationId xmlns:a16="http://schemas.microsoft.com/office/drawing/2014/main" id="{74801FF4-2909-3002-3F91-24C62642132B}"/>
                </a:ext>
              </a:extLst>
            </p:cNvPr>
            <p:cNvPicPr>
              <a:picLocks noChangeAspect="1"/>
            </p:cNvPicPr>
            <p:nvPr/>
          </p:nvPicPr>
          <p:blipFill>
            <a:blip r:embed="rId8"/>
            <a:stretch>
              <a:fillRect/>
            </a:stretch>
          </p:blipFill>
          <p:spPr>
            <a:xfrm>
              <a:off x="8882362" y="3089982"/>
              <a:ext cx="862741" cy="862741"/>
            </a:xfrm>
            <a:prstGeom prst="rect">
              <a:avLst/>
            </a:prstGeom>
          </p:spPr>
        </p:pic>
        <p:sp>
          <p:nvSpPr>
            <p:cNvPr id="45" name="TextBox 44">
              <a:extLst>
                <a:ext uri="{FF2B5EF4-FFF2-40B4-BE49-F238E27FC236}">
                  <a16:creationId xmlns:a16="http://schemas.microsoft.com/office/drawing/2014/main" id="{B85FC62E-3972-030F-18E0-640C16D623C7}"/>
                </a:ext>
              </a:extLst>
            </p:cNvPr>
            <p:cNvSpPr txBox="1"/>
            <p:nvPr/>
          </p:nvSpPr>
          <p:spPr>
            <a:xfrm>
              <a:off x="8856532" y="4048166"/>
              <a:ext cx="914400" cy="307525"/>
            </a:xfrm>
            <a:prstGeom prst="rect">
              <a:avLst/>
            </a:prstGeom>
            <a:noFill/>
          </p:spPr>
          <p:txBody>
            <a:bodyPr wrap="none" lIns="0" tIns="0" rIns="0" bIns="0" rtlCol="0">
              <a:noAutofit/>
            </a:bodyPr>
            <a:lstStyle/>
            <a:p>
              <a:pPr algn="ctr">
                <a:lnSpc>
                  <a:spcPct val="110000"/>
                </a:lnSpc>
                <a:spcBef>
                  <a:spcPts val="600"/>
                </a:spcBef>
              </a:pPr>
              <a:r>
                <a:rPr lang="en-US" sz="1200" dirty="0">
                  <a:ea typeface="Human Sans" charset="0"/>
                  <a:cs typeface="Human Sans" charset="0"/>
                </a:rPr>
                <a:t>Eva - JD</a:t>
              </a:r>
            </a:p>
          </p:txBody>
        </p:sp>
      </p:grpSp>
      <p:grpSp>
        <p:nvGrpSpPr>
          <p:cNvPr id="46" name="Group 45">
            <a:extLst>
              <a:ext uri="{FF2B5EF4-FFF2-40B4-BE49-F238E27FC236}">
                <a16:creationId xmlns:a16="http://schemas.microsoft.com/office/drawing/2014/main" id="{3EA658B8-54F8-A019-9430-44555FE20C4C}"/>
              </a:ext>
            </a:extLst>
          </p:cNvPr>
          <p:cNvGrpSpPr/>
          <p:nvPr/>
        </p:nvGrpSpPr>
        <p:grpSpPr>
          <a:xfrm>
            <a:off x="9915165" y="2962922"/>
            <a:ext cx="914400" cy="1285035"/>
            <a:chOff x="10115582" y="3089982"/>
            <a:chExt cx="914400" cy="1285035"/>
          </a:xfrm>
        </p:grpSpPr>
        <p:pic>
          <p:nvPicPr>
            <p:cNvPr id="47" name="Picture 46" descr="Icon&#10;&#10;Description automatically generated">
              <a:extLst>
                <a:ext uri="{FF2B5EF4-FFF2-40B4-BE49-F238E27FC236}">
                  <a16:creationId xmlns:a16="http://schemas.microsoft.com/office/drawing/2014/main" id="{7F723980-9F86-DB0F-2C39-652042288F24}"/>
                </a:ext>
              </a:extLst>
            </p:cNvPr>
            <p:cNvPicPr>
              <a:picLocks noChangeAspect="1"/>
            </p:cNvPicPr>
            <p:nvPr/>
          </p:nvPicPr>
          <p:blipFill>
            <a:blip r:embed="rId9"/>
            <a:stretch>
              <a:fillRect/>
            </a:stretch>
          </p:blipFill>
          <p:spPr>
            <a:xfrm>
              <a:off x="10141412" y="3089982"/>
              <a:ext cx="862741" cy="862741"/>
            </a:xfrm>
            <a:prstGeom prst="rect">
              <a:avLst/>
            </a:prstGeom>
          </p:spPr>
        </p:pic>
        <p:sp>
          <p:nvSpPr>
            <p:cNvPr id="48" name="TextBox 47">
              <a:extLst>
                <a:ext uri="{FF2B5EF4-FFF2-40B4-BE49-F238E27FC236}">
                  <a16:creationId xmlns:a16="http://schemas.microsoft.com/office/drawing/2014/main" id="{A41BCC08-3034-1F8B-3F21-EECBD65EB641}"/>
                </a:ext>
              </a:extLst>
            </p:cNvPr>
            <p:cNvSpPr txBox="1"/>
            <p:nvPr/>
          </p:nvSpPr>
          <p:spPr>
            <a:xfrm>
              <a:off x="10115582" y="4067492"/>
              <a:ext cx="914400" cy="307525"/>
            </a:xfrm>
            <a:prstGeom prst="rect">
              <a:avLst/>
            </a:prstGeom>
            <a:noFill/>
          </p:spPr>
          <p:txBody>
            <a:bodyPr wrap="none" lIns="0" tIns="0" rIns="0" bIns="0" rtlCol="0">
              <a:noAutofit/>
            </a:bodyPr>
            <a:lstStyle/>
            <a:p>
              <a:pPr algn="ctr">
                <a:lnSpc>
                  <a:spcPct val="110000"/>
                </a:lnSpc>
                <a:spcBef>
                  <a:spcPts val="600"/>
                </a:spcBef>
              </a:pPr>
              <a:r>
                <a:rPr lang="en-US" sz="1200" dirty="0">
                  <a:ea typeface="Human Sans" charset="0"/>
                  <a:cs typeface="Human Sans" charset="0"/>
                </a:rPr>
                <a:t>Diana - QA</a:t>
              </a:r>
            </a:p>
          </p:txBody>
        </p:sp>
      </p:grpSp>
      <p:grpSp>
        <p:nvGrpSpPr>
          <p:cNvPr id="49" name="Group 48">
            <a:extLst>
              <a:ext uri="{FF2B5EF4-FFF2-40B4-BE49-F238E27FC236}">
                <a16:creationId xmlns:a16="http://schemas.microsoft.com/office/drawing/2014/main" id="{2328E9C9-E83C-362D-F6D2-A69E23B0BBA1}"/>
              </a:ext>
            </a:extLst>
          </p:cNvPr>
          <p:cNvGrpSpPr/>
          <p:nvPr/>
        </p:nvGrpSpPr>
        <p:grpSpPr>
          <a:xfrm>
            <a:off x="9953375" y="4368223"/>
            <a:ext cx="914400" cy="1246962"/>
            <a:chOff x="10338849" y="4462008"/>
            <a:chExt cx="914400" cy="1246962"/>
          </a:xfrm>
        </p:grpSpPr>
        <p:pic>
          <p:nvPicPr>
            <p:cNvPr id="50" name="Picture 49" descr="Icon&#10;&#10;Description automatically generated">
              <a:extLst>
                <a:ext uri="{FF2B5EF4-FFF2-40B4-BE49-F238E27FC236}">
                  <a16:creationId xmlns:a16="http://schemas.microsoft.com/office/drawing/2014/main" id="{7664D971-33C2-298C-5CDD-B8E9723F4675}"/>
                </a:ext>
              </a:extLst>
            </p:cNvPr>
            <p:cNvPicPr>
              <a:picLocks noChangeAspect="1"/>
            </p:cNvPicPr>
            <p:nvPr/>
          </p:nvPicPr>
          <p:blipFill>
            <a:blip r:embed="rId10"/>
            <a:stretch>
              <a:fillRect/>
            </a:stretch>
          </p:blipFill>
          <p:spPr>
            <a:xfrm>
              <a:off x="10364679" y="4462008"/>
              <a:ext cx="862741" cy="862741"/>
            </a:xfrm>
            <a:prstGeom prst="rect">
              <a:avLst/>
            </a:prstGeom>
          </p:spPr>
        </p:pic>
        <p:sp>
          <p:nvSpPr>
            <p:cNvPr id="51" name="TextBox 50">
              <a:extLst>
                <a:ext uri="{FF2B5EF4-FFF2-40B4-BE49-F238E27FC236}">
                  <a16:creationId xmlns:a16="http://schemas.microsoft.com/office/drawing/2014/main" id="{FE7FEC11-0F04-314D-D4CF-BB326136E17C}"/>
                </a:ext>
              </a:extLst>
            </p:cNvPr>
            <p:cNvSpPr txBox="1"/>
            <p:nvPr/>
          </p:nvSpPr>
          <p:spPr>
            <a:xfrm>
              <a:off x="10338849" y="5401445"/>
              <a:ext cx="914400" cy="307525"/>
            </a:xfrm>
            <a:prstGeom prst="rect">
              <a:avLst/>
            </a:prstGeom>
            <a:noFill/>
          </p:spPr>
          <p:txBody>
            <a:bodyPr wrap="none" lIns="0" tIns="0" rIns="0" bIns="0" rtlCol="0">
              <a:noAutofit/>
            </a:bodyPr>
            <a:lstStyle/>
            <a:p>
              <a:pPr algn="ctr">
                <a:lnSpc>
                  <a:spcPct val="110000"/>
                </a:lnSpc>
                <a:spcBef>
                  <a:spcPts val="600"/>
                </a:spcBef>
              </a:pPr>
              <a:r>
                <a:rPr lang="en-US" sz="1200" dirty="0">
                  <a:ea typeface="Human Sans" charset="0"/>
                  <a:cs typeface="Human Sans" charset="0"/>
                </a:rPr>
                <a:t>Pavel - DevOps</a:t>
              </a:r>
            </a:p>
          </p:txBody>
        </p:sp>
      </p:grpSp>
    </p:spTree>
    <p:extLst>
      <p:ext uri="{BB962C8B-B14F-4D97-AF65-F5344CB8AC3E}">
        <p14:creationId xmlns:p14="http://schemas.microsoft.com/office/powerpoint/2010/main" val="1416403245"/>
      </p:ext>
    </p:extLst>
  </p:cSld>
  <p:clrMapOvr>
    <a:masterClrMapping/>
  </p:clrMapOvr>
  <p:transition spd="slow">
    <p:push dir="u"/>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73800C7-CFA5-4D6B-83C2-B244AF1CE67F}"/>
              </a:ext>
            </a:extLst>
          </p:cNvPr>
          <p:cNvSpPr>
            <a:spLocks noGrp="1"/>
          </p:cNvSpPr>
          <p:nvPr>
            <p:ph type="title"/>
            <p:custDataLst>
              <p:tags r:id="rId1"/>
            </p:custDataLst>
          </p:nvPr>
        </p:nvSpPr>
        <p:spPr>
          <a:xfrm>
            <a:off x="639074" y="1350512"/>
            <a:ext cx="3594735" cy="4062651"/>
          </a:xfrm>
        </p:spPr>
        <p:txBody>
          <a:bodyPr/>
          <a:lstStyle/>
          <a:p>
            <a:br>
              <a:rPr lang="en-US" dirty="0">
                <a:solidFill>
                  <a:schemeClr val="tx1"/>
                </a:solidFill>
                <a:latin typeface="Calibri"/>
                <a:ea typeface="Calibri"/>
                <a:cs typeface="Calibri"/>
              </a:rPr>
            </a:br>
            <a:r>
              <a:rPr lang="en-US" sz="2400" dirty="0">
                <a:solidFill>
                  <a:srgbClr val="FF0000"/>
                </a:solidFill>
                <a:latin typeface="Calibri"/>
                <a:ea typeface="Calibri"/>
                <a:cs typeface="Calibri"/>
              </a:rPr>
              <a:t>(Recording)</a:t>
            </a:r>
            <a:br>
              <a:rPr lang="en-US" sz="2400" dirty="0">
                <a:solidFill>
                  <a:schemeClr val="tx1"/>
                </a:solidFill>
                <a:latin typeface="Calibri"/>
                <a:ea typeface="Calibri"/>
                <a:cs typeface="Calibri"/>
              </a:rPr>
            </a:br>
            <a:r>
              <a:rPr lang="en-US" dirty="0">
                <a:solidFill>
                  <a:schemeClr val="tx1"/>
                </a:solidFill>
                <a:latin typeface="Calibri"/>
                <a:ea typeface="Calibri"/>
                <a:cs typeface="Calibri"/>
              </a:rPr>
              <a:t>Table of Contents </a:t>
            </a:r>
            <a:br>
              <a:rPr lang="en-US" dirty="0">
                <a:solidFill>
                  <a:schemeClr val="tx1"/>
                </a:solidFill>
                <a:latin typeface="Calibri"/>
                <a:ea typeface="Calibri"/>
                <a:cs typeface="Calibri"/>
              </a:rPr>
            </a:br>
            <a:endParaRPr lang="en-US" dirty="0">
              <a:solidFill>
                <a:schemeClr val="tx1"/>
              </a:solidFill>
            </a:endParaRPr>
          </a:p>
        </p:txBody>
      </p:sp>
      <p:sp>
        <p:nvSpPr>
          <p:cNvPr id="2" name="Text Placeholder 1">
            <a:extLst>
              <a:ext uri="{FF2B5EF4-FFF2-40B4-BE49-F238E27FC236}">
                <a16:creationId xmlns:a16="http://schemas.microsoft.com/office/drawing/2014/main" id="{3262740A-BD22-E447-9F5B-402191BBDE3D}"/>
              </a:ext>
            </a:extLst>
          </p:cNvPr>
          <p:cNvSpPr>
            <a:spLocks noGrp="1"/>
          </p:cNvSpPr>
          <p:nvPr>
            <p:ph type="body" sz="quarter" idx="10"/>
          </p:nvPr>
        </p:nvSpPr>
        <p:spPr/>
        <p:txBody>
          <a:bodyPr/>
          <a:lstStyle/>
          <a:p>
            <a:r>
              <a:rPr lang="en-UA">
                <a:latin typeface="Calibri" panose="020F0502020204030204" pitchFamily="34" charset="0"/>
                <a:cs typeface="Calibri" panose="020F0502020204030204" pitchFamily="34" charset="0"/>
              </a:rPr>
              <a:t>01</a:t>
            </a:r>
          </a:p>
        </p:txBody>
      </p:sp>
      <p:sp>
        <p:nvSpPr>
          <p:cNvPr id="4" name="Text Placeholder 3">
            <a:extLst>
              <a:ext uri="{FF2B5EF4-FFF2-40B4-BE49-F238E27FC236}">
                <a16:creationId xmlns:a16="http://schemas.microsoft.com/office/drawing/2014/main" id="{CC439081-B50D-984B-B4F3-142620DD32FF}"/>
              </a:ext>
            </a:extLst>
          </p:cNvPr>
          <p:cNvSpPr>
            <a:spLocks noGrp="1"/>
          </p:cNvSpPr>
          <p:nvPr>
            <p:ph type="body" sz="quarter" idx="11"/>
          </p:nvPr>
        </p:nvSpPr>
        <p:spPr/>
        <p:txBody>
          <a:bodyPr/>
          <a:lstStyle/>
          <a:p>
            <a:r>
              <a:rPr lang="en-UA">
                <a:latin typeface="Calibri" panose="020F0502020204030204" pitchFamily="34" charset="0"/>
                <a:cs typeface="Calibri" panose="020F0502020204030204" pitchFamily="34" charset="0"/>
              </a:rPr>
              <a:t>02</a:t>
            </a:r>
          </a:p>
        </p:txBody>
      </p:sp>
      <p:sp>
        <p:nvSpPr>
          <p:cNvPr id="5" name="Text Placeholder 4">
            <a:extLst>
              <a:ext uri="{FF2B5EF4-FFF2-40B4-BE49-F238E27FC236}">
                <a16:creationId xmlns:a16="http://schemas.microsoft.com/office/drawing/2014/main" id="{79F62141-C368-7C4B-A9EE-652C7288A381}"/>
              </a:ext>
            </a:extLst>
          </p:cNvPr>
          <p:cNvSpPr>
            <a:spLocks noGrp="1"/>
          </p:cNvSpPr>
          <p:nvPr>
            <p:ph type="body" sz="quarter" idx="12"/>
          </p:nvPr>
        </p:nvSpPr>
        <p:spPr/>
        <p:txBody>
          <a:bodyPr/>
          <a:lstStyle/>
          <a:p>
            <a:r>
              <a:rPr lang="en-UA">
                <a:latin typeface="Calibri" panose="020F0502020204030204" pitchFamily="34" charset="0"/>
                <a:cs typeface="Calibri" panose="020F0502020204030204" pitchFamily="34" charset="0"/>
              </a:rPr>
              <a:t>03</a:t>
            </a:r>
          </a:p>
        </p:txBody>
      </p:sp>
      <p:sp>
        <p:nvSpPr>
          <p:cNvPr id="7" name="Text Placeholder 6">
            <a:extLst>
              <a:ext uri="{FF2B5EF4-FFF2-40B4-BE49-F238E27FC236}">
                <a16:creationId xmlns:a16="http://schemas.microsoft.com/office/drawing/2014/main" id="{20FA753A-E56B-424A-BA18-9AEFC8E46C5B}"/>
              </a:ext>
            </a:extLst>
          </p:cNvPr>
          <p:cNvSpPr>
            <a:spLocks noGrp="1"/>
          </p:cNvSpPr>
          <p:nvPr>
            <p:ph type="body" sz="quarter" idx="13"/>
          </p:nvPr>
        </p:nvSpPr>
        <p:spPr/>
        <p:txBody>
          <a:bodyPr/>
          <a:lstStyle/>
          <a:p>
            <a:r>
              <a:rPr lang="en-UA">
                <a:latin typeface="Calibri" panose="020F0502020204030204" pitchFamily="34" charset="0"/>
                <a:cs typeface="Calibri" panose="020F0502020204030204" pitchFamily="34" charset="0"/>
              </a:rPr>
              <a:t>04</a:t>
            </a:r>
          </a:p>
        </p:txBody>
      </p:sp>
      <p:sp>
        <p:nvSpPr>
          <p:cNvPr id="18" name="Text Placeholder 17">
            <a:extLst>
              <a:ext uri="{FF2B5EF4-FFF2-40B4-BE49-F238E27FC236}">
                <a16:creationId xmlns:a16="http://schemas.microsoft.com/office/drawing/2014/main" id="{058E16BC-945A-8540-ADD3-DFF7BEDFD33A}"/>
              </a:ext>
            </a:extLst>
          </p:cNvPr>
          <p:cNvSpPr>
            <a:spLocks noGrp="1"/>
          </p:cNvSpPr>
          <p:nvPr>
            <p:ph type="body" sz="quarter" idx="14"/>
          </p:nvPr>
        </p:nvSpPr>
        <p:spPr/>
        <p:txBody>
          <a:bodyPr/>
          <a:lstStyle/>
          <a:p>
            <a:r>
              <a:rPr lang="en-KZ">
                <a:latin typeface="Calibri" panose="020F0502020204030204" pitchFamily="34" charset="0"/>
                <a:cs typeface="Calibri" panose="020F0502020204030204" pitchFamily="34" charset="0"/>
              </a:rPr>
              <a:t>05</a:t>
            </a:r>
          </a:p>
        </p:txBody>
      </p:sp>
      <p:sp>
        <p:nvSpPr>
          <p:cNvPr id="13" name="Text Placeholder 12">
            <a:extLst>
              <a:ext uri="{FF2B5EF4-FFF2-40B4-BE49-F238E27FC236}">
                <a16:creationId xmlns:a16="http://schemas.microsoft.com/office/drawing/2014/main" id="{0198297B-68CB-0B42-AF14-967F82FC43BE}"/>
              </a:ext>
            </a:extLst>
          </p:cNvPr>
          <p:cNvSpPr>
            <a:spLocks noGrp="1"/>
          </p:cNvSpPr>
          <p:nvPr>
            <p:ph type="body" sz="quarter" idx="15"/>
          </p:nvPr>
        </p:nvSpPr>
        <p:spPr/>
        <p:txBody>
          <a:bodyPr/>
          <a:lstStyle/>
          <a:p>
            <a:r>
              <a:rPr lang="en-KZ">
                <a:latin typeface="Calibri" panose="020F0502020204030204" pitchFamily="34" charset="0"/>
                <a:cs typeface="Calibri" panose="020F0502020204030204" pitchFamily="34" charset="0"/>
              </a:rPr>
              <a:t>06</a:t>
            </a:r>
          </a:p>
        </p:txBody>
      </p:sp>
      <p:sp>
        <p:nvSpPr>
          <p:cNvPr id="24" name="Text Placeholder 23">
            <a:extLst>
              <a:ext uri="{FF2B5EF4-FFF2-40B4-BE49-F238E27FC236}">
                <a16:creationId xmlns:a16="http://schemas.microsoft.com/office/drawing/2014/main" id="{E0C1409F-0F5F-BD4D-89C6-6B1A0E6C3905}"/>
              </a:ext>
            </a:extLst>
          </p:cNvPr>
          <p:cNvSpPr>
            <a:spLocks noGrp="1"/>
          </p:cNvSpPr>
          <p:nvPr>
            <p:ph type="body" sz="quarter" idx="16"/>
          </p:nvPr>
        </p:nvSpPr>
        <p:spPr>
          <a:xfrm>
            <a:off x="5298343" y="1542286"/>
            <a:ext cx="2716946" cy="321627"/>
          </a:xfrm>
        </p:spPr>
        <p:txBody>
          <a:bodyPr/>
          <a:lstStyle/>
          <a:p>
            <a:r>
              <a:rPr lang="en-US" dirty="0"/>
              <a:t>Speaker</a:t>
            </a:r>
            <a:endParaRPr lang="en-UA" dirty="0"/>
          </a:p>
        </p:txBody>
      </p:sp>
      <p:sp>
        <p:nvSpPr>
          <p:cNvPr id="25" name="Text Placeholder 24">
            <a:extLst>
              <a:ext uri="{FF2B5EF4-FFF2-40B4-BE49-F238E27FC236}">
                <a16:creationId xmlns:a16="http://schemas.microsoft.com/office/drawing/2014/main" id="{22F77CC5-F27F-054B-BAA4-51C43128B441}"/>
              </a:ext>
            </a:extLst>
          </p:cNvPr>
          <p:cNvSpPr>
            <a:spLocks noGrp="1"/>
          </p:cNvSpPr>
          <p:nvPr>
            <p:ph type="body" sz="quarter" idx="17"/>
          </p:nvPr>
        </p:nvSpPr>
        <p:spPr>
          <a:xfrm>
            <a:off x="5298343" y="2235353"/>
            <a:ext cx="2716946" cy="321627"/>
          </a:xfrm>
        </p:spPr>
        <p:txBody>
          <a:bodyPr/>
          <a:lstStyle/>
          <a:p>
            <a:r>
              <a:rPr lang="en-US" dirty="0"/>
              <a:t>Rules</a:t>
            </a:r>
            <a:endParaRPr lang="en-UA" dirty="0"/>
          </a:p>
        </p:txBody>
      </p:sp>
      <p:sp>
        <p:nvSpPr>
          <p:cNvPr id="26" name="Text Placeholder 25">
            <a:extLst>
              <a:ext uri="{FF2B5EF4-FFF2-40B4-BE49-F238E27FC236}">
                <a16:creationId xmlns:a16="http://schemas.microsoft.com/office/drawing/2014/main" id="{D354F01E-2D09-264B-ADB4-65056A52DAEC}"/>
              </a:ext>
            </a:extLst>
          </p:cNvPr>
          <p:cNvSpPr>
            <a:spLocks noGrp="1"/>
          </p:cNvSpPr>
          <p:nvPr>
            <p:ph type="body" sz="quarter" idx="18"/>
          </p:nvPr>
        </p:nvSpPr>
        <p:spPr>
          <a:xfrm>
            <a:off x="5298343" y="2918259"/>
            <a:ext cx="2716946" cy="321627"/>
          </a:xfrm>
        </p:spPr>
        <p:txBody>
          <a:bodyPr/>
          <a:lstStyle/>
          <a:p>
            <a:r>
              <a:rPr lang="en-GB" dirty="0"/>
              <a:t>How to learn?</a:t>
            </a:r>
          </a:p>
        </p:txBody>
      </p:sp>
      <p:sp>
        <p:nvSpPr>
          <p:cNvPr id="16" name="Text Placeholder 15">
            <a:extLst>
              <a:ext uri="{FF2B5EF4-FFF2-40B4-BE49-F238E27FC236}">
                <a16:creationId xmlns:a16="http://schemas.microsoft.com/office/drawing/2014/main" id="{B9D1A3E8-85EF-D64A-BA33-4685D5FE34CF}"/>
              </a:ext>
            </a:extLst>
          </p:cNvPr>
          <p:cNvSpPr>
            <a:spLocks noGrp="1"/>
          </p:cNvSpPr>
          <p:nvPr>
            <p:ph type="body" sz="quarter" idx="19"/>
          </p:nvPr>
        </p:nvSpPr>
        <p:spPr>
          <a:xfrm>
            <a:off x="5298343" y="3611326"/>
            <a:ext cx="2716946" cy="321627"/>
          </a:xfrm>
        </p:spPr>
        <p:txBody>
          <a:bodyPr/>
          <a:lstStyle/>
          <a:p>
            <a:r>
              <a:rPr lang="en-GB" dirty="0"/>
              <a:t>TL: Responsibilities</a:t>
            </a:r>
          </a:p>
        </p:txBody>
      </p:sp>
      <p:sp>
        <p:nvSpPr>
          <p:cNvPr id="10" name="Text Placeholder 9">
            <a:extLst>
              <a:ext uri="{FF2B5EF4-FFF2-40B4-BE49-F238E27FC236}">
                <a16:creationId xmlns:a16="http://schemas.microsoft.com/office/drawing/2014/main" id="{803B0572-C200-D047-9F03-9FCC8A02AD6C}"/>
              </a:ext>
            </a:extLst>
          </p:cNvPr>
          <p:cNvSpPr>
            <a:spLocks noGrp="1"/>
          </p:cNvSpPr>
          <p:nvPr>
            <p:ph type="body" sz="quarter" idx="20"/>
          </p:nvPr>
        </p:nvSpPr>
        <p:spPr>
          <a:xfrm>
            <a:off x="5298343" y="4294232"/>
            <a:ext cx="2716946" cy="737125"/>
          </a:xfrm>
        </p:spPr>
        <p:txBody>
          <a:bodyPr/>
          <a:lstStyle/>
          <a:p>
            <a:r>
              <a:rPr lang="en-US" dirty="0"/>
              <a:t>TL: Definitions</a:t>
            </a:r>
            <a:endParaRPr lang="en-KZ" dirty="0"/>
          </a:p>
          <a:p>
            <a:endParaRPr lang="en-KZ" dirty="0"/>
          </a:p>
        </p:txBody>
      </p:sp>
      <p:sp>
        <p:nvSpPr>
          <p:cNvPr id="11" name="Text Placeholder 10">
            <a:extLst>
              <a:ext uri="{FF2B5EF4-FFF2-40B4-BE49-F238E27FC236}">
                <a16:creationId xmlns:a16="http://schemas.microsoft.com/office/drawing/2014/main" id="{DBC7E78E-C0CE-B54F-B17A-D98CBB394CE5}"/>
              </a:ext>
            </a:extLst>
          </p:cNvPr>
          <p:cNvSpPr>
            <a:spLocks noGrp="1"/>
          </p:cNvSpPr>
          <p:nvPr>
            <p:ph type="body" sz="quarter" idx="21"/>
          </p:nvPr>
        </p:nvSpPr>
        <p:spPr>
          <a:xfrm>
            <a:off x="5298343" y="4977139"/>
            <a:ext cx="2716946" cy="321627"/>
          </a:xfrm>
        </p:spPr>
        <p:txBody>
          <a:bodyPr/>
          <a:lstStyle/>
          <a:p>
            <a:r>
              <a:rPr lang="en-GB" dirty="0"/>
              <a:t>Team development model</a:t>
            </a:r>
          </a:p>
        </p:txBody>
      </p:sp>
      <p:cxnSp>
        <p:nvCxnSpPr>
          <p:cNvPr id="41" name="MIO_AGENDA_ELEMENT_DECORATOR_5">
            <a:extLst>
              <a:ext uri="{FF2B5EF4-FFF2-40B4-BE49-F238E27FC236}">
                <a16:creationId xmlns:a16="http://schemas.microsoft.com/office/drawing/2014/main" id="{6050736A-C5D5-4737-BECE-FB078D7DA8F7}"/>
              </a:ext>
            </a:extLst>
          </p:cNvPr>
          <p:cNvCxnSpPr/>
          <p:nvPr>
            <p:custDataLst>
              <p:tags r:id="rId2"/>
            </p:custDataLst>
          </p:nvPr>
        </p:nvCxnSpPr>
        <p:spPr>
          <a:xfrm>
            <a:off x="693544" y="3284876"/>
            <a:ext cx="10286407" cy="0"/>
          </a:xfrm>
          <a:prstGeom prst="line">
            <a:avLst/>
          </a:prstGeom>
          <a:ln w="6350">
            <a:noFill/>
            <a:tailEnd type="none"/>
          </a:ln>
        </p:spPr>
        <p:style>
          <a:lnRef idx="1">
            <a:schemeClr val="accent1"/>
          </a:lnRef>
          <a:fillRef idx="0">
            <a:schemeClr val="accent1"/>
          </a:fillRef>
          <a:effectRef idx="0">
            <a:schemeClr val="accent1"/>
          </a:effectRef>
          <a:fontRef idx="minor">
            <a:schemeClr val="tx1"/>
          </a:fontRef>
        </p:style>
      </p:cxnSp>
      <p:cxnSp>
        <p:nvCxnSpPr>
          <p:cNvPr id="36" name="MIO_AGENDA_ELEMENT_DECORATOR_4">
            <a:extLst>
              <a:ext uri="{FF2B5EF4-FFF2-40B4-BE49-F238E27FC236}">
                <a16:creationId xmlns:a16="http://schemas.microsoft.com/office/drawing/2014/main" id="{9AF151D9-B883-4D6D-9694-8E2A405DD146}"/>
              </a:ext>
            </a:extLst>
          </p:cNvPr>
          <p:cNvCxnSpPr/>
          <p:nvPr>
            <p:custDataLst>
              <p:tags r:id="rId3"/>
            </p:custDataLst>
          </p:nvPr>
        </p:nvCxnSpPr>
        <p:spPr>
          <a:xfrm>
            <a:off x="459844" y="719964"/>
            <a:ext cx="10286407" cy="0"/>
          </a:xfrm>
          <a:prstGeom prst="line">
            <a:avLst/>
          </a:prstGeom>
          <a:ln w="6350">
            <a:noFill/>
            <a:tailEnd type="none"/>
          </a:ln>
        </p:spPr>
        <p:style>
          <a:lnRef idx="1">
            <a:schemeClr val="accent1"/>
          </a:lnRef>
          <a:fillRef idx="0">
            <a:schemeClr val="accent1"/>
          </a:fillRef>
          <a:effectRef idx="0">
            <a:schemeClr val="accent1"/>
          </a:effectRef>
          <a:fontRef idx="minor">
            <a:schemeClr val="tx1"/>
          </a:fontRef>
        </p:style>
      </p:cxnSp>
      <p:cxnSp>
        <p:nvCxnSpPr>
          <p:cNvPr id="9" name="MIO_AGENDA_ELEMENT_DECORATOR_1">
            <a:hlinkClick r:id="rId7" action="ppaction://hlinksldjump"/>
            <a:extLst>
              <a:ext uri="{FF2B5EF4-FFF2-40B4-BE49-F238E27FC236}">
                <a16:creationId xmlns:a16="http://schemas.microsoft.com/office/drawing/2014/main" id="{D19EEEBC-7BAB-4335-B1DC-6FC97D822FF6}"/>
              </a:ext>
            </a:extLst>
          </p:cNvPr>
          <p:cNvCxnSpPr/>
          <p:nvPr>
            <p:custDataLst>
              <p:tags r:id="rId4"/>
            </p:custDataLst>
          </p:nvPr>
        </p:nvCxnSpPr>
        <p:spPr>
          <a:xfrm>
            <a:off x="693544" y="719964"/>
            <a:ext cx="10286407" cy="0"/>
          </a:xfrm>
          <a:prstGeom prst="line">
            <a:avLst/>
          </a:prstGeom>
          <a:ln w="6350">
            <a:noFill/>
            <a:tailEnd type="none"/>
          </a:ln>
        </p:spPr>
        <p:style>
          <a:lnRef idx="1">
            <a:schemeClr val="accent1"/>
          </a:lnRef>
          <a:fillRef idx="0">
            <a:schemeClr val="accent1"/>
          </a:fillRef>
          <a:effectRef idx="0">
            <a:schemeClr val="accent1"/>
          </a:effectRef>
          <a:fontRef idx="minor">
            <a:schemeClr val="tx1"/>
          </a:fontRef>
        </p:style>
      </p:cxnSp>
      <p:sp>
        <p:nvSpPr>
          <p:cNvPr id="58" name="Text Placeholder 1">
            <a:extLst>
              <a:ext uri="{FF2B5EF4-FFF2-40B4-BE49-F238E27FC236}">
                <a16:creationId xmlns:a16="http://schemas.microsoft.com/office/drawing/2014/main" id="{C17A5CE0-9615-7A44-BF48-BD047DBC2086}"/>
              </a:ext>
            </a:extLst>
          </p:cNvPr>
          <p:cNvSpPr txBox="1">
            <a:spLocks/>
          </p:cNvSpPr>
          <p:nvPr/>
        </p:nvSpPr>
        <p:spPr>
          <a:xfrm>
            <a:off x="7819395" y="1542286"/>
            <a:ext cx="498928" cy="321627"/>
          </a:xfrm>
          <a:prstGeom prst="rect">
            <a:avLst/>
          </a:prstGeom>
        </p:spPr>
        <p:txBody>
          <a:bodyPr vert="horz" wrap="square" lIns="0" tIns="0" rIns="0" bIns="0" rtlCol="0" anchor="t" anchorCtr="0">
            <a:spAutoFit/>
          </a:bodyPr>
          <a:lstStyle>
            <a:lvl1pPr marL="0" indent="0" algn="r" defTabSz="914400" rtl="0" eaLnBrk="1" latinLnBrk="0" hangingPunct="1">
              <a:lnSpc>
                <a:spcPct val="110000"/>
              </a:lnSpc>
              <a:spcBef>
                <a:spcPts val="600"/>
              </a:spcBef>
              <a:spcAft>
                <a:spcPts val="0"/>
              </a:spcAft>
              <a:buFont typeface="Arial" panose="020B0604020202020204" pitchFamily="34" charset="0"/>
              <a:buNone/>
              <a:tabLst/>
              <a:defRPr lang="en-GB" sz="2000" b="1" i="0" kern="1200" baseline="0">
                <a:solidFill>
                  <a:schemeClr val="bg1"/>
                </a:solidFill>
                <a:latin typeface="Calibri Light" panose="020F0302020204030204" pitchFamily="34" charset="0"/>
                <a:ea typeface="Source Sans Pro" panose="020B0503030403020204" pitchFamily="34" charset="0"/>
                <a:cs typeface="Calibri Light" panose="020F0302020204030204" pitchFamily="34" charset="0"/>
              </a:defRPr>
            </a:lvl1pPr>
            <a:lvl2pPr marL="6350" indent="0" algn="l" defTabSz="914400" rtl="0" eaLnBrk="1" latinLnBrk="0" hangingPunct="1">
              <a:lnSpc>
                <a:spcPct val="110000"/>
              </a:lnSpc>
              <a:spcBef>
                <a:spcPts val="600"/>
              </a:spcBef>
              <a:spcAft>
                <a:spcPts val="0"/>
              </a:spcAft>
              <a:buFont typeface="Arial" panose="020B0604020202020204" pitchFamily="34" charset="0"/>
              <a:buNone/>
              <a:tabLst/>
              <a:defRPr lang="en-GB" sz="1200" b="0" i="0" kern="1200">
                <a:solidFill>
                  <a:schemeClr val="tx1"/>
                </a:solidFill>
                <a:latin typeface="Calibri Light" panose="020F0302020204030204" pitchFamily="34" charset="0"/>
                <a:ea typeface="Source Sans Pro" panose="020B0503030403020204" pitchFamily="34" charset="0"/>
                <a:cs typeface="Calibri Light" panose="020F0302020204030204" pitchFamily="34" charset="0"/>
              </a:defRPr>
            </a:lvl2pPr>
            <a:lvl3pPr marL="228600" indent="-228600" algn="l" defTabSz="914400" rtl="0" eaLnBrk="1" latinLnBrk="0" hangingPunct="1">
              <a:lnSpc>
                <a:spcPct val="110000"/>
              </a:lnSpc>
              <a:spcBef>
                <a:spcPts val="600"/>
              </a:spcBef>
              <a:spcAft>
                <a:spcPts val="0"/>
              </a:spcAft>
              <a:buFont typeface="Arial" panose="020B0604020202020204" pitchFamily="34" charset="0"/>
              <a:buChar char="•"/>
              <a:tabLst/>
              <a:defRPr lang="en-GB" sz="1200" b="0" i="0" kern="1200">
                <a:solidFill>
                  <a:schemeClr val="tx1"/>
                </a:solidFill>
                <a:latin typeface="Calibri Light" panose="020F0302020204030204" pitchFamily="34" charset="0"/>
                <a:ea typeface="Source Sans Pro" panose="020B0503030403020204" pitchFamily="34" charset="0"/>
                <a:cs typeface="Calibri Light" panose="020F0302020204030204" pitchFamily="34" charset="0"/>
              </a:defRPr>
            </a:lvl3pPr>
            <a:lvl4pPr marL="401638" indent="-228600" algn="l" defTabSz="914400" rtl="0" eaLnBrk="1" latinLnBrk="0" hangingPunct="1">
              <a:lnSpc>
                <a:spcPct val="110000"/>
              </a:lnSpc>
              <a:spcBef>
                <a:spcPts val="600"/>
              </a:spcBef>
              <a:spcAft>
                <a:spcPts val="0"/>
              </a:spcAft>
              <a:buFont typeface="Arial" panose="020B0604020202020204" pitchFamily="34" charset="0"/>
              <a:buChar char="•"/>
              <a:tabLst/>
              <a:defRPr lang="en-GB" sz="1200" b="0" i="0" kern="1200">
                <a:solidFill>
                  <a:schemeClr val="tx1"/>
                </a:solidFill>
                <a:latin typeface="Calibri Light" panose="020F0302020204030204" pitchFamily="34" charset="0"/>
                <a:ea typeface="Source Sans Pro" panose="020B0503030403020204" pitchFamily="34" charset="0"/>
                <a:cs typeface="Calibri Light" panose="020F0302020204030204" pitchFamily="34" charset="0"/>
              </a:defRPr>
            </a:lvl4pPr>
            <a:lvl5pPr marL="582613" indent="-228600" algn="l" defTabSz="914400" rtl="0" eaLnBrk="1" latinLnBrk="0" hangingPunct="1">
              <a:lnSpc>
                <a:spcPct val="110000"/>
              </a:lnSpc>
              <a:spcBef>
                <a:spcPts val="600"/>
              </a:spcBef>
              <a:spcAft>
                <a:spcPts val="0"/>
              </a:spcAft>
              <a:buFont typeface="Arial" panose="020B0604020202020204" pitchFamily="34" charset="0"/>
              <a:buChar char="•"/>
              <a:tabLst/>
              <a:defRPr lang="en-US" sz="1200" b="0" i="0" kern="1200" dirty="0">
                <a:solidFill>
                  <a:schemeClr val="tx1"/>
                </a:solidFill>
                <a:latin typeface="Calibri Light" panose="020F0302020204030204" pitchFamily="34" charset="0"/>
                <a:ea typeface="Source Sans Pro" panose="020B0503030403020204" pitchFamily="34" charset="0"/>
                <a:cs typeface="Calibri Light" panose="020F03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solidFill>
                  <a:schemeClr val="accent6"/>
                </a:solidFill>
                <a:latin typeface="Calibri" panose="020F0502020204030204" pitchFamily="34" charset="0"/>
                <a:cs typeface="Calibri" panose="020F0502020204030204" pitchFamily="34" charset="0"/>
              </a:rPr>
              <a:t>07</a:t>
            </a:r>
            <a:endParaRPr lang="en-UA">
              <a:solidFill>
                <a:schemeClr val="accent6"/>
              </a:solidFill>
              <a:latin typeface="Calibri" panose="020F0502020204030204" pitchFamily="34" charset="0"/>
              <a:cs typeface="Calibri" panose="020F0502020204030204" pitchFamily="34" charset="0"/>
            </a:endParaRPr>
          </a:p>
        </p:txBody>
      </p:sp>
      <p:sp>
        <p:nvSpPr>
          <p:cNvPr id="59" name="Text Placeholder 3">
            <a:extLst>
              <a:ext uri="{FF2B5EF4-FFF2-40B4-BE49-F238E27FC236}">
                <a16:creationId xmlns:a16="http://schemas.microsoft.com/office/drawing/2014/main" id="{407F3CF6-29B4-3246-8C15-6549EB7AE1A1}"/>
              </a:ext>
            </a:extLst>
          </p:cNvPr>
          <p:cNvSpPr txBox="1">
            <a:spLocks/>
          </p:cNvSpPr>
          <p:nvPr/>
        </p:nvSpPr>
        <p:spPr>
          <a:xfrm>
            <a:off x="7819395" y="2235353"/>
            <a:ext cx="498928" cy="321627"/>
          </a:xfrm>
          <a:prstGeom prst="rect">
            <a:avLst/>
          </a:prstGeom>
        </p:spPr>
        <p:txBody>
          <a:bodyPr vert="horz" wrap="square" lIns="0" tIns="0" rIns="0" bIns="0" rtlCol="0" anchor="t" anchorCtr="0">
            <a:spAutoFit/>
          </a:bodyPr>
          <a:lstStyle>
            <a:lvl1pPr marL="0" indent="0" algn="r" defTabSz="914400" rtl="0" eaLnBrk="1" latinLnBrk="0" hangingPunct="1">
              <a:lnSpc>
                <a:spcPct val="110000"/>
              </a:lnSpc>
              <a:spcBef>
                <a:spcPts val="600"/>
              </a:spcBef>
              <a:spcAft>
                <a:spcPts val="0"/>
              </a:spcAft>
              <a:buFont typeface="Arial" panose="020B0604020202020204" pitchFamily="34" charset="0"/>
              <a:buNone/>
              <a:tabLst/>
              <a:defRPr lang="en-GB" sz="2000" b="1" i="0" kern="1200" baseline="0">
                <a:solidFill>
                  <a:schemeClr val="bg1"/>
                </a:solidFill>
                <a:latin typeface="Calibri Light" panose="020F0302020204030204" pitchFamily="34" charset="0"/>
                <a:ea typeface="Source Sans Pro" panose="020B0503030403020204" pitchFamily="34" charset="0"/>
                <a:cs typeface="Calibri Light" panose="020F0302020204030204" pitchFamily="34" charset="0"/>
              </a:defRPr>
            </a:lvl1pPr>
            <a:lvl2pPr marL="6350" indent="0" algn="l" defTabSz="914400" rtl="0" eaLnBrk="1" latinLnBrk="0" hangingPunct="1">
              <a:lnSpc>
                <a:spcPct val="110000"/>
              </a:lnSpc>
              <a:spcBef>
                <a:spcPts val="600"/>
              </a:spcBef>
              <a:spcAft>
                <a:spcPts val="0"/>
              </a:spcAft>
              <a:buFont typeface="Arial" panose="020B0604020202020204" pitchFamily="34" charset="0"/>
              <a:buNone/>
              <a:tabLst/>
              <a:defRPr lang="en-GB" sz="1200" b="0" i="0" kern="1200">
                <a:solidFill>
                  <a:schemeClr val="tx1"/>
                </a:solidFill>
                <a:latin typeface="Calibri Light" panose="020F0302020204030204" pitchFamily="34" charset="0"/>
                <a:ea typeface="Source Sans Pro" panose="020B0503030403020204" pitchFamily="34" charset="0"/>
                <a:cs typeface="Calibri Light" panose="020F0302020204030204" pitchFamily="34" charset="0"/>
              </a:defRPr>
            </a:lvl2pPr>
            <a:lvl3pPr marL="228600" indent="-228600" algn="l" defTabSz="914400" rtl="0" eaLnBrk="1" latinLnBrk="0" hangingPunct="1">
              <a:lnSpc>
                <a:spcPct val="110000"/>
              </a:lnSpc>
              <a:spcBef>
                <a:spcPts val="600"/>
              </a:spcBef>
              <a:spcAft>
                <a:spcPts val="0"/>
              </a:spcAft>
              <a:buFont typeface="Arial" panose="020B0604020202020204" pitchFamily="34" charset="0"/>
              <a:buChar char="•"/>
              <a:tabLst/>
              <a:defRPr lang="en-GB" sz="1200" b="0" i="0" kern="1200">
                <a:solidFill>
                  <a:schemeClr val="tx1"/>
                </a:solidFill>
                <a:latin typeface="Calibri Light" panose="020F0302020204030204" pitchFamily="34" charset="0"/>
                <a:ea typeface="Source Sans Pro" panose="020B0503030403020204" pitchFamily="34" charset="0"/>
                <a:cs typeface="Calibri Light" panose="020F0302020204030204" pitchFamily="34" charset="0"/>
              </a:defRPr>
            </a:lvl3pPr>
            <a:lvl4pPr marL="401638" indent="-228600" algn="l" defTabSz="914400" rtl="0" eaLnBrk="1" latinLnBrk="0" hangingPunct="1">
              <a:lnSpc>
                <a:spcPct val="110000"/>
              </a:lnSpc>
              <a:spcBef>
                <a:spcPts val="600"/>
              </a:spcBef>
              <a:spcAft>
                <a:spcPts val="0"/>
              </a:spcAft>
              <a:buFont typeface="Arial" panose="020B0604020202020204" pitchFamily="34" charset="0"/>
              <a:buChar char="•"/>
              <a:tabLst/>
              <a:defRPr lang="en-GB" sz="1200" b="0" i="0" kern="1200">
                <a:solidFill>
                  <a:schemeClr val="tx1"/>
                </a:solidFill>
                <a:latin typeface="Calibri Light" panose="020F0302020204030204" pitchFamily="34" charset="0"/>
                <a:ea typeface="Source Sans Pro" panose="020B0503030403020204" pitchFamily="34" charset="0"/>
                <a:cs typeface="Calibri Light" panose="020F0302020204030204" pitchFamily="34" charset="0"/>
              </a:defRPr>
            </a:lvl4pPr>
            <a:lvl5pPr marL="582613" indent="-228600" algn="l" defTabSz="914400" rtl="0" eaLnBrk="1" latinLnBrk="0" hangingPunct="1">
              <a:lnSpc>
                <a:spcPct val="110000"/>
              </a:lnSpc>
              <a:spcBef>
                <a:spcPts val="600"/>
              </a:spcBef>
              <a:spcAft>
                <a:spcPts val="0"/>
              </a:spcAft>
              <a:buFont typeface="Arial" panose="020B0604020202020204" pitchFamily="34" charset="0"/>
              <a:buChar char="•"/>
              <a:tabLst/>
              <a:defRPr lang="en-US" sz="1200" b="0" i="0" kern="1200" dirty="0">
                <a:solidFill>
                  <a:schemeClr val="tx1"/>
                </a:solidFill>
                <a:latin typeface="Calibri Light" panose="020F0302020204030204" pitchFamily="34" charset="0"/>
                <a:ea typeface="Source Sans Pro" panose="020B0503030403020204" pitchFamily="34" charset="0"/>
                <a:cs typeface="Calibri Light" panose="020F03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solidFill>
                  <a:schemeClr val="accent6"/>
                </a:solidFill>
                <a:latin typeface="Calibri" panose="020F0502020204030204" pitchFamily="34" charset="0"/>
                <a:cs typeface="Calibri" panose="020F0502020204030204" pitchFamily="34" charset="0"/>
              </a:rPr>
              <a:t>08</a:t>
            </a:r>
            <a:endParaRPr lang="en-UA">
              <a:solidFill>
                <a:schemeClr val="accent6"/>
              </a:solidFill>
              <a:latin typeface="Calibri" panose="020F0502020204030204" pitchFamily="34" charset="0"/>
              <a:cs typeface="Calibri" panose="020F0502020204030204" pitchFamily="34" charset="0"/>
            </a:endParaRPr>
          </a:p>
        </p:txBody>
      </p:sp>
      <p:sp>
        <p:nvSpPr>
          <p:cNvPr id="66" name="Text Placeholder 4">
            <a:extLst>
              <a:ext uri="{FF2B5EF4-FFF2-40B4-BE49-F238E27FC236}">
                <a16:creationId xmlns:a16="http://schemas.microsoft.com/office/drawing/2014/main" id="{43BEAF7B-EFBB-C144-B480-D9029D92DA0D}"/>
              </a:ext>
            </a:extLst>
          </p:cNvPr>
          <p:cNvSpPr txBox="1">
            <a:spLocks/>
          </p:cNvSpPr>
          <p:nvPr/>
        </p:nvSpPr>
        <p:spPr>
          <a:xfrm>
            <a:off x="7819395" y="2918259"/>
            <a:ext cx="498928" cy="321627"/>
          </a:xfrm>
          <a:prstGeom prst="rect">
            <a:avLst/>
          </a:prstGeom>
        </p:spPr>
        <p:txBody>
          <a:bodyPr vert="horz" wrap="square" lIns="0" tIns="0" rIns="0" bIns="0" rtlCol="0" anchor="t" anchorCtr="0">
            <a:spAutoFit/>
          </a:bodyPr>
          <a:lstStyle>
            <a:lvl1pPr marL="0" indent="0" algn="r" defTabSz="914400" rtl="0" eaLnBrk="1" latinLnBrk="0" hangingPunct="1">
              <a:lnSpc>
                <a:spcPct val="110000"/>
              </a:lnSpc>
              <a:spcBef>
                <a:spcPts val="600"/>
              </a:spcBef>
              <a:spcAft>
                <a:spcPts val="0"/>
              </a:spcAft>
              <a:buFont typeface="Arial" panose="020B0604020202020204" pitchFamily="34" charset="0"/>
              <a:buNone/>
              <a:tabLst/>
              <a:defRPr lang="en-GB" sz="2000" b="1" i="0" kern="1200" baseline="0">
                <a:solidFill>
                  <a:schemeClr val="bg1"/>
                </a:solidFill>
                <a:latin typeface="Calibri Light" panose="020F0302020204030204" pitchFamily="34" charset="0"/>
                <a:ea typeface="Source Sans Pro" panose="020B0503030403020204" pitchFamily="34" charset="0"/>
                <a:cs typeface="Calibri Light" panose="020F0302020204030204" pitchFamily="34" charset="0"/>
              </a:defRPr>
            </a:lvl1pPr>
            <a:lvl2pPr marL="6350" indent="0" algn="l" defTabSz="914400" rtl="0" eaLnBrk="1" latinLnBrk="0" hangingPunct="1">
              <a:lnSpc>
                <a:spcPct val="110000"/>
              </a:lnSpc>
              <a:spcBef>
                <a:spcPts val="600"/>
              </a:spcBef>
              <a:spcAft>
                <a:spcPts val="0"/>
              </a:spcAft>
              <a:buFont typeface="Arial" panose="020B0604020202020204" pitchFamily="34" charset="0"/>
              <a:buNone/>
              <a:tabLst/>
              <a:defRPr lang="en-GB" sz="1200" b="0" i="0" kern="1200">
                <a:solidFill>
                  <a:schemeClr val="tx1"/>
                </a:solidFill>
                <a:latin typeface="Calibri Light" panose="020F0302020204030204" pitchFamily="34" charset="0"/>
                <a:ea typeface="Source Sans Pro" panose="020B0503030403020204" pitchFamily="34" charset="0"/>
                <a:cs typeface="Calibri Light" panose="020F0302020204030204" pitchFamily="34" charset="0"/>
              </a:defRPr>
            </a:lvl2pPr>
            <a:lvl3pPr marL="228600" indent="-228600" algn="l" defTabSz="914400" rtl="0" eaLnBrk="1" latinLnBrk="0" hangingPunct="1">
              <a:lnSpc>
                <a:spcPct val="110000"/>
              </a:lnSpc>
              <a:spcBef>
                <a:spcPts val="600"/>
              </a:spcBef>
              <a:spcAft>
                <a:spcPts val="0"/>
              </a:spcAft>
              <a:buFont typeface="Arial" panose="020B0604020202020204" pitchFamily="34" charset="0"/>
              <a:buChar char="•"/>
              <a:tabLst/>
              <a:defRPr lang="en-GB" sz="1200" b="0" i="0" kern="1200">
                <a:solidFill>
                  <a:schemeClr val="tx1"/>
                </a:solidFill>
                <a:latin typeface="Calibri Light" panose="020F0302020204030204" pitchFamily="34" charset="0"/>
                <a:ea typeface="Source Sans Pro" panose="020B0503030403020204" pitchFamily="34" charset="0"/>
                <a:cs typeface="Calibri Light" panose="020F0302020204030204" pitchFamily="34" charset="0"/>
              </a:defRPr>
            </a:lvl3pPr>
            <a:lvl4pPr marL="401638" indent="-228600" algn="l" defTabSz="914400" rtl="0" eaLnBrk="1" latinLnBrk="0" hangingPunct="1">
              <a:lnSpc>
                <a:spcPct val="110000"/>
              </a:lnSpc>
              <a:spcBef>
                <a:spcPts val="600"/>
              </a:spcBef>
              <a:spcAft>
                <a:spcPts val="0"/>
              </a:spcAft>
              <a:buFont typeface="Arial" panose="020B0604020202020204" pitchFamily="34" charset="0"/>
              <a:buChar char="•"/>
              <a:tabLst/>
              <a:defRPr lang="en-GB" sz="1200" b="0" i="0" kern="1200">
                <a:solidFill>
                  <a:schemeClr val="tx1"/>
                </a:solidFill>
                <a:latin typeface="Calibri Light" panose="020F0302020204030204" pitchFamily="34" charset="0"/>
                <a:ea typeface="Source Sans Pro" panose="020B0503030403020204" pitchFamily="34" charset="0"/>
                <a:cs typeface="Calibri Light" panose="020F0302020204030204" pitchFamily="34" charset="0"/>
              </a:defRPr>
            </a:lvl4pPr>
            <a:lvl5pPr marL="582613" indent="-228600" algn="l" defTabSz="914400" rtl="0" eaLnBrk="1" latinLnBrk="0" hangingPunct="1">
              <a:lnSpc>
                <a:spcPct val="110000"/>
              </a:lnSpc>
              <a:spcBef>
                <a:spcPts val="600"/>
              </a:spcBef>
              <a:spcAft>
                <a:spcPts val="0"/>
              </a:spcAft>
              <a:buFont typeface="Arial" panose="020B0604020202020204" pitchFamily="34" charset="0"/>
              <a:buChar char="•"/>
              <a:tabLst/>
              <a:defRPr lang="en-US" sz="1200" b="0" i="0" kern="1200" dirty="0">
                <a:solidFill>
                  <a:schemeClr val="tx1"/>
                </a:solidFill>
                <a:latin typeface="Calibri Light" panose="020F0302020204030204" pitchFamily="34" charset="0"/>
                <a:ea typeface="Source Sans Pro" panose="020B0503030403020204" pitchFamily="34" charset="0"/>
                <a:cs typeface="Calibri Light" panose="020F03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solidFill>
                  <a:schemeClr val="accent6"/>
                </a:solidFill>
                <a:latin typeface="Calibri" panose="020F0502020204030204" pitchFamily="34" charset="0"/>
                <a:cs typeface="Calibri" panose="020F0502020204030204" pitchFamily="34" charset="0"/>
              </a:rPr>
              <a:t>09</a:t>
            </a:r>
            <a:endParaRPr lang="en-UA" dirty="0">
              <a:solidFill>
                <a:schemeClr val="accent6"/>
              </a:solidFill>
              <a:latin typeface="Calibri" panose="020F0502020204030204" pitchFamily="34" charset="0"/>
              <a:cs typeface="Calibri" panose="020F0502020204030204" pitchFamily="34" charset="0"/>
            </a:endParaRPr>
          </a:p>
        </p:txBody>
      </p:sp>
      <p:sp>
        <p:nvSpPr>
          <p:cNvPr id="71" name="Text Placeholder 23">
            <a:extLst>
              <a:ext uri="{FF2B5EF4-FFF2-40B4-BE49-F238E27FC236}">
                <a16:creationId xmlns:a16="http://schemas.microsoft.com/office/drawing/2014/main" id="{407F047D-5E25-B04C-82BA-F942C1AA01CB}"/>
              </a:ext>
            </a:extLst>
          </p:cNvPr>
          <p:cNvSpPr txBox="1">
            <a:spLocks/>
          </p:cNvSpPr>
          <p:nvPr/>
        </p:nvSpPr>
        <p:spPr>
          <a:xfrm>
            <a:off x="8551687" y="1542287"/>
            <a:ext cx="3640314" cy="321626"/>
          </a:xfrm>
          <a:prstGeom prst="rect">
            <a:avLst/>
          </a:prstGeom>
        </p:spPr>
        <p:txBody>
          <a:bodyPr vert="horz" wrap="square" lIns="0" tIns="0" rIns="0" bIns="0" rtlCol="0" anchor="t" anchorCtr="0">
            <a:spAutoFit/>
          </a:bodyPr>
          <a:lstStyle>
            <a:lvl1pPr marL="0" indent="0" algn="l" defTabSz="914400" rtl="0" eaLnBrk="1" latinLnBrk="0" hangingPunct="1">
              <a:lnSpc>
                <a:spcPct val="110000"/>
              </a:lnSpc>
              <a:spcBef>
                <a:spcPts val="600"/>
              </a:spcBef>
              <a:spcAft>
                <a:spcPts val="0"/>
              </a:spcAft>
              <a:buFont typeface="Arial" panose="020B0604020202020204" pitchFamily="34" charset="0"/>
              <a:buNone/>
              <a:tabLst/>
              <a:defRPr lang="en-GB" sz="2000" b="0" i="0" kern="1200" baseline="0">
                <a:solidFill>
                  <a:schemeClr val="bg1"/>
                </a:solidFill>
                <a:latin typeface="Calibri Light" panose="020F0302020204030204" pitchFamily="34" charset="0"/>
                <a:ea typeface="Source Sans Pro" panose="020B0503030403020204" pitchFamily="34" charset="0"/>
                <a:cs typeface="Calibri Light" panose="020F0302020204030204" pitchFamily="34" charset="0"/>
              </a:defRPr>
            </a:lvl1pPr>
            <a:lvl2pPr marL="6350" indent="0" algn="l" defTabSz="914400" rtl="0" eaLnBrk="1" latinLnBrk="0" hangingPunct="1">
              <a:lnSpc>
                <a:spcPct val="110000"/>
              </a:lnSpc>
              <a:spcBef>
                <a:spcPts val="600"/>
              </a:spcBef>
              <a:spcAft>
                <a:spcPts val="0"/>
              </a:spcAft>
              <a:buFont typeface="Arial" panose="020B0604020202020204" pitchFamily="34" charset="0"/>
              <a:buNone/>
              <a:tabLst/>
              <a:defRPr lang="en-GB" sz="1200" b="0" i="0" kern="1200">
                <a:solidFill>
                  <a:schemeClr val="tx1"/>
                </a:solidFill>
                <a:latin typeface="Calibri Light" panose="020F0302020204030204" pitchFamily="34" charset="0"/>
                <a:ea typeface="Source Sans Pro" panose="020B0503030403020204" pitchFamily="34" charset="0"/>
                <a:cs typeface="Calibri Light" panose="020F0302020204030204" pitchFamily="34" charset="0"/>
              </a:defRPr>
            </a:lvl2pPr>
            <a:lvl3pPr marL="228600" indent="-228600" algn="l" defTabSz="914400" rtl="0" eaLnBrk="1" latinLnBrk="0" hangingPunct="1">
              <a:lnSpc>
                <a:spcPct val="110000"/>
              </a:lnSpc>
              <a:spcBef>
                <a:spcPts val="600"/>
              </a:spcBef>
              <a:spcAft>
                <a:spcPts val="0"/>
              </a:spcAft>
              <a:buFont typeface="Arial" panose="020B0604020202020204" pitchFamily="34" charset="0"/>
              <a:buChar char="•"/>
              <a:tabLst/>
              <a:defRPr lang="en-GB" sz="1200" b="0" i="0" kern="1200">
                <a:solidFill>
                  <a:schemeClr val="tx1"/>
                </a:solidFill>
                <a:latin typeface="Calibri Light" panose="020F0302020204030204" pitchFamily="34" charset="0"/>
                <a:ea typeface="Source Sans Pro" panose="020B0503030403020204" pitchFamily="34" charset="0"/>
                <a:cs typeface="Calibri Light" panose="020F0302020204030204" pitchFamily="34" charset="0"/>
              </a:defRPr>
            </a:lvl3pPr>
            <a:lvl4pPr marL="401638" indent="-228600" algn="l" defTabSz="914400" rtl="0" eaLnBrk="1" latinLnBrk="0" hangingPunct="1">
              <a:lnSpc>
                <a:spcPct val="110000"/>
              </a:lnSpc>
              <a:spcBef>
                <a:spcPts val="600"/>
              </a:spcBef>
              <a:spcAft>
                <a:spcPts val="0"/>
              </a:spcAft>
              <a:buFont typeface="Arial" panose="020B0604020202020204" pitchFamily="34" charset="0"/>
              <a:buChar char="•"/>
              <a:tabLst/>
              <a:defRPr lang="en-GB" sz="1200" b="0" i="0" kern="1200">
                <a:solidFill>
                  <a:schemeClr val="tx1"/>
                </a:solidFill>
                <a:latin typeface="Calibri Light" panose="020F0302020204030204" pitchFamily="34" charset="0"/>
                <a:ea typeface="Source Sans Pro" panose="020B0503030403020204" pitchFamily="34" charset="0"/>
                <a:cs typeface="Calibri Light" panose="020F0302020204030204" pitchFamily="34" charset="0"/>
              </a:defRPr>
            </a:lvl4pPr>
            <a:lvl5pPr marL="582613" indent="-228600" algn="l" defTabSz="914400" rtl="0" eaLnBrk="1" latinLnBrk="0" hangingPunct="1">
              <a:lnSpc>
                <a:spcPct val="110000"/>
              </a:lnSpc>
              <a:spcBef>
                <a:spcPts val="600"/>
              </a:spcBef>
              <a:spcAft>
                <a:spcPts val="0"/>
              </a:spcAft>
              <a:buFont typeface="Arial" panose="020B0604020202020204" pitchFamily="34" charset="0"/>
              <a:buChar char="•"/>
              <a:tabLst/>
              <a:defRPr lang="en-US" sz="1200" b="0" i="0" kern="1200" dirty="0">
                <a:solidFill>
                  <a:schemeClr val="tx1"/>
                </a:solidFill>
                <a:latin typeface="Calibri Light" panose="020F0302020204030204" pitchFamily="34" charset="0"/>
                <a:ea typeface="Source Sans Pro" panose="020B0503030403020204" pitchFamily="34" charset="0"/>
                <a:cs typeface="Calibri Light" panose="020F03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solidFill>
                  <a:schemeClr val="tx1"/>
                </a:solidFill>
              </a:rPr>
              <a:t>Couple of useful theories</a:t>
            </a:r>
            <a:endParaRPr lang="en-UA" dirty="0">
              <a:solidFill>
                <a:schemeClr val="tx1"/>
              </a:solidFill>
            </a:endParaRPr>
          </a:p>
        </p:txBody>
      </p:sp>
      <p:sp>
        <p:nvSpPr>
          <p:cNvPr id="75" name="Text Placeholder 24">
            <a:extLst>
              <a:ext uri="{FF2B5EF4-FFF2-40B4-BE49-F238E27FC236}">
                <a16:creationId xmlns:a16="http://schemas.microsoft.com/office/drawing/2014/main" id="{40500105-3BED-4A40-BD42-1ECF1E6BAE47}"/>
              </a:ext>
            </a:extLst>
          </p:cNvPr>
          <p:cNvSpPr txBox="1">
            <a:spLocks/>
          </p:cNvSpPr>
          <p:nvPr/>
        </p:nvSpPr>
        <p:spPr>
          <a:xfrm>
            <a:off x="8551687" y="2235354"/>
            <a:ext cx="3640314" cy="321626"/>
          </a:xfrm>
          <a:prstGeom prst="rect">
            <a:avLst/>
          </a:prstGeom>
        </p:spPr>
        <p:txBody>
          <a:bodyPr vert="horz" wrap="square" lIns="0" tIns="0" rIns="0" bIns="0" rtlCol="0" anchor="t" anchorCtr="0">
            <a:spAutoFit/>
          </a:bodyPr>
          <a:lstStyle>
            <a:lvl1pPr marL="0" indent="0" algn="l" defTabSz="914400" rtl="0" eaLnBrk="1" latinLnBrk="0" hangingPunct="1">
              <a:lnSpc>
                <a:spcPct val="110000"/>
              </a:lnSpc>
              <a:spcBef>
                <a:spcPts val="600"/>
              </a:spcBef>
              <a:spcAft>
                <a:spcPts val="0"/>
              </a:spcAft>
              <a:buFont typeface="Arial" panose="020B0604020202020204" pitchFamily="34" charset="0"/>
              <a:buNone/>
              <a:tabLst/>
              <a:defRPr lang="en-GB" sz="2000" b="0" i="0" kern="1200" baseline="0">
                <a:solidFill>
                  <a:schemeClr val="bg1"/>
                </a:solidFill>
                <a:latin typeface="Calibri Light" panose="020F0302020204030204" pitchFamily="34" charset="0"/>
                <a:ea typeface="Source Sans Pro" panose="020B0503030403020204" pitchFamily="34" charset="0"/>
                <a:cs typeface="Calibri Light" panose="020F0302020204030204" pitchFamily="34" charset="0"/>
              </a:defRPr>
            </a:lvl1pPr>
            <a:lvl2pPr marL="6350" indent="0" algn="l" defTabSz="914400" rtl="0" eaLnBrk="1" latinLnBrk="0" hangingPunct="1">
              <a:lnSpc>
                <a:spcPct val="110000"/>
              </a:lnSpc>
              <a:spcBef>
                <a:spcPts val="600"/>
              </a:spcBef>
              <a:spcAft>
                <a:spcPts val="0"/>
              </a:spcAft>
              <a:buFont typeface="Arial" panose="020B0604020202020204" pitchFamily="34" charset="0"/>
              <a:buNone/>
              <a:tabLst/>
              <a:defRPr lang="en-GB" sz="1200" b="0" i="0" kern="1200">
                <a:solidFill>
                  <a:schemeClr val="tx1"/>
                </a:solidFill>
                <a:latin typeface="Calibri Light" panose="020F0302020204030204" pitchFamily="34" charset="0"/>
                <a:ea typeface="Source Sans Pro" panose="020B0503030403020204" pitchFamily="34" charset="0"/>
                <a:cs typeface="Calibri Light" panose="020F0302020204030204" pitchFamily="34" charset="0"/>
              </a:defRPr>
            </a:lvl2pPr>
            <a:lvl3pPr marL="228600" indent="-228600" algn="l" defTabSz="914400" rtl="0" eaLnBrk="1" latinLnBrk="0" hangingPunct="1">
              <a:lnSpc>
                <a:spcPct val="110000"/>
              </a:lnSpc>
              <a:spcBef>
                <a:spcPts val="600"/>
              </a:spcBef>
              <a:spcAft>
                <a:spcPts val="0"/>
              </a:spcAft>
              <a:buFont typeface="Arial" panose="020B0604020202020204" pitchFamily="34" charset="0"/>
              <a:buChar char="•"/>
              <a:tabLst/>
              <a:defRPr lang="en-GB" sz="1200" b="0" i="0" kern="1200">
                <a:solidFill>
                  <a:schemeClr val="tx1"/>
                </a:solidFill>
                <a:latin typeface="Calibri Light" panose="020F0302020204030204" pitchFamily="34" charset="0"/>
                <a:ea typeface="Source Sans Pro" panose="020B0503030403020204" pitchFamily="34" charset="0"/>
                <a:cs typeface="Calibri Light" panose="020F0302020204030204" pitchFamily="34" charset="0"/>
              </a:defRPr>
            </a:lvl3pPr>
            <a:lvl4pPr marL="401638" indent="-228600" algn="l" defTabSz="914400" rtl="0" eaLnBrk="1" latinLnBrk="0" hangingPunct="1">
              <a:lnSpc>
                <a:spcPct val="110000"/>
              </a:lnSpc>
              <a:spcBef>
                <a:spcPts val="600"/>
              </a:spcBef>
              <a:spcAft>
                <a:spcPts val="0"/>
              </a:spcAft>
              <a:buFont typeface="Arial" panose="020B0604020202020204" pitchFamily="34" charset="0"/>
              <a:buChar char="•"/>
              <a:tabLst/>
              <a:defRPr lang="en-GB" sz="1200" b="0" i="0" kern="1200">
                <a:solidFill>
                  <a:schemeClr val="tx1"/>
                </a:solidFill>
                <a:latin typeface="Calibri Light" panose="020F0302020204030204" pitchFamily="34" charset="0"/>
                <a:ea typeface="Source Sans Pro" panose="020B0503030403020204" pitchFamily="34" charset="0"/>
                <a:cs typeface="Calibri Light" panose="020F0302020204030204" pitchFamily="34" charset="0"/>
              </a:defRPr>
            </a:lvl4pPr>
            <a:lvl5pPr marL="582613" indent="-228600" algn="l" defTabSz="914400" rtl="0" eaLnBrk="1" latinLnBrk="0" hangingPunct="1">
              <a:lnSpc>
                <a:spcPct val="110000"/>
              </a:lnSpc>
              <a:spcBef>
                <a:spcPts val="600"/>
              </a:spcBef>
              <a:spcAft>
                <a:spcPts val="0"/>
              </a:spcAft>
              <a:buFont typeface="Arial" panose="020B0604020202020204" pitchFamily="34" charset="0"/>
              <a:buChar char="•"/>
              <a:tabLst/>
              <a:defRPr lang="en-US" sz="1200" b="0" i="0" kern="1200" dirty="0">
                <a:solidFill>
                  <a:schemeClr val="tx1"/>
                </a:solidFill>
                <a:latin typeface="Calibri Light" panose="020F0302020204030204" pitchFamily="34" charset="0"/>
                <a:ea typeface="Source Sans Pro" panose="020B0503030403020204" pitchFamily="34" charset="0"/>
                <a:cs typeface="Calibri Light" panose="020F03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solidFill>
                  <a:schemeClr val="tx1"/>
                </a:solidFill>
              </a:rPr>
              <a:t>Use-Cases</a:t>
            </a:r>
            <a:endParaRPr lang="en-UA" dirty="0">
              <a:solidFill>
                <a:schemeClr val="tx1"/>
              </a:solidFill>
            </a:endParaRPr>
          </a:p>
        </p:txBody>
      </p:sp>
      <p:sp>
        <p:nvSpPr>
          <p:cNvPr id="76" name="Text Placeholder 25">
            <a:extLst>
              <a:ext uri="{FF2B5EF4-FFF2-40B4-BE49-F238E27FC236}">
                <a16:creationId xmlns:a16="http://schemas.microsoft.com/office/drawing/2014/main" id="{237CB115-4F19-6A41-9C2F-B6EF7960E3D7}"/>
              </a:ext>
            </a:extLst>
          </p:cNvPr>
          <p:cNvSpPr txBox="1">
            <a:spLocks/>
          </p:cNvSpPr>
          <p:nvPr/>
        </p:nvSpPr>
        <p:spPr>
          <a:xfrm>
            <a:off x="8551687" y="2918260"/>
            <a:ext cx="3640314" cy="321626"/>
          </a:xfrm>
          <a:prstGeom prst="rect">
            <a:avLst/>
          </a:prstGeom>
        </p:spPr>
        <p:txBody>
          <a:bodyPr vert="horz" wrap="square" lIns="0" tIns="0" rIns="0" bIns="0" rtlCol="0" anchor="t" anchorCtr="0">
            <a:spAutoFit/>
          </a:bodyPr>
          <a:lstStyle>
            <a:lvl1pPr marL="0" indent="0" algn="l" defTabSz="914400" rtl="0" eaLnBrk="1" latinLnBrk="0" hangingPunct="1">
              <a:lnSpc>
                <a:spcPct val="110000"/>
              </a:lnSpc>
              <a:spcBef>
                <a:spcPts val="600"/>
              </a:spcBef>
              <a:spcAft>
                <a:spcPts val="0"/>
              </a:spcAft>
              <a:buFont typeface="Arial" panose="020B0604020202020204" pitchFamily="34" charset="0"/>
              <a:buNone/>
              <a:tabLst/>
              <a:defRPr lang="en-GB" sz="2000" b="0" i="0" kern="1200" baseline="0">
                <a:solidFill>
                  <a:schemeClr val="bg1"/>
                </a:solidFill>
                <a:latin typeface="Calibri Light" panose="020F0302020204030204" pitchFamily="34" charset="0"/>
                <a:ea typeface="Source Sans Pro" panose="020B0503030403020204" pitchFamily="34" charset="0"/>
                <a:cs typeface="Calibri Light" panose="020F0302020204030204" pitchFamily="34" charset="0"/>
              </a:defRPr>
            </a:lvl1pPr>
            <a:lvl2pPr marL="6350" indent="0" algn="l" defTabSz="914400" rtl="0" eaLnBrk="1" latinLnBrk="0" hangingPunct="1">
              <a:lnSpc>
                <a:spcPct val="110000"/>
              </a:lnSpc>
              <a:spcBef>
                <a:spcPts val="600"/>
              </a:spcBef>
              <a:spcAft>
                <a:spcPts val="0"/>
              </a:spcAft>
              <a:buFont typeface="Arial" panose="020B0604020202020204" pitchFamily="34" charset="0"/>
              <a:buNone/>
              <a:tabLst/>
              <a:defRPr lang="en-GB" sz="1200" b="0" i="0" kern="1200">
                <a:solidFill>
                  <a:schemeClr val="tx1"/>
                </a:solidFill>
                <a:latin typeface="Calibri Light" panose="020F0302020204030204" pitchFamily="34" charset="0"/>
                <a:ea typeface="Source Sans Pro" panose="020B0503030403020204" pitchFamily="34" charset="0"/>
                <a:cs typeface="Calibri Light" panose="020F0302020204030204" pitchFamily="34" charset="0"/>
              </a:defRPr>
            </a:lvl2pPr>
            <a:lvl3pPr marL="228600" indent="-228600" algn="l" defTabSz="914400" rtl="0" eaLnBrk="1" latinLnBrk="0" hangingPunct="1">
              <a:lnSpc>
                <a:spcPct val="110000"/>
              </a:lnSpc>
              <a:spcBef>
                <a:spcPts val="600"/>
              </a:spcBef>
              <a:spcAft>
                <a:spcPts val="0"/>
              </a:spcAft>
              <a:buFont typeface="Arial" panose="020B0604020202020204" pitchFamily="34" charset="0"/>
              <a:buChar char="•"/>
              <a:tabLst/>
              <a:defRPr lang="en-GB" sz="1200" b="0" i="0" kern="1200">
                <a:solidFill>
                  <a:schemeClr val="tx1"/>
                </a:solidFill>
                <a:latin typeface="Calibri Light" panose="020F0302020204030204" pitchFamily="34" charset="0"/>
                <a:ea typeface="Source Sans Pro" panose="020B0503030403020204" pitchFamily="34" charset="0"/>
                <a:cs typeface="Calibri Light" panose="020F0302020204030204" pitchFamily="34" charset="0"/>
              </a:defRPr>
            </a:lvl3pPr>
            <a:lvl4pPr marL="401638" indent="-228600" algn="l" defTabSz="914400" rtl="0" eaLnBrk="1" latinLnBrk="0" hangingPunct="1">
              <a:lnSpc>
                <a:spcPct val="110000"/>
              </a:lnSpc>
              <a:spcBef>
                <a:spcPts val="600"/>
              </a:spcBef>
              <a:spcAft>
                <a:spcPts val="0"/>
              </a:spcAft>
              <a:buFont typeface="Arial" panose="020B0604020202020204" pitchFamily="34" charset="0"/>
              <a:buChar char="•"/>
              <a:tabLst/>
              <a:defRPr lang="en-GB" sz="1200" b="0" i="0" kern="1200">
                <a:solidFill>
                  <a:schemeClr val="tx1"/>
                </a:solidFill>
                <a:latin typeface="Calibri Light" panose="020F0302020204030204" pitchFamily="34" charset="0"/>
                <a:ea typeface="Source Sans Pro" panose="020B0503030403020204" pitchFamily="34" charset="0"/>
                <a:cs typeface="Calibri Light" panose="020F0302020204030204" pitchFamily="34" charset="0"/>
              </a:defRPr>
            </a:lvl4pPr>
            <a:lvl5pPr marL="582613" indent="-228600" algn="l" defTabSz="914400" rtl="0" eaLnBrk="1" latinLnBrk="0" hangingPunct="1">
              <a:lnSpc>
                <a:spcPct val="110000"/>
              </a:lnSpc>
              <a:spcBef>
                <a:spcPts val="600"/>
              </a:spcBef>
              <a:spcAft>
                <a:spcPts val="0"/>
              </a:spcAft>
              <a:buFont typeface="Arial" panose="020B0604020202020204" pitchFamily="34" charset="0"/>
              <a:buChar char="•"/>
              <a:tabLst/>
              <a:defRPr lang="en-US" sz="1200" b="0" i="0" kern="1200" dirty="0">
                <a:solidFill>
                  <a:schemeClr val="tx1"/>
                </a:solidFill>
                <a:latin typeface="Calibri Light" panose="020F0302020204030204" pitchFamily="34" charset="0"/>
                <a:ea typeface="Source Sans Pro" panose="020B0503030403020204" pitchFamily="34" charset="0"/>
                <a:cs typeface="Calibri Light" panose="020F03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solidFill>
                  <a:schemeClr val="tx1"/>
                </a:solidFill>
              </a:rPr>
              <a:t>Homework</a:t>
            </a:r>
            <a:endParaRPr lang="en-GB" dirty="0">
              <a:solidFill>
                <a:schemeClr val="tx1"/>
              </a:solidFill>
            </a:endParaRPr>
          </a:p>
        </p:txBody>
      </p:sp>
      <p:sp>
        <p:nvSpPr>
          <p:cNvPr id="6" name="TextBox 5">
            <a:extLst>
              <a:ext uri="{FF2B5EF4-FFF2-40B4-BE49-F238E27FC236}">
                <a16:creationId xmlns:a16="http://schemas.microsoft.com/office/drawing/2014/main" id="{D96CB408-6E44-DEA1-5F94-EA1AAE7F6CD9}"/>
              </a:ext>
            </a:extLst>
          </p:cNvPr>
          <p:cNvSpPr txBox="1"/>
          <p:nvPr/>
        </p:nvSpPr>
        <p:spPr>
          <a:xfrm>
            <a:off x="1447800" y="6509657"/>
            <a:ext cx="0" cy="0"/>
          </a:xfrm>
          <a:prstGeom prst="rect">
            <a:avLst/>
          </a:prstGeom>
          <a:noFill/>
        </p:spPr>
        <p:txBody>
          <a:bodyPr wrap="none" lIns="0" tIns="0" rIns="0" bIns="0" rtlCol="0">
            <a:noAutofit/>
          </a:bodyPr>
          <a:lstStyle/>
          <a:p>
            <a:pPr>
              <a:lnSpc>
                <a:spcPct val="110000"/>
              </a:lnSpc>
              <a:spcBef>
                <a:spcPts val="600"/>
              </a:spcBef>
            </a:pPr>
            <a:endParaRPr lang="en-AM" sz="1200" err="1">
              <a:ea typeface="Human Sans" charset="0"/>
              <a:cs typeface="Human Sans" charset="0"/>
            </a:endParaRPr>
          </a:p>
        </p:txBody>
      </p:sp>
      <p:sp>
        <p:nvSpPr>
          <p:cNvPr id="8" name="TextBox 7">
            <a:extLst>
              <a:ext uri="{FF2B5EF4-FFF2-40B4-BE49-F238E27FC236}">
                <a16:creationId xmlns:a16="http://schemas.microsoft.com/office/drawing/2014/main" id="{AC9AD599-BDF0-A485-A1B1-E0199D086666}"/>
              </a:ext>
            </a:extLst>
          </p:cNvPr>
          <p:cNvSpPr txBox="1"/>
          <p:nvPr/>
        </p:nvSpPr>
        <p:spPr>
          <a:xfrm>
            <a:off x="471055" y="6908800"/>
            <a:ext cx="0" cy="0"/>
          </a:xfrm>
          <a:prstGeom prst="rect">
            <a:avLst/>
          </a:prstGeom>
          <a:noFill/>
        </p:spPr>
        <p:txBody>
          <a:bodyPr wrap="none" lIns="0" tIns="0" rIns="0" bIns="0" rtlCol="0">
            <a:noAutofit/>
          </a:bodyPr>
          <a:lstStyle/>
          <a:p>
            <a:pPr>
              <a:lnSpc>
                <a:spcPct val="110000"/>
              </a:lnSpc>
              <a:spcBef>
                <a:spcPts val="600"/>
              </a:spcBef>
            </a:pPr>
            <a:endParaRPr lang="en-CZ" sz="1200" err="1">
              <a:ea typeface="Human Sans" charset="0"/>
              <a:cs typeface="Human Sans" charset="0"/>
            </a:endParaRPr>
          </a:p>
        </p:txBody>
      </p:sp>
      <p:sp>
        <p:nvSpPr>
          <p:cNvPr id="15" name="Text Placeholder 4">
            <a:extLst>
              <a:ext uri="{FF2B5EF4-FFF2-40B4-BE49-F238E27FC236}">
                <a16:creationId xmlns:a16="http://schemas.microsoft.com/office/drawing/2014/main" id="{322F0B90-B35E-696D-343A-3C4149B74C84}"/>
              </a:ext>
            </a:extLst>
          </p:cNvPr>
          <p:cNvSpPr txBox="1">
            <a:spLocks/>
          </p:cNvSpPr>
          <p:nvPr/>
        </p:nvSpPr>
        <p:spPr>
          <a:xfrm>
            <a:off x="7819395" y="3583750"/>
            <a:ext cx="498928" cy="321627"/>
          </a:xfrm>
          <a:prstGeom prst="rect">
            <a:avLst/>
          </a:prstGeom>
        </p:spPr>
        <p:txBody>
          <a:bodyPr vert="horz" wrap="square" lIns="0" tIns="0" rIns="0" bIns="0" rtlCol="0" anchor="t" anchorCtr="0">
            <a:spAutoFit/>
          </a:bodyPr>
          <a:lstStyle>
            <a:lvl1pPr marL="0" indent="0" algn="r" defTabSz="914400" rtl="0" eaLnBrk="1" latinLnBrk="0" hangingPunct="1">
              <a:lnSpc>
                <a:spcPct val="110000"/>
              </a:lnSpc>
              <a:spcBef>
                <a:spcPts val="600"/>
              </a:spcBef>
              <a:spcAft>
                <a:spcPts val="0"/>
              </a:spcAft>
              <a:buFont typeface="Arial" panose="020B0604020202020204" pitchFamily="34" charset="0"/>
              <a:buNone/>
              <a:tabLst/>
              <a:defRPr lang="en-GB" sz="2000" b="1" i="0" kern="1200" baseline="0">
                <a:solidFill>
                  <a:schemeClr val="bg1"/>
                </a:solidFill>
                <a:latin typeface="Calibri Light" panose="020F0302020204030204" pitchFamily="34" charset="0"/>
                <a:ea typeface="Source Sans Pro" panose="020B0503030403020204" pitchFamily="34" charset="0"/>
                <a:cs typeface="Calibri Light" panose="020F0302020204030204" pitchFamily="34" charset="0"/>
              </a:defRPr>
            </a:lvl1pPr>
            <a:lvl2pPr marL="6350" indent="0" algn="l" defTabSz="914400" rtl="0" eaLnBrk="1" latinLnBrk="0" hangingPunct="1">
              <a:lnSpc>
                <a:spcPct val="110000"/>
              </a:lnSpc>
              <a:spcBef>
                <a:spcPts val="600"/>
              </a:spcBef>
              <a:spcAft>
                <a:spcPts val="0"/>
              </a:spcAft>
              <a:buFont typeface="Arial" panose="020B0604020202020204" pitchFamily="34" charset="0"/>
              <a:buNone/>
              <a:tabLst/>
              <a:defRPr lang="en-GB" sz="1200" b="0" i="0" kern="1200">
                <a:solidFill>
                  <a:schemeClr val="tx1"/>
                </a:solidFill>
                <a:latin typeface="Calibri Light" panose="020F0302020204030204" pitchFamily="34" charset="0"/>
                <a:ea typeface="Source Sans Pro" panose="020B0503030403020204" pitchFamily="34" charset="0"/>
                <a:cs typeface="Calibri Light" panose="020F0302020204030204" pitchFamily="34" charset="0"/>
              </a:defRPr>
            </a:lvl2pPr>
            <a:lvl3pPr marL="228600" indent="-228600" algn="l" defTabSz="914400" rtl="0" eaLnBrk="1" latinLnBrk="0" hangingPunct="1">
              <a:lnSpc>
                <a:spcPct val="110000"/>
              </a:lnSpc>
              <a:spcBef>
                <a:spcPts val="600"/>
              </a:spcBef>
              <a:spcAft>
                <a:spcPts val="0"/>
              </a:spcAft>
              <a:buFont typeface="Arial" panose="020B0604020202020204" pitchFamily="34" charset="0"/>
              <a:buChar char="•"/>
              <a:tabLst/>
              <a:defRPr lang="en-GB" sz="1200" b="0" i="0" kern="1200">
                <a:solidFill>
                  <a:schemeClr val="tx1"/>
                </a:solidFill>
                <a:latin typeface="Calibri Light" panose="020F0302020204030204" pitchFamily="34" charset="0"/>
                <a:ea typeface="Source Sans Pro" panose="020B0503030403020204" pitchFamily="34" charset="0"/>
                <a:cs typeface="Calibri Light" panose="020F0302020204030204" pitchFamily="34" charset="0"/>
              </a:defRPr>
            </a:lvl3pPr>
            <a:lvl4pPr marL="401638" indent="-228600" algn="l" defTabSz="914400" rtl="0" eaLnBrk="1" latinLnBrk="0" hangingPunct="1">
              <a:lnSpc>
                <a:spcPct val="110000"/>
              </a:lnSpc>
              <a:spcBef>
                <a:spcPts val="600"/>
              </a:spcBef>
              <a:spcAft>
                <a:spcPts val="0"/>
              </a:spcAft>
              <a:buFont typeface="Arial" panose="020B0604020202020204" pitchFamily="34" charset="0"/>
              <a:buChar char="•"/>
              <a:tabLst/>
              <a:defRPr lang="en-GB" sz="1200" b="0" i="0" kern="1200">
                <a:solidFill>
                  <a:schemeClr val="tx1"/>
                </a:solidFill>
                <a:latin typeface="Calibri Light" panose="020F0302020204030204" pitchFamily="34" charset="0"/>
                <a:ea typeface="Source Sans Pro" panose="020B0503030403020204" pitchFamily="34" charset="0"/>
                <a:cs typeface="Calibri Light" panose="020F0302020204030204" pitchFamily="34" charset="0"/>
              </a:defRPr>
            </a:lvl4pPr>
            <a:lvl5pPr marL="582613" indent="-228600" algn="l" defTabSz="914400" rtl="0" eaLnBrk="1" latinLnBrk="0" hangingPunct="1">
              <a:lnSpc>
                <a:spcPct val="110000"/>
              </a:lnSpc>
              <a:spcBef>
                <a:spcPts val="600"/>
              </a:spcBef>
              <a:spcAft>
                <a:spcPts val="0"/>
              </a:spcAft>
              <a:buFont typeface="Arial" panose="020B0604020202020204" pitchFamily="34" charset="0"/>
              <a:buChar char="•"/>
              <a:tabLst/>
              <a:defRPr lang="en-US" sz="1200" b="0" i="0" kern="1200" dirty="0">
                <a:solidFill>
                  <a:schemeClr val="tx1"/>
                </a:solidFill>
                <a:latin typeface="Calibri Light" panose="020F0302020204030204" pitchFamily="34" charset="0"/>
                <a:ea typeface="Source Sans Pro" panose="020B0503030403020204" pitchFamily="34" charset="0"/>
                <a:cs typeface="Calibri Light" panose="020F03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solidFill>
                  <a:schemeClr val="accent6"/>
                </a:solidFill>
                <a:latin typeface="Calibri" panose="020F0502020204030204" pitchFamily="34" charset="0"/>
                <a:cs typeface="Calibri" panose="020F0502020204030204" pitchFamily="34" charset="0"/>
              </a:rPr>
              <a:t>10</a:t>
            </a:r>
            <a:endParaRPr lang="en-UA" dirty="0">
              <a:solidFill>
                <a:schemeClr val="accent6"/>
              </a:solidFill>
              <a:latin typeface="Calibri" panose="020F0502020204030204" pitchFamily="34" charset="0"/>
              <a:cs typeface="Calibri" panose="020F0502020204030204" pitchFamily="34" charset="0"/>
            </a:endParaRPr>
          </a:p>
        </p:txBody>
      </p:sp>
      <p:sp>
        <p:nvSpPr>
          <p:cNvPr id="17" name="Text Placeholder 25">
            <a:extLst>
              <a:ext uri="{FF2B5EF4-FFF2-40B4-BE49-F238E27FC236}">
                <a16:creationId xmlns:a16="http://schemas.microsoft.com/office/drawing/2014/main" id="{22794733-F54B-FDAB-61CB-F57BCB4AC656}"/>
              </a:ext>
            </a:extLst>
          </p:cNvPr>
          <p:cNvSpPr txBox="1">
            <a:spLocks/>
          </p:cNvSpPr>
          <p:nvPr/>
        </p:nvSpPr>
        <p:spPr>
          <a:xfrm>
            <a:off x="8551687" y="3583751"/>
            <a:ext cx="3640314" cy="321626"/>
          </a:xfrm>
          <a:prstGeom prst="rect">
            <a:avLst/>
          </a:prstGeom>
        </p:spPr>
        <p:txBody>
          <a:bodyPr vert="horz" wrap="square" lIns="0" tIns="0" rIns="0" bIns="0" rtlCol="0" anchor="t" anchorCtr="0">
            <a:spAutoFit/>
          </a:bodyPr>
          <a:lstStyle>
            <a:lvl1pPr marL="0" indent="0" algn="l" defTabSz="914400" rtl="0" eaLnBrk="1" latinLnBrk="0" hangingPunct="1">
              <a:lnSpc>
                <a:spcPct val="110000"/>
              </a:lnSpc>
              <a:spcBef>
                <a:spcPts val="600"/>
              </a:spcBef>
              <a:spcAft>
                <a:spcPts val="0"/>
              </a:spcAft>
              <a:buFont typeface="Arial" panose="020B0604020202020204" pitchFamily="34" charset="0"/>
              <a:buNone/>
              <a:tabLst/>
              <a:defRPr lang="en-GB" sz="2000" b="0" i="0" kern="1200" baseline="0">
                <a:solidFill>
                  <a:schemeClr val="bg1"/>
                </a:solidFill>
                <a:latin typeface="Calibri Light" panose="020F0302020204030204" pitchFamily="34" charset="0"/>
                <a:ea typeface="Source Sans Pro" panose="020B0503030403020204" pitchFamily="34" charset="0"/>
                <a:cs typeface="Calibri Light" panose="020F0302020204030204" pitchFamily="34" charset="0"/>
              </a:defRPr>
            </a:lvl1pPr>
            <a:lvl2pPr marL="6350" indent="0" algn="l" defTabSz="914400" rtl="0" eaLnBrk="1" latinLnBrk="0" hangingPunct="1">
              <a:lnSpc>
                <a:spcPct val="110000"/>
              </a:lnSpc>
              <a:spcBef>
                <a:spcPts val="600"/>
              </a:spcBef>
              <a:spcAft>
                <a:spcPts val="0"/>
              </a:spcAft>
              <a:buFont typeface="Arial" panose="020B0604020202020204" pitchFamily="34" charset="0"/>
              <a:buNone/>
              <a:tabLst/>
              <a:defRPr lang="en-GB" sz="1200" b="0" i="0" kern="1200">
                <a:solidFill>
                  <a:schemeClr val="tx1"/>
                </a:solidFill>
                <a:latin typeface="Calibri Light" panose="020F0302020204030204" pitchFamily="34" charset="0"/>
                <a:ea typeface="Source Sans Pro" panose="020B0503030403020204" pitchFamily="34" charset="0"/>
                <a:cs typeface="Calibri Light" panose="020F0302020204030204" pitchFamily="34" charset="0"/>
              </a:defRPr>
            </a:lvl2pPr>
            <a:lvl3pPr marL="228600" indent="-228600" algn="l" defTabSz="914400" rtl="0" eaLnBrk="1" latinLnBrk="0" hangingPunct="1">
              <a:lnSpc>
                <a:spcPct val="110000"/>
              </a:lnSpc>
              <a:spcBef>
                <a:spcPts val="600"/>
              </a:spcBef>
              <a:spcAft>
                <a:spcPts val="0"/>
              </a:spcAft>
              <a:buFont typeface="Arial" panose="020B0604020202020204" pitchFamily="34" charset="0"/>
              <a:buChar char="•"/>
              <a:tabLst/>
              <a:defRPr lang="en-GB" sz="1200" b="0" i="0" kern="1200">
                <a:solidFill>
                  <a:schemeClr val="tx1"/>
                </a:solidFill>
                <a:latin typeface="Calibri Light" panose="020F0302020204030204" pitchFamily="34" charset="0"/>
                <a:ea typeface="Source Sans Pro" panose="020B0503030403020204" pitchFamily="34" charset="0"/>
                <a:cs typeface="Calibri Light" panose="020F0302020204030204" pitchFamily="34" charset="0"/>
              </a:defRPr>
            </a:lvl3pPr>
            <a:lvl4pPr marL="401638" indent="-228600" algn="l" defTabSz="914400" rtl="0" eaLnBrk="1" latinLnBrk="0" hangingPunct="1">
              <a:lnSpc>
                <a:spcPct val="110000"/>
              </a:lnSpc>
              <a:spcBef>
                <a:spcPts val="600"/>
              </a:spcBef>
              <a:spcAft>
                <a:spcPts val="0"/>
              </a:spcAft>
              <a:buFont typeface="Arial" panose="020B0604020202020204" pitchFamily="34" charset="0"/>
              <a:buChar char="•"/>
              <a:tabLst/>
              <a:defRPr lang="en-GB" sz="1200" b="0" i="0" kern="1200">
                <a:solidFill>
                  <a:schemeClr val="tx1"/>
                </a:solidFill>
                <a:latin typeface="Calibri Light" panose="020F0302020204030204" pitchFamily="34" charset="0"/>
                <a:ea typeface="Source Sans Pro" panose="020B0503030403020204" pitchFamily="34" charset="0"/>
                <a:cs typeface="Calibri Light" panose="020F0302020204030204" pitchFamily="34" charset="0"/>
              </a:defRPr>
            </a:lvl4pPr>
            <a:lvl5pPr marL="582613" indent="-228600" algn="l" defTabSz="914400" rtl="0" eaLnBrk="1" latinLnBrk="0" hangingPunct="1">
              <a:lnSpc>
                <a:spcPct val="110000"/>
              </a:lnSpc>
              <a:spcBef>
                <a:spcPts val="600"/>
              </a:spcBef>
              <a:spcAft>
                <a:spcPts val="0"/>
              </a:spcAft>
              <a:buFont typeface="Arial" panose="020B0604020202020204" pitchFamily="34" charset="0"/>
              <a:buChar char="•"/>
              <a:tabLst/>
              <a:defRPr lang="en-US" sz="1200" b="0" i="0" kern="1200" dirty="0">
                <a:solidFill>
                  <a:schemeClr val="tx1"/>
                </a:solidFill>
                <a:latin typeface="Calibri Light" panose="020F0302020204030204" pitchFamily="34" charset="0"/>
                <a:ea typeface="Source Sans Pro" panose="020B0503030403020204" pitchFamily="34" charset="0"/>
                <a:cs typeface="Calibri Light" panose="020F03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dirty="0">
                <a:solidFill>
                  <a:schemeClr val="tx1"/>
                </a:solidFill>
              </a:rPr>
              <a:t>Q&amp;A</a:t>
            </a:r>
          </a:p>
        </p:txBody>
      </p:sp>
    </p:spTree>
    <p:extLst>
      <p:ext uri="{BB962C8B-B14F-4D97-AF65-F5344CB8AC3E}">
        <p14:creationId xmlns:p14="http://schemas.microsoft.com/office/powerpoint/2010/main" val="2849265882"/>
      </p:ext>
    </p:extLst>
  </p:cSld>
  <p:clrMapOvr>
    <a:masterClrMapping/>
  </p:clrMapOvr>
  <p:transition spd="slow">
    <p:push dir="u"/>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3E7B12-94E5-1E8A-9A20-C930CC8426EB}"/>
              </a:ext>
            </a:extLst>
          </p:cNvPr>
          <p:cNvSpPr>
            <a:spLocks noGrp="1"/>
          </p:cNvSpPr>
          <p:nvPr>
            <p:ph type="title"/>
          </p:nvPr>
        </p:nvSpPr>
        <p:spPr>
          <a:xfrm>
            <a:off x="639073" y="1424520"/>
            <a:ext cx="5333999" cy="4924425"/>
          </a:xfrm>
        </p:spPr>
        <p:txBody>
          <a:bodyPr/>
          <a:lstStyle/>
          <a:p>
            <a:r>
              <a:rPr lang="en-US" sz="3200" dirty="0"/>
              <a:t>During the estimation session, Eva expresses confusion about the process, worried about her speed relative to Adam, it's obvious to her, that she'll work on the same task much longer. </a:t>
            </a:r>
            <a:br>
              <a:rPr lang="en-US" sz="3200" dirty="0"/>
            </a:br>
            <a:r>
              <a:rPr lang="en-US" sz="3200" dirty="0">
                <a:solidFill>
                  <a:schemeClr val="accent6"/>
                </a:solidFill>
                <a:latin typeface="Calibri" panose="020F0502020204030204" pitchFamily="34" charset="0"/>
                <a:cs typeface="Calibri" panose="020F0502020204030204" pitchFamily="34" charset="0"/>
              </a:rPr>
              <a:t>How will you address her concerns and ensure she understands the estimation process?</a:t>
            </a:r>
          </a:p>
        </p:txBody>
      </p:sp>
      <p:sp>
        <p:nvSpPr>
          <p:cNvPr id="8" name="Text Placeholder 7">
            <a:extLst>
              <a:ext uri="{FF2B5EF4-FFF2-40B4-BE49-F238E27FC236}">
                <a16:creationId xmlns:a16="http://schemas.microsoft.com/office/drawing/2014/main" id="{A33CA039-DE3C-5D85-0DB8-D98A38BFDC35}"/>
              </a:ext>
            </a:extLst>
          </p:cNvPr>
          <p:cNvSpPr>
            <a:spLocks noGrp="1"/>
          </p:cNvSpPr>
          <p:nvPr>
            <p:ph type="body" sz="quarter" idx="28"/>
          </p:nvPr>
        </p:nvSpPr>
        <p:spPr>
          <a:xfrm>
            <a:off x="627063" y="419100"/>
            <a:ext cx="3725862" cy="397732"/>
          </a:xfrm>
        </p:spPr>
        <p:txBody>
          <a:bodyPr>
            <a:normAutofit/>
          </a:bodyPr>
          <a:lstStyle/>
          <a:p>
            <a:r>
              <a:rPr lang="en-US" dirty="0"/>
              <a:t>Team Leadership workshop: USE-cases</a:t>
            </a:r>
          </a:p>
        </p:txBody>
      </p:sp>
      <p:sp>
        <p:nvSpPr>
          <p:cNvPr id="10" name="Text Placeholder 9">
            <a:extLst>
              <a:ext uri="{FF2B5EF4-FFF2-40B4-BE49-F238E27FC236}">
                <a16:creationId xmlns:a16="http://schemas.microsoft.com/office/drawing/2014/main" id="{1F88C411-8C59-AFA3-5C10-11E75FDF9817}"/>
              </a:ext>
            </a:extLst>
          </p:cNvPr>
          <p:cNvSpPr>
            <a:spLocks noGrp="1"/>
          </p:cNvSpPr>
          <p:nvPr>
            <p:ph type="body" sz="quarter" idx="25"/>
          </p:nvPr>
        </p:nvSpPr>
        <p:spPr>
          <a:xfrm>
            <a:off x="627062" y="722843"/>
            <a:ext cx="4969870" cy="338554"/>
          </a:xfrm>
        </p:spPr>
        <p:txBody>
          <a:bodyPr/>
          <a:lstStyle/>
          <a:p>
            <a:r>
              <a:rPr lang="en-US" dirty="0"/>
              <a:t>Case 3.2: Addressing Estimation Concerns</a:t>
            </a:r>
          </a:p>
        </p:txBody>
      </p:sp>
      <p:grpSp>
        <p:nvGrpSpPr>
          <p:cNvPr id="32" name="Group 31">
            <a:extLst>
              <a:ext uri="{FF2B5EF4-FFF2-40B4-BE49-F238E27FC236}">
                <a16:creationId xmlns:a16="http://schemas.microsoft.com/office/drawing/2014/main" id="{38CAE5AD-B9D9-1BE3-D8DA-9F3BAC97EFE3}"/>
              </a:ext>
            </a:extLst>
          </p:cNvPr>
          <p:cNvGrpSpPr/>
          <p:nvPr/>
        </p:nvGrpSpPr>
        <p:grpSpPr>
          <a:xfrm>
            <a:off x="7031633" y="5174495"/>
            <a:ext cx="914400" cy="1507452"/>
            <a:chOff x="7954394" y="5075784"/>
            <a:chExt cx="914400" cy="1507452"/>
          </a:xfrm>
        </p:grpSpPr>
        <p:pic>
          <p:nvPicPr>
            <p:cNvPr id="33" name="Picture 32" descr="Icon&#10;&#10;Description automatically generated">
              <a:extLst>
                <a:ext uri="{FF2B5EF4-FFF2-40B4-BE49-F238E27FC236}">
                  <a16:creationId xmlns:a16="http://schemas.microsoft.com/office/drawing/2014/main" id="{2F838510-22B0-4FBB-C199-A585524A88F1}"/>
                </a:ext>
              </a:extLst>
            </p:cNvPr>
            <p:cNvPicPr>
              <a:picLocks noChangeAspect="1"/>
            </p:cNvPicPr>
            <p:nvPr/>
          </p:nvPicPr>
          <p:blipFill>
            <a:blip r:embed="rId3"/>
            <a:stretch>
              <a:fillRect/>
            </a:stretch>
          </p:blipFill>
          <p:spPr>
            <a:xfrm>
              <a:off x="7974887" y="5075784"/>
              <a:ext cx="862741" cy="1133067"/>
            </a:xfrm>
            <a:prstGeom prst="rect">
              <a:avLst/>
            </a:prstGeom>
          </p:spPr>
        </p:pic>
        <p:sp>
          <p:nvSpPr>
            <p:cNvPr id="34" name="TextBox 33">
              <a:extLst>
                <a:ext uri="{FF2B5EF4-FFF2-40B4-BE49-F238E27FC236}">
                  <a16:creationId xmlns:a16="http://schemas.microsoft.com/office/drawing/2014/main" id="{587F560B-62C0-B867-EC11-79B4C360893D}"/>
                </a:ext>
              </a:extLst>
            </p:cNvPr>
            <p:cNvSpPr txBox="1"/>
            <p:nvPr/>
          </p:nvSpPr>
          <p:spPr>
            <a:xfrm>
              <a:off x="7954394" y="6275711"/>
              <a:ext cx="914400" cy="307525"/>
            </a:xfrm>
            <a:prstGeom prst="rect">
              <a:avLst/>
            </a:prstGeom>
            <a:noFill/>
          </p:spPr>
          <p:txBody>
            <a:bodyPr wrap="none" lIns="0" tIns="0" rIns="0" bIns="0" rtlCol="0">
              <a:noAutofit/>
            </a:bodyPr>
            <a:lstStyle/>
            <a:p>
              <a:pPr algn="ctr">
                <a:lnSpc>
                  <a:spcPct val="110000"/>
                </a:lnSpc>
                <a:spcBef>
                  <a:spcPts val="600"/>
                </a:spcBef>
              </a:pPr>
              <a:r>
                <a:rPr lang="en-US" sz="1200" dirty="0">
                  <a:ea typeface="Human Sans" charset="0"/>
                  <a:cs typeface="Human Sans" charset="0"/>
                </a:rPr>
                <a:t>You</a:t>
              </a:r>
            </a:p>
          </p:txBody>
        </p:sp>
      </p:grpSp>
      <p:sp>
        <p:nvSpPr>
          <p:cNvPr id="35" name="Speech Bubble: Rectangle 34">
            <a:extLst>
              <a:ext uri="{FF2B5EF4-FFF2-40B4-BE49-F238E27FC236}">
                <a16:creationId xmlns:a16="http://schemas.microsoft.com/office/drawing/2014/main" id="{5A3D9C85-096D-77E0-F8FF-1459C0ADD876}"/>
              </a:ext>
            </a:extLst>
          </p:cNvPr>
          <p:cNvSpPr/>
          <p:nvPr/>
        </p:nvSpPr>
        <p:spPr bwMode="auto">
          <a:xfrm>
            <a:off x="7697873" y="4555837"/>
            <a:ext cx="396301" cy="551798"/>
          </a:xfrm>
          <a:prstGeom prst="wedgeRectCallout">
            <a:avLst/>
          </a:prstGeom>
          <a:ln/>
        </p:spPr>
        <p:style>
          <a:lnRef idx="2">
            <a:schemeClr val="dk1"/>
          </a:lnRef>
          <a:fillRef idx="1">
            <a:schemeClr val="lt1"/>
          </a:fillRef>
          <a:effectRef idx="0">
            <a:schemeClr val="dk1"/>
          </a:effectRef>
          <a:fontRef idx="minor">
            <a:schemeClr val="dk1"/>
          </a:fontRef>
        </p:style>
        <p:txBody>
          <a:bodyPr wrap="none" rtlCol="0" anchor="ctr"/>
          <a:lstStyle/>
          <a:p>
            <a:pPr algn="ctr"/>
            <a:r>
              <a:rPr lang="en-US" sz="2000" dirty="0">
                <a:ln w="0"/>
                <a:solidFill>
                  <a:schemeClr val="tx1"/>
                </a:solidFill>
                <a:effectLst>
                  <a:outerShdw blurRad="38100" dist="19050" dir="2700000" algn="tl" rotWithShape="0">
                    <a:schemeClr val="dk1">
                      <a:alpha val="40000"/>
                    </a:schemeClr>
                  </a:outerShdw>
                </a:effectLst>
                <a:latin typeface="Calibri Light" panose="020F0302020204030204" pitchFamily="34" charset="0"/>
                <a:ea typeface="Human Sans ExtraLight" charset="0"/>
                <a:cs typeface="Human Sans ExtraLight" charset="0"/>
              </a:rPr>
              <a:t>?</a:t>
            </a:r>
            <a:endParaRPr lang="en-US" sz="2000" dirty="0">
              <a:solidFill>
                <a:schemeClr val="bg1"/>
              </a:solidFill>
              <a:latin typeface="Calibri Light" panose="020F0302020204030204" pitchFamily="34" charset="0"/>
              <a:ea typeface="Human Sans ExtraLight" charset="0"/>
              <a:cs typeface="Human Sans ExtraLight" charset="0"/>
            </a:endParaRPr>
          </a:p>
        </p:txBody>
      </p:sp>
      <p:grpSp>
        <p:nvGrpSpPr>
          <p:cNvPr id="4" name="Group 3">
            <a:extLst>
              <a:ext uri="{FF2B5EF4-FFF2-40B4-BE49-F238E27FC236}">
                <a16:creationId xmlns:a16="http://schemas.microsoft.com/office/drawing/2014/main" id="{BB4845E9-5781-3F39-B75A-F8107484E395}"/>
              </a:ext>
            </a:extLst>
          </p:cNvPr>
          <p:cNvGrpSpPr/>
          <p:nvPr/>
        </p:nvGrpSpPr>
        <p:grpSpPr>
          <a:xfrm>
            <a:off x="8827288" y="550438"/>
            <a:ext cx="923632" cy="1258357"/>
            <a:chOff x="9278671" y="722843"/>
            <a:chExt cx="923632" cy="1258357"/>
          </a:xfrm>
        </p:grpSpPr>
        <p:pic>
          <p:nvPicPr>
            <p:cNvPr id="5" name="Picture 4" descr="Icon&#10;&#10;Description automatically generated">
              <a:extLst>
                <a:ext uri="{FF2B5EF4-FFF2-40B4-BE49-F238E27FC236}">
                  <a16:creationId xmlns:a16="http://schemas.microsoft.com/office/drawing/2014/main" id="{551DFBEF-7F97-AFC6-553C-1B3BBF9FFF2B}"/>
                </a:ext>
              </a:extLst>
            </p:cNvPr>
            <p:cNvPicPr>
              <a:picLocks noChangeAspect="1"/>
            </p:cNvPicPr>
            <p:nvPr/>
          </p:nvPicPr>
          <p:blipFill>
            <a:blip r:embed="rId4"/>
            <a:stretch>
              <a:fillRect/>
            </a:stretch>
          </p:blipFill>
          <p:spPr>
            <a:xfrm>
              <a:off x="9278671" y="722843"/>
              <a:ext cx="862741" cy="862741"/>
            </a:xfrm>
            <a:prstGeom prst="rect">
              <a:avLst/>
            </a:prstGeom>
          </p:spPr>
        </p:pic>
        <p:sp>
          <p:nvSpPr>
            <p:cNvPr id="6" name="TextBox 5">
              <a:extLst>
                <a:ext uri="{FF2B5EF4-FFF2-40B4-BE49-F238E27FC236}">
                  <a16:creationId xmlns:a16="http://schemas.microsoft.com/office/drawing/2014/main" id="{787D0E6B-D589-01B3-A6E4-63C68B64DD65}"/>
                </a:ext>
              </a:extLst>
            </p:cNvPr>
            <p:cNvSpPr txBox="1"/>
            <p:nvPr/>
          </p:nvSpPr>
          <p:spPr>
            <a:xfrm>
              <a:off x="9287903" y="1673675"/>
              <a:ext cx="914400" cy="307525"/>
            </a:xfrm>
            <a:prstGeom prst="rect">
              <a:avLst/>
            </a:prstGeom>
            <a:noFill/>
          </p:spPr>
          <p:txBody>
            <a:bodyPr wrap="none" lIns="0" tIns="0" rIns="0" bIns="0" rtlCol="0">
              <a:noAutofit/>
            </a:bodyPr>
            <a:lstStyle/>
            <a:p>
              <a:pPr algn="ctr">
                <a:lnSpc>
                  <a:spcPct val="110000"/>
                </a:lnSpc>
                <a:spcBef>
                  <a:spcPts val="600"/>
                </a:spcBef>
              </a:pPr>
              <a:r>
                <a:rPr lang="en-US" sz="1200" dirty="0">
                  <a:ea typeface="Human Sans" charset="0"/>
                  <a:cs typeface="Human Sans" charset="0"/>
                </a:rPr>
                <a:t>Dean - SM</a:t>
              </a:r>
            </a:p>
          </p:txBody>
        </p:sp>
      </p:grpSp>
      <p:grpSp>
        <p:nvGrpSpPr>
          <p:cNvPr id="7" name="Group 6">
            <a:extLst>
              <a:ext uri="{FF2B5EF4-FFF2-40B4-BE49-F238E27FC236}">
                <a16:creationId xmlns:a16="http://schemas.microsoft.com/office/drawing/2014/main" id="{84309EC9-FF7E-8DB6-3B0A-F24E5005367D}"/>
              </a:ext>
            </a:extLst>
          </p:cNvPr>
          <p:cNvGrpSpPr/>
          <p:nvPr/>
        </p:nvGrpSpPr>
        <p:grpSpPr>
          <a:xfrm>
            <a:off x="7748640" y="1590899"/>
            <a:ext cx="914400" cy="1280310"/>
            <a:chOff x="7949057" y="1717959"/>
            <a:chExt cx="914400" cy="1280310"/>
          </a:xfrm>
        </p:grpSpPr>
        <p:pic>
          <p:nvPicPr>
            <p:cNvPr id="9" name="Picture 8" descr="Icon, circle&#10;&#10;Description automatically generated">
              <a:extLst>
                <a:ext uri="{FF2B5EF4-FFF2-40B4-BE49-F238E27FC236}">
                  <a16:creationId xmlns:a16="http://schemas.microsoft.com/office/drawing/2014/main" id="{38E0BDAB-5373-19C6-6F91-35D85857A5DD}"/>
                </a:ext>
              </a:extLst>
            </p:cNvPr>
            <p:cNvPicPr>
              <a:picLocks noChangeAspect="1"/>
            </p:cNvPicPr>
            <p:nvPr/>
          </p:nvPicPr>
          <p:blipFill>
            <a:blip r:embed="rId5"/>
            <a:stretch>
              <a:fillRect/>
            </a:stretch>
          </p:blipFill>
          <p:spPr>
            <a:xfrm>
              <a:off x="7974889" y="1717959"/>
              <a:ext cx="862741" cy="862741"/>
            </a:xfrm>
            <a:prstGeom prst="ellipse">
              <a:avLst/>
            </a:prstGeom>
            <a:ln w="63500" cap="rnd">
              <a:solidFill>
                <a:srgbClr val="FF0000"/>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sp>
          <p:nvSpPr>
            <p:cNvPr id="36" name="TextBox 35">
              <a:extLst>
                <a:ext uri="{FF2B5EF4-FFF2-40B4-BE49-F238E27FC236}">
                  <a16:creationId xmlns:a16="http://schemas.microsoft.com/office/drawing/2014/main" id="{EF22CD6A-7350-B784-9FA5-1629B4C3CE31}"/>
                </a:ext>
              </a:extLst>
            </p:cNvPr>
            <p:cNvSpPr txBox="1"/>
            <p:nvPr/>
          </p:nvSpPr>
          <p:spPr>
            <a:xfrm>
              <a:off x="7949057" y="2690744"/>
              <a:ext cx="914400" cy="307525"/>
            </a:xfrm>
            <a:prstGeom prst="rect">
              <a:avLst/>
            </a:prstGeom>
            <a:noFill/>
            <a:ln>
              <a:solidFill>
                <a:srgbClr val="FF0000"/>
              </a:solidFill>
            </a:ln>
          </p:spPr>
          <p:txBody>
            <a:bodyPr wrap="none" lIns="0" tIns="0" rIns="0" bIns="0" rtlCol="0">
              <a:noAutofit/>
            </a:bodyPr>
            <a:lstStyle/>
            <a:p>
              <a:pPr algn="ctr">
                <a:lnSpc>
                  <a:spcPct val="110000"/>
                </a:lnSpc>
                <a:spcBef>
                  <a:spcPts val="600"/>
                </a:spcBef>
              </a:pPr>
              <a:r>
                <a:rPr lang="en-US" sz="1200" dirty="0">
                  <a:ea typeface="Human Sans" charset="0"/>
                  <a:cs typeface="Human Sans" charset="0"/>
                </a:rPr>
                <a:t>Adam – SD</a:t>
              </a:r>
            </a:p>
          </p:txBody>
        </p:sp>
      </p:grpSp>
      <p:grpSp>
        <p:nvGrpSpPr>
          <p:cNvPr id="37" name="Group 36">
            <a:extLst>
              <a:ext uri="{FF2B5EF4-FFF2-40B4-BE49-F238E27FC236}">
                <a16:creationId xmlns:a16="http://schemas.microsoft.com/office/drawing/2014/main" id="{15401A2B-13DF-F884-07EA-990F72A86F8E}"/>
              </a:ext>
            </a:extLst>
          </p:cNvPr>
          <p:cNvGrpSpPr/>
          <p:nvPr/>
        </p:nvGrpSpPr>
        <p:grpSpPr>
          <a:xfrm>
            <a:off x="9940995" y="1630369"/>
            <a:ext cx="926780" cy="1257253"/>
            <a:chOff x="10327938" y="1717960"/>
            <a:chExt cx="926780" cy="1257253"/>
          </a:xfrm>
        </p:grpSpPr>
        <p:pic>
          <p:nvPicPr>
            <p:cNvPr id="38" name="Picture 37" descr="Icon&#10;&#10;Description automatically generated">
              <a:extLst>
                <a:ext uri="{FF2B5EF4-FFF2-40B4-BE49-F238E27FC236}">
                  <a16:creationId xmlns:a16="http://schemas.microsoft.com/office/drawing/2014/main" id="{18881A4B-8FB3-CD52-49B2-C568CC61DE34}"/>
                </a:ext>
              </a:extLst>
            </p:cNvPr>
            <p:cNvPicPr>
              <a:picLocks noChangeAspect="1"/>
            </p:cNvPicPr>
            <p:nvPr/>
          </p:nvPicPr>
          <p:blipFill>
            <a:blip r:embed="rId6"/>
            <a:stretch>
              <a:fillRect/>
            </a:stretch>
          </p:blipFill>
          <p:spPr>
            <a:xfrm>
              <a:off x="10327938" y="1717960"/>
              <a:ext cx="862741" cy="862741"/>
            </a:xfrm>
            <a:prstGeom prst="rect">
              <a:avLst/>
            </a:prstGeom>
          </p:spPr>
        </p:pic>
        <p:sp>
          <p:nvSpPr>
            <p:cNvPr id="39" name="TextBox 38">
              <a:extLst>
                <a:ext uri="{FF2B5EF4-FFF2-40B4-BE49-F238E27FC236}">
                  <a16:creationId xmlns:a16="http://schemas.microsoft.com/office/drawing/2014/main" id="{123AC138-EB9B-5AF0-1D25-C569E570C2DA}"/>
                </a:ext>
              </a:extLst>
            </p:cNvPr>
            <p:cNvSpPr txBox="1"/>
            <p:nvPr/>
          </p:nvSpPr>
          <p:spPr>
            <a:xfrm>
              <a:off x="10340318" y="2667688"/>
              <a:ext cx="914400" cy="307525"/>
            </a:xfrm>
            <a:prstGeom prst="rect">
              <a:avLst/>
            </a:prstGeom>
            <a:noFill/>
          </p:spPr>
          <p:txBody>
            <a:bodyPr wrap="none" lIns="0" tIns="0" rIns="0" bIns="0" rtlCol="0">
              <a:noAutofit/>
            </a:bodyPr>
            <a:lstStyle/>
            <a:p>
              <a:pPr algn="ctr">
                <a:lnSpc>
                  <a:spcPct val="110000"/>
                </a:lnSpc>
                <a:spcBef>
                  <a:spcPts val="600"/>
                </a:spcBef>
              </a:pPr>
              <a:r>
                <a:rPr lang="en-US" sz="1200" dirty="0">
                  <a:ea typeface="Human Sans" charset="0"/>
                  <a:cs typeface="Human Sans" charset="0"/>
                </a:rPr>
                <a:t>Mary – PO/BA</a:t>
              </a:r>
            </a:p>
          </p:txBody>
        </p:sp>
      </p:grpSp>
      <p:grpSp>
        <p:nvGrpSpPr>
          <p:cNvPr id="40" name="Group 39">
            <a:extLst>
              <a:ext uri="{FF2B5EF4-FFF2-40B4-BE49-F238E27FC236}">
                <a16:creationId xmlns:a16="http://schemas.microsoft.com/office/drawing/2014/main" id="{B0B1EFE6-25B8-46DF-22EF-47268626D5DA}"/>
              </a:ext>
            </a:extLst>
          </p:cNvPr>
          <p:cNvGrpSpPr/>
          <p:nvPr/>
        </p:nvGrpSpPr>
        <p:grpSpPr>
          <a:xfrm>
            <a:off x="7610190" y="2962921"/>
            <a:ext cx="933043" cy="1261978"/>
            <a:chOff x="7810607" y="3089981"/>
            <a:chExt cx="933043" cy="1261978"/>
          </a:xfrm>
        </p:grpSpPr>
        <p:pic>
          <p:nvPicPr>
            <p:cNvPr id="41" name="Picture 40" descr="Icon&#10;&#10;Description automatically generated">
              <a:extLst>
                <a:ext uri="{FF2B5EF4-FFF2-40B4-BE49-F238E27FC236}">
                  <a16:creationId xmlns:a16="http://schemas.microsoft.com/office/drawing/2014/main" id="{5D679CD3-BC09-9870-C144-64E4120FF3EE}"/>
                </a:ext>
              </a:extLst>
            </p:cNvPr>
            <p:cNvPicPr>
              <a:picLocks noChangeAspect="1"/>
            </p:cNvPicPr>
            <p:nvPr/>
          </p:nvPicPr>
          <p:blipFill>
            <a:blip r:embed="rId7"/>
            <a:stretch>
              <a:fillRect/>
            </a:stretch>
          </p:blipFill>
          <p:spPr>
            <a:xfrm>
              <a:off x="7810607" y="3089981"/>
              <a:ext cx="862741" cy="862741"/>
            </a:xfrm>
            <a:prstGeom prst="rect">
              <a:avLst/>
            </a:prstGeom>
          </p:spPr>
        </p:pic>
        <p:sp>
          <p:nvSpPr>
            <p:cNvPr id="42" name="TextBox 41">
              <a:extLst>
                <a:ext uri="{FF2B5EF4-FFF2-40B4-BE49-F238E27FC236}">
                  <a16:creationId xmlns:a16="http://schemas.microsoft.com/office/drawing/2014/main" id="{C888D0DC-3138-63C0-086D-2383C730CE89}"/>
                </a:ext>
              </a:extLst>
            </p:cNvPr>
            <p:cNvSpPr txBox="1"/>
            <p:nvPr/>
          </p:nvSpPr>
          <p:spPr>
            <a:xfrm>
              <a:off x="7829250" y="4044434"/>
              <a:ext cx="914400" cy="307525"/>
            </a:xfrm>
            <a:prstGeom prst="rect">
              <a:avLst/>
            </a:prstGeom>
            <a:noFill/>
          </p:spPr>
          <p:txBody>
            <a:bodyPr wrap="none" lIns="0" tIns="0" rIns="0" bIns="0" rtlCol="0">
              <a:noAutofit/>
            </a:bodyPr>
            <a:lstStyle/>
            <a:p>
              <a:pPr algn="ctr">
                <a:lnSpc>
                  <a:spcPct val="110000"/>
                </a:lnSpc>
                <a:spcBef>
                  <a:spcPts val="600"/>
                </a:spcBef>
              </a:pPr>
              <a:r>
                <a:rPr lang="en-US" sz="1200" dirty="0">
                  <a:ea typeface="Human Sans" charset="0"/>
                  <a:cs typeface="Human Sans" charset="0"/>
                </a:rPr>
                <a:t>Bob – MD</a:t>
              </a:r>
            </a:p>
          </p:txBody>
        </p:sp>
      </p:grpSp>
      <p:grpSp>
        <p:nvGrpSpPr>
          <p:cNvPr id="43" name="Group 42">
            <a:extLst>
              <a:ext uri="{FF2B5EF4-FFF2-40B4-BE49-F238E27FC236}">
                <a16:creationId xmlns:a16="http://schemas.microsoft.com/office/drawing/2014/main" id="{D57BE348-96F4-A86B-766A-69EE3A26BD5F}"/>
              </a:ext>
            </a:extLst>
          </p:cNvPr>
          <p:cNvGrpSpPr/>
          <p:nvPr/>
        </p:nvGrpSpPr>
        <p:grpSpPr>
          <a:xfrm>
            <a:off x="8656115" y="2962922"/>
            <a:ext cx="914400" cy="1265709"/>
            <a:chOff x="8856532" y="3089982"/>
            <a:chExt cx="914400" cy="1265709"/>
          </a:xfrm>
        </p:grpSpPr>
        <p:pic>
          <p:nvPicPr>
            <p:cNvPr id="44" name="Picture 43" descr="Icon&#10;&#10;Description automatically generated">
              <a:extLst>
                <a:ext uri="{FF2B5EF4-FFF2-40B4-BE49-F238E27FC236}">
                  <a16:creationId xmlns:a16="http://schemas.microsoft.com/office/drawing/2014/main" id="{74801FF4-2909-3002-3F91-24C62642132B}"/>
                </a:ext>
              </a:extLst>
            </p:cNvPr>
            <p:cNvPicPr>
              <a:picLocks noChangeAspect="1"/>
            </p:cNvPicPr>
            <p:nvPr/>
          </p:nvPicPr>
          <p:blipFill>
            <a:blip r:embed="rId8"/>
            <a:stretch>
              <a:fillRect/>
            </a:stretch>
          </p:blipFill>
          <p:spPr>
            <a:xfrm>
              <a:off x="8882362" y="3089982"/>
              <a:ext cx="862741" cy="862741"/>
            </a:xfrm>
            <a:prstGeom prst="rect">
              <a:avLst/>
            </a:prstGeom>
          </p:spPr>
        </p:pic>
        <p:sp>
          <p:nvSpPr>
            <p:cNvPr id="45" name="TextBox 44">
              <a:extLst>
                <a:ext uri="{FF2B5EF4-FFF2-40B4-BE49-F238E27FC236}">
                  <a16:creationId xmlns:a16="http://schemas.microsoft.com/office/drawing/2014/main" id="{B85FC62E-3972-030F-18E0-640C16D623C7}"/>
                </a:ext>
              </a:extLst>
            </p:cNvPr>
            <p:cNvSpPr txBox="1"/>
            <p:nvPr/>
          </p:nvSpPr>
          <p:spPr>
            <a:xfrm>
              <a:off x="8856532" y="4048166"/>
              <a:ext cx="914400" cy="307525"/>
            </a:xfrm>
            <a:prstGeom prst="rect">
              <a:avLst/>
            </a:prstGeom>
            <a:noFill/>
          </p:spPr>
          <p:txBody>
            <a:bodyPr wrap="none" lIns="0" tIns="0" rIns="0" bIns="0" rtlCol="0">
              <a:noAutofit/>
            </a:bodyPr>
            <a:lstStyle/>
            <a:p>
              <a:pPr algn="ctr">
                <a:lnSpc>
                  <a:spcPct val="110000"/>
                </a:lnSpc>
                <a:spcBef>
                  <a:spcPts val="600"/>
                </a:spcBef>
              </a:pPr>
              <a:r>
                <a:rPr lang="en-US" sz="1200" dirty="0">
                  <a:ea typeface="Human Sans" charset="0"/>
                  <a:cs typeface="Human Sans" charset="0"/>
                </a:rPr>
                <a:t>Eva - JD</a:t>
              </a:r>
            </a:p>
          </p:txBody>
        </p:sp>
      </p:grpSp>
      <p:grpSp>
        <p:nvGrpSpPr>
          <p:cNvPr id="46" name="Group 45">
            <a:extLst>
              <a:ext uri="{FF2B5EF4-FFF2-40B4-BE49-F238E27FC236}">
                <a16:creationId xmlns:a16="http://schemas.microsoft.com/office/drawing/2014/main" id="{3EA658B8-54F8-A019-9430-44555FE20C4C}"/>
              </a:ext>
            </a:extLst>
          </p:cNvPr>
          <p:cNvGrpSpPr/>
          <p:nvPr/>
        </p:nvGrpSpPr>
        <p:grpSpPr>
          <a:xfrm>
            <a:off x="9915165" y="2962922"/>
            <a:ext cx="914400" cy="1285035"/>
            <a:chOff x="10115582" y="3089982"/>
            <a:chExt cx="914400" cy="1285035"/>
          </a:xfrm>
        </p:grpSpPr>
        <p:pic>
          <p:nvPicPr>
            <p:cNvPr id="47" name="Picture 46" descr="Icon&#10;&#10;Description automatically generated">
              <a:extLst>
                <a:ext uri="{FF2B5EF4-FFF2-40B4-BE49-F238E27FC236}">
                  <a16:creationId xmlns:a16="http://schemas.microsoft.com/office/drawing/2014/main" id="{7F723980-9F86-DB0F-2C39-652042288F24}"/>
                </a:ext>
              </a:extLst>
            </p:cNvPr>
            <p:cNvPicPr>
              <a:picLocks noChangeAspect="1"/>
            </p:cNvPicPr>
            <p:nvPr/>
          </p:nvPicPr>
          <p:blipFill>
            <a:blip r:embed="rId9"/>
            <a:stretch>
              <a:fillRect/>
            </a:stretch>
          </p:blipFill>
          <p:spPr>
            <a:xfrm>
              <a:off x="10141412" y="3089982"/>
              <a:ext cx="862741" cy="862741"/>
            </a:xfrm>
            <a:prstGeom prst="ellipse">
              <a:avLst/>
            </a:prstGeom>
            <a:ln w="63500" cap="rnd">
              <a:solidFill>
                <a:srgbClr val="FF0000"/>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sp>
          <p:nvSpPr>
            <p:cNvPr id="48" name="TextBox 47">
              <a:extLst>
                <a:ext uri="{FF2B5EF4-FFF2-40B4-BE49-F238E27FC236}">
                  <a16:creationId xmlns:a16="http://schemas.microsoft.com/office/drawing/2014/main" id="{A41BCC08-3034-1F8B-3F21-EECBD65EB641}"/>
                </a:ext>
              </a:extLst>
            </p:cNvPr>
            <p:cNvSpPr txBox="1"/>
            <p:nvPr/>
          </p:nvSpPr>
          <p:spPr>
            <a:xfrm>
              <a:off x="10115582" y="4067492"/>
              <a:ext cx="914400" cy="307525"/>
            </a:xfrm>
            <a:prstGeom prst="rect">
              <a:avLst/>
            </a:prstGeom>
            <a:noFill/>
            <a:ln>
              <a:solidFill>
                <a:srgbClr val="FF0000"/>
              </a:solidFill>
            </a:ln>
          </p:spPr>
          <p:txBody>
            <a:bodyPr wrap="none" lIns="0" tIns="0" rIns="0" bIns="0" rtlCol="0">
              <a:noAutofit/>
            </a:bodyPr>
            <a:lstStyle/>
            <a:p>
              <a:pPr algn="ctr">
                <a:lnSpc>
                  <a:spcPct val="110000"/>
                </a:lnSpc>
                <a:spcBef>
                  <a:spcPts val="600"/>
                </a:spcBef>
              </a:pPr>
              <a:r>
                <a:rPr lang="en-US" sz="1200" dirty="0">
                  <a:ea typeface="Human Sans" charset="0"/>
                  <a:cs typeface="Human Sans" charset="0"/>
                </a:rPr>
                <a:t>Diana - QA</a:t>
              </a:r>
            </a:p>
          </p:txBody>
        </p:sp>
      </p:grpSp>
      <p:grpSp>
        <p:nvGrpSpPr>
          <p:cNvPr id="49" name="Group 48">
            <a:extLst>
              <a:ext uri="{FF2B5EF4-FFF2-40B4-BE49-F238E27FC236}">
                <a16:creationId xmlns:a16="http://schemas.microsoft.com/office/drawing/2014/main" id="{2328E9C9-E83C-362D-F6D2-A69E23B0BBA1}"/>
              </a:ext>
            </a:extLst>
          </p:cNvPr>
          <p:cNvGrpSpPr/>
          <p:nvPr/>
        </p:nvGrpSpPr>
        <p:grpSpPr>
          <a:xfrm>
            <a:off x="9953375" y="4368223"/>
            <a:ext cx="914400" cy="1246962"/>
            <a:chOff x="10338849" y="4462008"/>
            <a:chExt cx="914400" cy="1246962"/>
          </a:xfrm>
        </p:grpSpPr>
        <p:pic>
          <p:nvPicPr>
            <p:cNvPr id="50" name="Picture 49" descr="Icon&#10;&#10;Description automatically generated">
              <a:extLst>
                <a:ext uri="{FF2B5EF4-FFF2-40B4-BE49-F238E27FC236}">
                  <a16:creationId xmlns:a16="http://schemas.microsoft.com/office/drawing/2014/main" id="{7664D971-33C2-298C-5CDD-B8E9723F4675}"/>
                </a:ext>
              </a:extLst>
            </p:cNvPr>
            <p:cNvPicPr>
              <a:picLocks noChangeAspect="1"/>
            </p:cNvPicPr>
            <p:nvPr/>
          </p:nvPicPr>
          <p:blipFill>
            <a:blip r:embed="rId10"/>
            <a:stretch>
              <a:fillRect/>
            </a:stretch>
          </p:blipFill>
          <p:spPr>
            <a:xfrm>
              <a:off x="10364679" y="4462008"/>
              <a:ext cx="862741" cy="862741"/>
            </a:xfrm>
            <a:prstGeom prst="rect">
              <a:avLst/>
            </a:prstGeom>
          </p:spPr>
        </p:pic>
        <p:sp>
          <p:nvSpPr>
            <p:cNvPr id="51" name="TextBox 50">
              <a:extLst>
                <a:ext uri="{FF2B5EF4-FFF2-40B4-BE49-F238E27FC236}">
                  <a16:creationId xmlns:a16="http://schemas.microsoft.com/office/drawing/2014/main" id="{FE7FEC11-0F04-314D-D4CF-BB326136E17C}"/>
                </a:ext>
              </a:extLst>
            </p:cNvPr>
            <p:cNvSpPr txBox="1"/>
            <p:nvPr/>
          </p:nvSpPr>
          <p:spPr>
            <a:xfrm>
              <a:off x="10338849" y="5401445"/>
              <a:ext cx="914400" cy="307525"/>
            </a:xfrm>
            <a:prstGeom prst="rect">
              <a:avLst/>
            </a:prstGeom>
            <a:noFill/>
          </p:spPr>
          <p:txBody>
            <a:bodyPr wrap="none" lIns="0" tIns="0" rIns="0" bIns="0" rtlCol="0">
              <a:noAutofit/>
            </a:bodyPr>
            <a:lstStyle/>
            <a:p>
              <a:pPr algn="ctr">
                <a:lnSpc>
                  <a:spcPct val="110000"/>
                </a:lnSpc>
                <a:spcBef>
                  <a:spcPts val="600"/>
                </a:spcBef>
              </a:pPr>
              <a:r>
                <a:rPr lang="en-US" sz="1200" dirty="0">
                  <a:ea typeface="Human Sans" charset="0"/>
                  <a:cs typeface="Human Sans" charset="0"/>
                </a:rPr>
                <a:t>Pavel - DevOps</a:t>
              </a:r>
            </a:p>
          </p:txBody>
        </p:sp>
      </p:grpSp>
    </p:spTree>
    <p:extLst>
      <p:ext uri="{BB962C8B-B14F-4D97-AF65-F5344CB8AC3E}">
        <p14:creationId xmlns:p14="http://schemas.microsoft.com/office/powerpoint/2010/main" val="155552058"/>
      </p:ext>
    </p:extLst>
  </p:cSld>
  <p:clrMapOvr>
    <a:masterClrMapping/>
  </p:clrMapOvr>
  <p:transition spd="slow">
    <p:push dir="u"/>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3E7B12-94E5-1E8A-9A20-C930CC8426EB}"/>
              </a:ext>
            </a:extLst>
          </p:cNvPr>
          <p:cNvSpPr>
            <a:spLocks noGrp="1"/>
          </p:cNvSpPr>
          <p:nvPr>
            <p:ph type="title"/>
          </p:nvPr>
        </p:nvSpPr>
        <p:spPr>
          <a:xfrm>
            <a:off x="639073" y="1424520"/>
            <a:ext cx="5333999" cy="2462213"/>
          </a:xfrm>
        </p:spPr>
        <p:txBody>
          <a:bodyPr/>
          <a:lstStyle/>
          <a:p>
            <a:r>
              <a:rPr lang="en-US" sz="3200" dirty="0"/>
              <a:t>The Product Owner believes your team's estimation is too high. </a:t>
            </a:r>
            <a:br>
              <a:rPr lang="en-US" sz="3200" dirty="0"/>
            </a:br>
            <a:r>
              <a:rPr lang="en-US" sz="3200" dirty="0">
                <a:solidFill>
                  <a:schemeClr val="accent6"/>
                </a:solidFill>
                <a:latin typeface="Calibri" panose="020F0502020204030204" pitchFamily="34" charset="0"/>
                <a:cs typeface="Calibri" panose="020F0502020204030204" pitchFamily="34" charset="0"/>
              </a:rPr>
              <a:t>How will you handle this disagreement?</a:t>
            </a:r>
          </a:p>
        </p:txBody>
      </p:sp>
      <p:sp>
        <p:nvSpPr>
          <p:cNvPr id="8" name="Text Placeholder 7">
            <a:extLst>
              <a:ext uri="{FF2B5EF4-FFF2-40B4-BE49-F238E27FC236}">
                <a16:creationId xmlns:a16="http://schemas.microsoft.com/office/drawing/2014/main" id="{A33CA039-DE3C-5D85-0DB8-D98A38BFDC35}"/>
              </a:ext>
            </a:extLst>
          </p:cNvPr>
          <p:cNvSpPr>
            <a:spLocks noGrp="1"/>
          </p:cNvSpPr>
          <p:nvPr>
            <p:ph type="body" sz="quarter" idx="28"/>
          </p:nvPr>
        </p:nvSpPr>
        <p:spPr>
          <a:xfrm>
            <a:off x="627063" y="419100"/>
            <a:ext cx="3725862" cy="397732"/>
          </a:xfrm>
        </p:spPr>
        <p:txBody>
          <a:bodyPr>
            <a:normAutofit/>
          </a:bodyPr>
          <a:lstStyle/>
          <a:p>
            <a:r>
              <a:rPr lang="en-US" dirty="0"/>
              <a:t>Team Leadership workshop: USE-cases</a:t>
            </a:r>
          </a:p>
        </p:txBody>
      </p:sp>
      <p:sp>
        <p:nvSpPr>
          <p:cNvPr id="10" name="Text Placeholder 9">
            <a:extLst>
              <a:ext uri="{FF2B5EF4-FFF2-40B4-BE49-F238E27FC236}">
                <a16:creationId xmlns:a16="http://schemas.microsoft.com/office/drawing/2014/main" id="{1F88C411-8C59-AFA3-5C10-11E75FDF9817}"/>
              </a:ext>
            </a:extLst>
          </p:cNvPr>
          <p:cNvSpPr>
            <a:spLocks noGrp="1"/>
          </p:cNvSpPr>
          <p:nvPr>
            <p:ph type="body" sz="quarter" idx="25"/>
          </p:nvPr>
        </p:nvSpPr>
        <p:spPr>
          <a:xfrm>
            <a:off x="627063" y="722843"/>
            <a:ext cx="5190933" cy="338554"/>
          </a:xfrm>
        </p:spPr>
        <p:txBody>
          <a:bodyPr/>
          <a:lstStyle/>
          <a:p>
            <a:r>
              <a:rPr lang="en-US" dirty="0"/>
              <a:t>Case 3.3: Negotiating Estimates with the PO</a:t>
            </a:r>
          </a:p>
        </p:txBody>
      </p:sp>
      <p:grpSp>
        <p:nvGrpSpPr>
          <p:cNvPr id="32" name="Group 31">
            <a:extLst>
              <a:ext uri="{FF2B5EF4-FFF2-40B4-BE49-F238E27FC236}">
                <a16:creationId xmlns:a16="http://schemas.microsoft.com/office/drawing/2014/main" id="{38CAE5AD-B9D9-1BE3-D8DA-9F3BAC97EFE3}"/>
              </a:ext>
            </a:extLst>
          </p:cNvPr>
          <p:cNvGrpSpPr/>
          <p:nvPr/>
        </p:nvGrpSpPr>
        <p:grpSpPr>
          <a:xfrm>
            <a:off x="7031633" y="5174495"/>
            <a:ext cx="914400" cy="1507452"/>
            <a:chOff x="7954394" y="5075784"/>
            <a:chExt cx="914400" cy="1507452"/>
          </a:xfrm>
        </p:grpSpPr>
        <p:pic>
          <p:nvPicPr>
            <p:cNvPr id="33" name="Picture 32" descr="Icon&#10;&#10;Description automatically generated">
              <a:extLst>
                <a:ext uri="{FF2B5EF4-FFF2-40B4-BE49-F238E27FC236}">
                  <a16:creationId xmlns:a16="http://schemas.microsoft.com/office/drawing/2014/main" id="{2F838510-22B0-4FBB-C199-A585524A88F1}"/>
                </a:ext>
              </a:extLst>
            </p:cNvPr>
            <p:cNvPicPr>
              <a:picLocks noChangeAspect="1"/>
            </p:cNvPicPr>
            <p:nvPr/>
          </p:nvPicPr>
          <p:blipFill>
            <a:blip r:embed="rId3"/>
            <a:stretch>
              <a:fillRect/>
            </a:stretch>
          </p:blipFill>
          <p:spPr>
            <a:xfrm>
              <a:off x="7974887" y="5075784"/>
              <a:ext cx="862741" cy="1133067"/>
            </a:xfrm>
            <a:prstGeom prst="rect">
              <a:avLst/>
            </a:prstGeom>
          </p:spPr>
        </p:pic>
        <p:sp>
          <p:nvSpPr>
            <p:cNvPr id="34" name="TextBox 33">
              <a:extLst>
                <a:ext uri="{FF2B5EF4-FFF2-40B4-BE49-F238E27FC236}">
                  <a16:creationId xmlns:a16="http://schemas.microsoft.com/office/drawing/2014/main" id="{587F560B-62C0-B867-EC11-79B4C360893D}"/>
                </a:ext>
              </a:extLst>
            </p:cNvPr>
            <p:cNvSpPr txBox="1"/>
            <p:nvPr/>
          </p:nvSpPr>
          <p:spPr>
            <a:xfrm>
              <a:off x="7954394" y="6275711"/>
              <a:ext cx="914400" cy="307525"/>
            </a:xfrm>
            <a:prstGeom prst="rect">
              <a:avLst/>
            </a:prstGeom>
            <a:noFill/>
          </p:spPr>
          <p:txBody>
            <a:bodyPr wrap="none" lIns="0" tIns="0" rIns="0" bIns="0" rtlCol="0">
              <a:noAutofit/>
            </a:bodyPr>
            <a:lstStyle/>
            <a:p>
              <a:pPr algn="ctr">
                <a:lnSpc>
                  <a:spcPct val="110000"/>
                </a:lnSpc>
                <a:spcBef>
                  <a:spcPts val="600"/>
                </a:spcBef>
              </a:pPr>
              <a:r>
                <a:rPr lang="en-US" sz="1200" dirty="0">
                  <a:ea typeface="Human Sans" charset="0"/>
                  <a:cs typeface="Human Sans" charset="0"/>
                </a:rPr>
                <a:t>You</a:t>
              </a:r>
            </a:p>
          </p:txBody>
        </p:sp>
      </p:grpSp>
      <p:sp>
        <p:nvSpPr>
          <p:cNvPr id="35" name="Speech Bubble: Rectangle 34">
            <a:extLst>
              <a:ext uri="{FF2B5EF4-FFF2-40B4-BE49-F238E27FC236}">
                <a16:creationId xmlns:a16="http://schemas.microsoft.com/office/drawing/2014/main" id="{5A3D9C85-096D-77E0-F8FF-1459C0ADD876}"/>
              </a:ext>
            </a:extLst>
          </p:cNvPr>
          <p:cNvSpPr/>
          <p:nvPr/>
        </p:nvSpPr>
        <p:spPr bwMode="auto">
          <a:xfrm>
            <a:off x="7697873" y="4555837"/>
            <a:ext cx="396301" cy="551798"/>
          </a:xfrm>
          <a:prstGeom prst="wedgeRectCallout">
            <a:avLst/>
          </a:prstGeom>
          <a:ln/>
        </p:spPr>
        <p:style>
          <a:lnRef idx="2">
            <a:schemeClr val="dk1"/>
          </a:lnRef>
          <a:fillRef idx="1">
            <a:schemeClr val="lt1"/>
          </a:fillRef>
          <a:effectRef idx="0">
            <a:schemeClr val="dk1"/>
          </a:effectRef>
          <a:fontRef idx="minor">
            <a:schemeClr val="dk1"/>
          </a:fontRef>
        </p:style>
        <p:txBody>
          <a:bodyPr wrap="none" rtlCol="0" anchor="ctr"/>
          <a:lstStyle/>
          <a:p>
            <a:pPr algn="ctr"/>
            <a:r>
              <a:rPr lang="en-US" sz="2000" dirty="0">
                <a:ln w="0"/>
                <a:solidFill>
                  <a:schemeClr val="tx1"/>
                </a:solidFill>
                <a:effectLst>
                  <a:outerShdw blurRad="38100" dist="19050" dir="2700000" algn="tl" rotWithShape="0">
                    <a:schemeClr val="dk1">
                      <a:alpha val="40000"/>
                    </a:schemeClr>
                  </a:outerShdw>
                </a:effectLst>
                <a:latin typeface="Calibri Light" panose="020F0302020204030204" pitchFamily="34" charset="0"/>
                <a:ea typeface="Human Sans ExtraLight" charset="0"/>
                <a:cs typeface="Human Sans ExtraLight" charset="0"/>
              </a:rPr>
              <a:t>?</a:t>
            </a:r>
            <a:endParaRPr lang="en-US" sz="2000" dirty="0">
              <a:solidFill>
                <a:schemeClr val="bg1"/>
              </a:solidFill>
              <a:latin typeface="Calibri Light" panose="020F0302020204030204" pitchFamily="34" charset="0"/>
              <a:ea typeface="Human Sans ExtraLight" charset="0"/>
              <a:cs typeface="Human Sans ExtraLight" charset="0"/>
            </a:endParaRPr>
          </a:p>
        </p:txBody>
      </p:sp>
      <p:grpSp>
        <p:nvGrpSpPr>
          <p:cNvPr id="4" name="Group 3">
            <a:extLst>
              <a:ext uri="{FF2B5EF4-FFF2-40B4-BE49-F238E27FC236}">
                <a16:creationId xmlns:a16="http://schemas.microsoft.com/office/drawing/2014/main" id="{BB4845E9-5781-3F39-B75A-F8107484E395}"/>
              </a:ext>
            </a:extLst>
          </p:cNvPr>
          <p:cNvGrpSpPr/>
          <p:nvPr/>
        </p:nvGrpSpPr>
        <p:grpSpPr>
          <a:xfrm>
            <a:off x="8827288" y="550438"/>
            <a:ext cx="923632" cy="1258357"/>
            <a:chOff x="9278671" y="722843"/>
            <a:chExt cx="923632" cy="1258357"/>
          </a:xfrm>
        </p:grpSpPr>
        <p:pic>
          <p:nvPicPr>
            <p:cNvPr id="5" name="Picture 4" descr="Icon&#10;&#10;Description automatically generated">
              <a:extLst>
                <a:ext uri="{FF2B5EF4-FFF2-40B4-BE49-F238E27FC236}">
                  <a16:creationId xmlns:a16="http://schemas.microsoft.com/office/drawing/2014/main" id="{551DFBEF-7F97-AFC6-553C-1B3BBF9FFF2B}"/>
                </a:ext>
              </a:extLst>
            </p:cNvPr>
            <p:cNvPicPr>
              <a:picLocks noChangeAspect="1"/>
            </p:cNvPicPr>
            <p:nvPr/>
          </p:nvPicPr>
          <p:blipFill>
            <a:blip r:embed="rId4"/>
            <a:stretch>
              <a:fillRect/>
            </a:stretch>
          </p:blipFill>
          <p:spPr>
            <a:xfrm>
              <a:off x="9278671" y="722843"/>
              <a:ext cx="862741" cy="862741"/>
            </a:xfrm>
            <a:prstGeom prst="rect">
              <a:avLst/>
            </a:prstGeom>
          </p:spPr>
        </p:pic>
        <p:sp>
          <p:nvSpPr>
            <p:cNvPr id="6" name="TextBox 5">
              <a:extLst>
                <a:ext uri="{FF2B5EF4-FFF2-40B4-BE49-F238E27FC236}">
                  <a16:creationId xmlns:a16="http://schemas.microsoft.com/office/drawing/2014/main" id="{787D0E6B-D589-01B3-A6E4-63C68B64DD65}"/>
                </a:ext>
              </a:extLst>
            </p:cNvPr>
            <p:cNvSpPr txBox="1"/>
            <p:nvPr/>
          </p:nvSpPr>
          <p:spPr>
            <a:xfrm>
              <a:off x="9287903" y="1673675"/>
              <a:ext cx="914400" cy="307525"/>
            </a:xfrm>
            <a:prstGeom prst="rect">
              <a:avLst/>
            </a:prstGeom>
            <a:noFill/>
          </p:spPr>
          <p:txBody>
            <a:bodyPr wrap="none" lIns="0" tIns="0" rIns="0" bIns="0" rtlCol="0">
              <a:noAutofit/>
            </a:bodyPr>
            <a:lstStyle/>
            <a:p>
              <a:pPr algn="ctr">
                <a:lnSpc>
                  <a:spcPct val="110000"/>
                </a:lnSpc>
                <a:spcBef>
                  <a:spcPts val="600"/>
                </a:spcBef>
              </a:pPr>
              <a:r>
                <a:rPr lang="en-US" sz="1200" dirty="0">
                  <a:ea typeface="Human Sans" charset="0"/>
                  <a:cs typeface="Human Sans" charset="0"/>
                </a:rPr>
                <a:t>Dean - SM</a:t>
              </a:r>
            </a:p>
          </p:txBody>
        </p:sp>
      </p:grpSp>
      <p:grpSp>
        <p:nvGrpSpPr>
          <p:cNvPr id="7" name="Group 6">
            <a:extLst>
              <a:ext uri="{FF2B5EF4-FFF2-40B4-BE49-F238E27FC236}">
                <a16:creationId xmlns:a16="http://schemas.microsoft.com/office/drawing/2014/main" id="{84309EC9-FF7E-8DB6-3B0A-F24E5005367D}"/>
              </a:ext>
            </a:extLst>
          </p:cNvPr>
          <p:cNvGrpSpPr/>
          <p:nvPr/>
        </p:nvGrpSpPr>
        <p:grpSpPr>
          <a:xfrm>
            <a:off x="7748640" y="1590899"/>
            <a:ext cx="914400" cy="1280310"/>
            <a:chOff x="7949057" y="1717959"/>
            <a:chExt cx="914400" cy="1280310"/>
          </a:xfrm>
        </p:grpSpPr>
        <p:pic>
          <p:nvPicPr>
            <p:cNvPr id="9" name="Picture 8" descr="Icon, circle&#10;&#10;Description automatically generated">
              <a:extLst>
                <a:ext uri="{FF2B5EF4-FFF2-40B4-BE49-F238E27FC236}">
                  <a16:creationId xmlns:a16="http://schemas.microsoft.com/office/drawing/2014/main" id="{38E0BDAB-5373-19C6-6F91-35D85857A5DD}"/>
                </a:ext>
              </a:extLst>
            </p:cNvPr>
            <p:cNvPicPr>
              <a:picLocks noChangeAspect="1"/>
            </p:cNvPicPr>
            <p:nvPr/>
          </p:nvPicPr>
          <p:blipFill>
            <a:blip r:embed="rId5"/>
            <a:stretch>
              <a:fillRect/>
            </a:stretch>
          </p:blipFill>
          <p:spPr>
            <a:xfrm>
              <a:off x="7974889" y="1717959"/>
              <a:ext cx="862741" cy="862741"/>
            </a:xfrm>
            <a:prstGeom prst="rect">
              <a:avLst/>
            </a:prstGeom>
          </p:spPr>
        </p:pic>
        <p:sp>
          <p:nvSpPr>
            <p:cNvPr id="36" name="TextBox 35">
              <a:extLst>
                <a:ext uri="{FF2B5EF4-FFF2-40B4-BE49-F238E27FC236}">
                  <a16:creationId xmlns:a16="http://schemas.microsoft.com/office/drawing/2014/main" id="{EF22CD6A-7350-B784-9FA5-1629B4C3CE31}"/>
                </a:ext>
              </a:extLst>
            </p:cNvPr>
            <p:cNvSpPr txBox="1"/>
            <p:nvPr/>
          </p:nvSpPr>
          <p:spPr>
            <a:xfrm>
              <a:off x="7949057" y="2690744"/>
              <a:ext cx="914400" cy="307525"/>
            </a:xfrm>
            <a:prstGeom prst="rect">
              <a:avLst/>
            </a:prstGeom>
            <a:noFill/>
          </p:spPr>
          <p:txBody>
            <a:bodyPr wrap="none" lIns="0" tIns="0" rIns="0" bIns="0" rtlCol="0">
              <a:noAutofit/>
            </a:bodyPr>
            <a:lstStyle/>
            <a:p>
              <a:pPr algn="ctr">
                <a:lnSpc>
                  <a:spcPct val="110000"/>
                </a:lnSpc>
                <a:spcBef>
                  <a:spcPts val="600"/>
                </a:spcBef>
              </a:pPr>
              <a:r>
                <a:rPr lang="en-US" sz="1200" dirty="0">
                  <a:ea typeface="Human Sans" charset="0"/>
                  <a:cs typeface="Human Sans" charset="0"/>
                </a:rPr>
                <a:t>Adam – SD</a:t>
              </a:r>
            </a:p>
          </p:txBody>
        </p:sp>
      </p:grpSp>
      <p:grpSp>
        <p:nvGrpSpPr>
          <p:cNvPr id="37" name="Group 36">
            <a:extLst>
              <a:ext uri="{FF2B5EF4-FFF2-40B4-BE49-F238E27FC236}">
                <a16:creationId xmlns:a16="http://schemas.microsoft.com/office/drawing/2014/main" id="{15401A2B-13DF-F884-07EA-990F72A86F8E}"/>
              </a:ext>
            </a:extLst>
          </p:cNvPr>
          <p:cNvGrpSpPr/>
          <p:nvPr/>
        </p:nvGrpSpPr>
        <p:grpSpPr>
          <a:xfrm>
            <a:off x="9940995" y="1630369"/>
            <a:ext cx="926780" cy="1257253"/>
            <a:chOff x="10327938" y="1717960"/>
            <a:chExt cx="926780" cy="1257253"/>
          </a:xfrm>
        </p:grpSpPr>
        <p:pic>
          <p:nvPicPr>
            <p:cNvPr id="38" name="Picture 37" descr="Icon&#10;&#10;Description automatically generated">
              <a:extLst>
                <a:ext uri="{FF2B5EF4-FFF2-40B4-BE49-F238E27FC236}">
                  <a16:creationId xmlns:a16="http://schemas.microsoft.com/office/drawing/2014/main" id="{18881A4B-8FB3-CD52-49B2-C568CC61DE34}"/>
                </a:ext>
              </a:extLst>
            </p:cNvPr>
            <p:cNvPicPr>
              <a:picLocks noChangeAspect="1"/>
            </p:cNvPicPr>
            <p:nvPr/>
          </p:nvPicPr>
          <p:blipFill>
            <a:blip r:embed="rId6"/>
            <a:stretch>
              <a:fillRect/>
            </a:stretch>
          </p:blipFill>
          <p:spPr>
            <a:xfrm>
              <a:off x="10327938" y="1717960"/>
              <a:ext cx="862741" cy="862741"/>
            </a:xfrm>
            <a:prstGeom prst="ellipse">
              <a:avLst/>
            </a:prstGeom>
            <a:ln w="63500" cap="rnd">
              <a:solidFill>
                <a:srgbClr val="FF0000"/>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sp>
          <p:nvSpPr>
            <p:cNvPr id="39" name="TextBox 38">
              <a:extLst>
                <a:ext uri="{FF2B5EF4-FFF2-40B4-BE49-F238E27FC236}">
                  <a16:creationId xmlns:a16="http://schemas.microsoft.com/office/drawing/2014/main" id="{123AC138-EB9B-5AF0-1D25-C569E570C2DA}"/>
                </a:ext>
              </a:extLst>
            </p:cNvPr>
            <p:cNvSpPr txBox="1"/>
            <p:nvPr/>
          </p:nvSpPr>
          <p:spPr>
            <a:xfrm>
              <a:off x="10340318" y="2667688"/>
              <a:ext cx="914400" cy="307525"/>
            </a:xfrm>
            <a:prstGeom prst="rect">
              <a:avLst/>
            </a:prstGeom>
            <a:noFill/>
            <a:ln>
              <a:solidFill>
                <a:srgbClr val="FF0000"/>
              </a:solidFill>
            </a:ln>
          </p:spPr>
          <p:txBody>
            <a:bodyPr wrap="none" lIns="0" tIns="0" rIns="0" bIns="0" rtlCol="0">
              <a:noAutofit/>
            </a:bodyPr>
            <a:lstStyle/>
            <a:p>
              <a:pPr algn="ctr">
                <a:lnSpc>
                  <a:spcPct val="110000"/>
                </a:lnSpc>
                <a:spcBef>
                  <a:spcPts val="600"/>
                </a:spcBef>
              </a:pPr>
              <a:r>
                <a:rPr lang="en-US" sz="1200" dirty="0">
                  <a:ea typeface="Human Sans" charset="0"/>
                  <a:cs typeface="Human Sans" charset="0"/>
                </a:rPr>
                <a:t>Mary – PO/BA</a:t>
              </a:r>
            </a:p>
          </p:txBody>
        </p:sp>
      </p:grpSp>
      <p:grpSp>
        <p:nvGrpSpPr>
          <p:cNvPr id="40" name="Group 39">
            <a:extLst>
              <a:ext uri="{FF2B5EF4-FFF2-40B4-BE49-F238E27FC236}">
                <a16:creationId xmlns:a16="http://schemas.microsoft.com/office/drawing/2014/main" id="{B0B1EFE6-25B8-46DF-22EF-47268626D5DA}"/>
              </a:ext>
            </a:extLst>
          </p:cNvPr>
          <p:cNvGrpSpPr/>
          <p:nvPr/>
        </p:nvGrpSpPr>
        <p:grpSpPr>
          <a:xfrm>
            <a:off x="7610190" y="2962921"/>
            <a:ext cx="933043" cy="1261978"/>
            <a:chOff x="7810607" y="3089981"/>
            <a:chExt cx="933043" cy="1261978"/>
          </a:xfrm>
        </p:grpSpPr>
        <p:pic>
          <p:nvPicPr>
            <p:cNvPr id="41" name="Picture 40" descr="Icon&#10;&#10;Description automatically generated">
              <a:extLst>
                <a:ext uri="{FF2B5EF4-FFF2-40B4-BE49-F238E27FC236}">
                  <a16:creationId xmlns:a16="http://schemas.microsoft.com/office/drawing/2014/main" id="{5D679CD3-BC09-9870-C144-64E4120FF3EE}"/>
                </a:ext>
              </a:extLst>
            </p:cNvPr>
            <p:cNvPicPr>
              <a:picLocks noChangeAspect="1"/>
            </p:cNvPicPr>
            <p:nvPr/>
          </p:nvPicPr>
          <p:blipFill>
            <a:blip r:embed="rId7"/>
            <a:stretch>
              <a:fillRect/>
            </a:stretch>
          </p:blipFill>
          <p:spPr>
            <a:xfrm>
              <a:off x="7810607" y="3089981"/>
              <a:ext cx="862741" cy="862741"/>
            </a:xfrm>
            <a:prstGeom prst="rect">
              <a:avLst/>
            </a:prstGeom>
          </p:spPr>
        </p:pic>
        <p:sp>
          <p:nvSpPr>
            <p:cNvPr id="42" name="TextBox 41">
              <a:extLst>
                <a:ext uri="{FF2B5EF4-FFF2-40B4-BE49-F238E27FC236}">
                  <a16:creationId xmlns:a16="http://schemas.microsoft.com/office/drawing/2014/main" id="{C888D0DC-3138-63C0-086D-2383C730CE89}"/>
                </a:ext>
              </a:extLst>
            </p:cNvPr>
            <p:cNvSpPr txBox="1"/>
            <p:nvPr/>
          </p:nvSpPr>
          <p:spPr>
            <a:xfrm>
              <a:off x="7829250" y="4044434"/>
              <a:ext cx="914400" cy="307525"/>
            </a:xfrm>
            <a:prstGeom prst="rect">
              <a:avLst/>
            </a:prstGeom>
            <a:noFill/>
          </p:spPr>
          <p:txBody>
            <a:bodyPr wrap="none" lIns="0" tIns="0" rIns="0" bIns="0" rtlCol="0">
              <a:noAutofit/>
            </a:bodyPr>
            <a:lstStyle/>
            <a:p>
              <a:pPr algn="ctr">
                <a:lnSpc>
                  <a:spcPct val="110000"/>
                </a:lnSpc>
                <a:spcBef>
                  <a:spcPts val="600"/>
                </a:spcBef>
              </a:pPr>
              <a:r>
                <a:rPr lang="en-US" sz="1200" dirty="0">
                  <a:ea typeface="Human Sans" charset="0"/>
                  <a:cs typeface="Human Sans" charset="0"/>
                </a:rPr>
                <a:t>Bob – MD</a:t>
              </a:r>
            </a:p>
          </p:txBody>
        </p:sp>
      </p:grpSp>
      <p:grpSp>
        <p:nvGrpSpPr>
          <p:cNvPr id="43" name="Group 42">
            <a:extLst>
              <a:ext uri="{FF2B5EF4-FFF2-40B4-BE49-F238E27FC236}">
                <a16:creationId xmlns:a16="http://schemas.microsoft.com/office/drawing/2014/main" id="{D57BE348-96F4-A86B-766A-69EE3A26BD5F}"/>
              </a:ext>
            </a:extLst>
          </p:cNvPr>
          <p:cNvGrpSpPr/>
          <p:nvPr/>
        </p:nvGrpSpPr>
        <p:grpSpPr>
          <a:xfrm>
            <a:off x="8656115" y="2962922"/>
            <a:ext cx="914400" cy="1265709"/>
            <a:chOff x="8856532" y="3089982"/>
            <a:chExt cx="914400" cy="1265709"/>
          </a:xfrm>
        </p:grpSpPr>
        <p:pic>
          <p:nvPicPr>
            <p:cNvPr id="44" name="Picture 43" descr="Icon&#10;&#10;Description automatically generated">
              <a:extLst>
                <a:ext uri="{FF2B5EF4-FFF2-40B4-BE49-F238E27FC236}">
                  <a16:creationId xmlns:a16="http://schemas.microsoft.com/office/drawing/2014/main" id="{74801FF4-2909-3002-3F91-24C62642132B}"/>
                </a:ext>
              </a:extLst>
            </p:cNvPr>
            <p:cNvPicPr>
              <a:picLocks noChangeAspect="1"/>
            </p:cNvPicPr>
            <p:nvPr/>
          </p:nvPicPr>
          <p:blipFill>
            <a:blip r:embed="rId8"/>
            <a:stretch>
              <a:fillRect/>
            </a:stretch>
          </p:blipFill>
          <p:spPr>
            <a:xfrm>
              <a:off x="8882362" y="3089982"/>
              <a:ext cx="862741" cy="862741"/>
            </a:xfrm>
            <a:prstGeom prst="rect">
              <a:avLst/>
            </a:prstGeom>
          </p:spPr>
        </p:pic>
        <p:sp>
          <p:nvSpPr>
            <p:cNvPr id="45" name="TextBox 44">
              <a:extLst>
                <a:ext uri="{FF2B5EF4-FFF2-40B4-BE49-F238E27FC236}">
                  <a16:creationId xmlns:a16="http://schemas.microsoft.com/office/drawing/2014/main" id="{B85FC62E-3972-030F-18E0-640C16D623C7}"/>
                </a:ext>
              </a:extLst>
            </p:cNvPr>
            <p:cNvSpPr txBox="1"/>
            <p:nvPr/>
          </p:nvSpPr>
          <p:spPr>
            <a:xfrm>
              <a:off x="8856532" y="4048166"/>
              <a:ext cx="914400" cy="307525"/>
            </a:xfrm>
            <a:prstGeom prst="rect">
              <a:avLst/>
            </a:prstGeom>
            <a:noFill/>
          </p:spPr>
          <p:txBody>
            <a:bodyPr wrap="none" lIns="0" tIns="0" rIns="0" bIns="0" rtlCol="0">
              <a:noAutofit/>
            </a:bodyPr>
            <a:lstStyle/>
            <a:p>
              <a:pPr algn="ctr">
                <a:lnSpc>
                  <a:spcPct val="110000"/>
                </a:lnSpc>
                <a:spcBef>
                  <a:spcPts val="600"/>
                </a:spcBef>
              </a:pPr>
              <a:r>
                <a:rPr lang="en-US" sz="1200" dirty="0">
                  <a:ea typeface="Human Sans" charset="0"/>
                  <a:cs typeface="Human Sans" charset="0"/>
                </a:rPr>
                <a:t>Eva - JD</a:t>
              </a:r>
            </a:p>
          </p:txBody>
        </p:sp>
      </p:grpSp>
      <p:grpSp>
        <p:nvGrpSpPr>
          <p:cNvPr id="46" name="Group 45">
            <a:extLst>
              <a:ext uri="{FF2B5EF4-FFF2-40B4-BE49-F238E27FC236}">
                <a16:creationId xmlns:a16="http://schemas.microsoft.com/office/drawing/2014/main" id="{3EA658B8-54F8-A019-9430-44555FE20C4C}"/>
              </a:ext>
            </a:extLst>
          </p:cNvPr>
          <p:cNvGrpSpPr/>
          <p:nvPr/>
        </p:nvGrpSpPr>
        <p:grpSpPr>
          <a:xfrm>
            <a:off x="9915165" y="2962922"/>
            <a:ext cx="914400" cy="1285035"/>
            <a:chOff x="10115582" y="3089982"/>
            <a:chExt cx="914400" cy="1285035"/>
          </a:xfrm>
        </p:grpSpPr>
        <p:pic>
          <p:nvPicPr>
            <p:cNvPr id="47" name="Picture 46" descr="Icon&#10;&#10;Description automatically generated">
              <a:extLst>
                <a:ext uri="{FF2B5EF4-FFF2-40B4-BE49-F238E27FC236}">
                  <a16:creationId xmlns:a16="http://schemas.microsoft.com/office/drawing/2014/main" id="{7F723980-9F86-DB0F-2C39-652042288F24}"/>
                </a:ext>
              </a:extLst>
            </p:cNvPr>
            <p:cNvPicPr>
              <a:picLocks noChangeAspect="1"/>
            </p:cNvPicPr>
            <p:nvPr/>
          </p:nvPicPr>
          <p:blipFill>
            <a:blip r:embed="rId9"/>
            <a:stretch>
              <a:fillRect/>
            </a:stretch>
          </p:blipFill>
          <p:spPr>
            <a:xfrm>
              <a:off x="10141412" y="3089982"/>
              <a:ext cx="862741" cy="862741"/>
            </a:xfrm>
            <a:prstGeom prst="rect">
              <a:avLst/>
            </a:prstGeom>
          </p:spPr>
        </p:pic>
        <p:sp>
          <p:nvSpPr>
            <p:cNvPr id="48" name="TextBox 47">
              <a:extLst>
                <a:ext uri="{FF2B5EF4-FFF2-40B4-BE49-F238E27FC236}">
                  <a16:creationId xmlns:a16="http://schemas.microsoft.com/office/drawing/2014/main" id="{A41BCC08-3034-1F8B-3F21-EECBD65EB641}"/>
                </a:ext>
              </a:extLst>
            </p:cNvPr>
            <p:cNvSpPr txBox="1"/>
            <p:nvPr/>
          </p:nvSpPr>
          <p:spPr>
            <a:xfrm>
              <a:off x="10115582" y="4067492"/>
              <a:ext cx="914400" cy="307525"/>
            </a:xfrm>
            <a:prstGeom prst="rect">
              <a:avLst/>
            </a:prstGeom>
            <a:noFill/>
          </p:spPr>
          <p:txBody>
            <a:bodyPr wrap="none" lIns="0" tIns="0" rIns="0" bIns="0" rtlCol="0">
              <a:noAutofit/>
            </a:bodyPr>
            <a:lstStyle/>
            <a:p>
              <a:pPr algn="ctr">
                <a:lnSpc>
                  <a:spcPct val="110000"/>
                </a:lnSpc>
                <a:spcBef>
                  <a:spcPts val="600"/>
                </a:spcBef>
              </a:pPr>
              <a:r>
                <a:rPr lang="en-US" sz="1200" dirty="0">
                  <a:ea typeface="Human Sans" charset="0"/>
                  <a:cs typeface="Human Sans" charset="0"/>
                </a:rPr>
                <a:t>Diana - QA</a:t>
              </a:r>
            </a:p>
          </p:txBody>
        </p:sp>
      </p:grpSp>
      <p:grpSp>
        <p:nvGrpSpPr>
          <p:cNvPr id="49" name="Group 48">
            <a:extLst>
              <a:ext uri="{FF2B5EF4-FFF2-40B4-BE49-F238E27FC236}">
                <a16:creationId xmlns:a16="http://schemas.microsoft.com/office/drawing/2014/main" id="{2328E9C9-E83C-362D-F6D2-A69E23B0BBA1}"/>
              </a:ext>
            </a:extLst>
          </p:cNvPr>
          <p:cNvGrpSpPr/>
          <p:nvPr/>
        </p:nvGrpSpPr>
        <p:grpSpPr>
          <a:xfrm>
            <a:off x="9953375" y="4368223"/>
            <a:ext cx="914400" cy="1246962"/>
            <a:chOff x="10338849" y="4462008"/>
            <a:chExt cx="914400" cy="1246962"/>
          </a:xfrm>
        </p:grpSpPr>
        <p:pic>
          <p:nvPicPr>
            <p:cNvPr id="50" name="Picture 49" descr="Icon&#10;&#10;Description automatically generated">
              <a:extLst>
                <a:ext uri="{FF2B5EF4-FFF2-40B4-BE49-F238E27FC236}">
                  <a16:creationId xmlns:a16="http://schemas.microsoft.com/office/drawing/2014/main" id="{7664D971-33C2-298C-5CDD-B8E9723F4675}"/>
                </a:ext>
              </a:extLst>
            </p:cNvPr>
            <p:cNvPicPr>
              <a:picLocks noChangeAspect="1"/>
            </p:cNvPicPr>
            <p:nvPr/>
          </p:nvPicPr>
          <p:blipFill>
            <a:blip r:embed="rId10"/>
            <a:stretch>
              <a:fillRect/>
            </a:stretch>
          </p:blipFill>
          <p:spPr>
            <a:xfrm>
              <a:off x="10364679" y="4462008"/>
              <a:ext cx="862741" cy="862741"/>
            </a:xfrm>
            <a:prstGeom prst="rect">
              <a:avLst/>
            </a:prstGeom>
          </p:spPr>
        </p:pic>
        <p:sp>
          <p:nvSpPr>
            <p:cNvPr id="51" name="TextBox 50">
              <a:extLst>
                <a:ext uri="{FF2B5EF4-FFF2-40B4-BE49-F238E27FC236}">
                  <a16:creationId xmlns:a16="http://schemas.microsoft.com/office/drawing/2014/main" id="{FE7FEC11-0F04-314D-D4CF-BB326136E17C}"/>
                </a:ext>
              </a:extLst>
            </p:cNvPr>
            <p:cNvSpPr txBox="1"/>
            <p:nvPr/>
          </p:nvSpPr>
          <p:spPr>
            <a:xfrm>
              <a:off x="10338849" y="5401445"/>
              <a:ext cx="914400" cy="307525"/>
            </a:xfrm>
            <a:prstGeom prst="rect">
              <a:avLst/>
            </a:prstGeom>
            <a:noFill/>
          </p:spPr>
          <p:txBody>
            <a:bodyPr wrap="none" lIns="0" tIns="0" rIns="0" bIns="0" rtlCol="0">
              <a:noAutofit/>
            </a:bodyPr>
            <a:lstStyle/>
            <a:p>
              <a:pPr algn="ctr">
                <a:lnSpc>
                  <a:spcPct val="110000"/>
                </a:lnSpc>
                <a:spcBef>
                  <a:spcPts val="600"/>
                </a:spcBef>
              </a:pPr>
              <a:r>
                <a:rPr lang="en-US" sz="1200" dirty="0">
                  <a:ea typeface="Human Sans" charset="0"/>
                  <a:cs typeface="Human Sans" charset="0"/>
                </a:rPr>
                <a:t>Pavel - DevOps</a:t>
              </a:r>
            </a:p>
          </p:txBody>
        </p:sp>
      </p:grpSp>
    </p:spTree>
    <p:extLst>
      <p:ext uri="{BB962C8B-B14F-4D97-AF65-F5344CB8AC3E}">
        <p14:creationId xmlns:p14="http://schemas.microsoft.com/office/powerpoint/2010/main" val="3332678650"/>
      </p:ext>
    </p:extLst>
  </p:cSld>
  <p:clrMapOvr>
    <a:masterClrMapping/>
  </p:clrMapOvr>
  <p:transition spd="slow">
    <p:push dir="u"/>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3E7B12-94E5-1E8A-9A20-C930CC8426EB}"/>
              </a:ext>
            </a:extLst>
          </p:cNvPr>
          <p:cNvSpPr>
            <a:spLocks noGrp="1"/>
          </p:cNvSpPr>
          <p:nvPr>
            <p:ph type="title"/>
          </p:nvPr>
        </p:nvSpPr>
        <p:spPr>
          <a:xfrm>
            <a:off x="639073" y="1424520"/>
            <a:ext cx="5333999" cy="2462213"/>
          </a:xfrm>
        </p:spPr>
        <p:txBody>
          <a:bodyPr/>
          <a:lstStyle/>
          <a:p>
            <a:r>
              <a:rPr lang="en-US" sz="3200" dirty="0"/>
              <a:t>Rising tension between Adam and Bob is affecting team dynamics.</a:t>
            </a:r>
            <a:br>
              <a:rPr lang="en-US" sz="3200" dirty="0"/>
            </a:br>
            <a:r>
              <a:rPr lang="en-US" sz="3200" dirty="0">
                <a:solidFill>
                  <a:schemeClr val="accent6"/>
                </a:solidFill>
                <a:latin typeface="Calibri" panose="020F0502020204030204" pitchFamily="34" charset="0"/>
                <a:cs typeface="Calibri" panose="020F0502020204030204" pitchFamily="34" charset="0"/>
              </a:rPr>
              <a:t>How will you intervene and address the underlying issues?</a:t>
            </a:r>
          </a:p>
        </p:txBody>
      </p:sp>
      <p:sp>
        <p:nvSpPr>
          <p:cNvPr id="8" name="Text Placeholder 7">
            <a:extLst>
              <a:ext uri="{FF2B5EF4-FFF2-40B4-BE49-F238E27FC236}">
                <a16:creationId xmlns:a16="http://schemas.microsoft.com/office/drawing/2014/main" id="{A33CA039-DE3C-5D85-0DB8-D98A38BFDC35}"/>
              </a:ext>
            </a:extLst>
          </p:cNvPr>
          <p:cNvSpPr>
            <a:spLocks noGrp="1"/>
          </p:cNvSpPr>
          <p:nvPr>
            <p:ph type="body" sz="quarter" idx="28"/>
          </p:nvPr>
        </p:nvSpPr>
        <p:spPr>
          <a:xfrm>
            <a:off x="627063" y="419100"/>
            <a:ext cx="3725862" cy="397732"/>
          </a:xfrm>
        </p:spPr>
        <p:txBody>
          <a:bodyPr>
            <a:normAutofit/>
          </a:bodyPr>
          <a:lstStyle/>
          <a:p>
            <a:r>
              <a:rPr lang="en-US" dirty="0"/>
              <a:t>Team Leadership workshop: USE-cases</a:t>
            </a:r>
          </a:p>
        </p:txBody>
      </p:sp>
      <p:sp>
        <p:nvSpPr>
          <p:cNvPr id="10" name="Text Placeholder 9">
            <a:extLst>
              <a:ext uri="{FF2B5EF4-FFF2-40B4-BE49-F238E27FC236}">
                <a16:creationId xmlns:a16="http://schemas.microsoft.com/office/drawing/2014/main" id="{1F88C411-8C59-AFA3-5C10-11E75FDF9817}"/>
              </a:ext>
            </a:extLst>
          </p:cNvPr>
          <p:cNvSpPr>
            <a:spLocks noGrp="1"/>
          </p:cNvSpPr>
          <p:nvPr>
            <p:ph type="body" sz="quarter" idx="25"/>
          </p:nvPr>
        </p:nvSpPr>
        <p:spPr>
          <a:xfrm>
            <a:off x="627063" y="722843"/>
            <a:ext cx="5100497" cy="338554"/>
          </a:xfrm>
        </p:spPr>
        <p:txBody>
          <a:bodyPr/>
          <a:lstStyle/>
          <a:p>
            <a:r>
              <a:rPr lang="en-US" dirty="0"/>
              <a:t>Case 4: Conflict Resolution Among Team Members</a:t>
            </a:r>
          </a:p>
        </p:txBody>
      </p:sp>
      <p:grpSp>
        <p:nvGrpSpPr>
          <p:cNvPr id="32" name="Group 31">
            <a:extLst>
              <a:ext uri="{FF2B5EF4-FFF2-40B4-BE49-F238E27FC236}">
                <a16:creationId xmlns:a16="http://schemas.microsoft.com/office/drawing/2014/main" id="{38CAE5AD-B9D9-1BE3-D8DA-9F3BAC97EFE3}"/>
              </a:ext>
            </a:extLst>
          </p:cNvPr>
          <p:cNvGrpSpPr/>
          <p:nvPr/>
        </p:nvGrpSpPr>
        <p:grpSpPr>
          <a:xfrm>
            <a:off x="7031633" y="5174495"/>
            <a:ext cx="914400" cy="1507452"/>
            <a:chOff x="7954394" y="5075784"/>
            <a:chExt cx="914400" cy="1507452"/>
          </a:xfrm>
        </p:grpSpPr>
        <p:pic>
          <p:nvPicPr>
            <p:cNvPr id="33" name="Picture 32" descr="Icon&#10;&#10;Description automatically generated">
              <a:extLst>
                <a:ext uri="{FF2B5EF4-FFF2-40B4-BE49-F238E27FC236}">
                  <a16:creationId xmlns:a16="http://schemas.microsoft.com/office/drawing/2014/main" id="{2F838510-22B0-4FBB-C199-A585524A88F1}"/>
                </a:ext>
              </a:extLst>
            </p:cNvPr>
            <p:cNvPicPr>
              <a:picLocks noChangeAspect="1"/>
            </p:cNvPicPr>
            <p:nvPr/>
          </p:nvPicPr>
          <p:blipFill>
            <a:blip r:embed="rId3"/>
            <a:stretch>
              <a:fillRect/>
            </a:stretch>
          </p:blipFill>
          <p:spPr>
            <a:xfrm>
              <a:off x="7974887" y="5075784"/>
              <a:ext cx="862741" cy="1133067"/>
            </a:xfrm>
            <a:prstGeom prst="rect">
              <a:avLst/>
            </a:prstGeom>
          </p:spPr>
        </p:pic>
        <p:sp>
          <p:nvSpPr>
            <p:cNvPr id="34" name="TextBox 33">
              <a:extLst>
                <a:ext uri="{FF2B5EF4-FFF2-40B4-BE49-F238E27FC236}">
                  <a16:creationId xmlns:a16="http://schemas.microsoft.com/office/drawing/2014/main" id="{587F560B-62C0-B867-EC11-79B4C360893D}"/>
                </a:ext>
              </a:extLst>
            </p:cNvPr>
            <p:cNvSpPr txBox="1"/>
            <p:nvPr/>
          </p:nvSpPr>
          <p:spPr>
            <a:xfrm>
              <a:off x="7954394" y="6275711"/>
              <a:ext cx="914400" cy="307525"/>
            </a:xfrm>
            <a:prstGeom prst="rect">
              <a:avLst/>
            </a:prstGeom>
            <a:noFill/>
          </p:spPr>
          <p:txBody>
            <a:bodyPr wrap="none" lIns="0" tIns="0" rIns="0" bIns="0" rtlCol="0">
              <a:noAutofit/>
            </a:bodyPr>
            <a:lstStyle/>
            <a:p>
              <a:pPr algn="ctr">
                <a:lnSpc>
                  <a:spcPct val="110000"/>
                </a:lnSpc>
                <a:spcBef>
                  <a:spcPts val="600"/>
                </a:spcBef>
              </a:pPr>
              <a:r>
                <a:rPr lang="en-US" sz="1200" dirty="0">
                  <a:ea typeface="Human Sans" charset="0"/>
                  <a:cs typeface="Human Sans" charset="0"/>
                </a:rPr>
                <a:t>You</a:t>
              </a:r>
            </a:p>
          </p:txBody>
        </p:sp>
      </p:grpSp>
      <p:sp>
        <p:nvSpPr>
          <p:cNvPr id="35" name="Speech Bubble: Rectangle 34">
            <a:extLst>
              <a:ext uri="{FF2B5EF4-FFF2-40B4-BE49-F238E27FC236}">
                <a16:creationId xmlns:a16="http://schemas.microsoft.com/office/drawing/2014/main" id="{5A3D9C85-096D-77E0-F8FF-1459C0ADD876}"/>
              </a:ext>
            </a:extLst>
          </p:cNvPr>
          <p:cNvSpPr/>
          <p:nvPr/>
        </p:nvSpPr>
        <p:spPr bwMode="auto">
          <a:xfrm>
            <a:off x="7697873" y="4555837"/>
            <a:ext cx="396301" cy="551798"/>
          </a:xfrm>
          <a:prstGeom prst="wedgeRectCallout">
            <a:avLst/>
          </a:prstGeom>
          <a:ln/>
        </p:spPr>
        <p:style>
          <a:lnRef idx="2">
            <a:schemeClr val="dk1"/>
          </a:lnRef>
          <a:fillRef idx="1">
            <a:schemeClr val="lt1"/>
          </a:fillRef>
          <a:effectRef idx="0">
            <a:schemeClr val="dk1"/>
          </a:effectRef>
          <a:fontRef idx="minor">
            <a:schemeClr val="dk1"/>
          </a:fontRef>
        </p:style>
        <p:txBody>
          <a:bodyPr wrap="none" rtlCol="0" anchor="ctr"/>
          <a:lstStyle/>
          <a:p>
            <a:pPr algn="ctr"/>
            <a:r>
              <a:rPr lang="en-US" sz="2000" dirty="0">
                <a:ln w="0"/>
                <a:solidFill>
                  <a:schemeClr val="tx1"/>
                </a:solidFill>
                <a:effectLst>
                  <a:outerShdw blurRad="38100" dist="19050" dir="2700000" algn="tl" rotWithShape="0">
                    <a:schemeClr val="dk1">
                      <a:alpha val="40000"/>
                    </a:schemeClr>
                  </a:outerShdw>
                </a:effectLst>
                <a:latin typeface="Calibri Light" panose="020F0302020204030204" pitchFamily="34" charset="0"/>
                <a:ea typeface="Human Sans ExtraLight" charset="0"/>
                <a:cs typeface="Human Sans ExtraLight" charset="0"/>
              </a:rPr>
              <a:t>?</a:t>
            </a:r>
            <a:endParaRPr lang="en-US" sz="2000" dirty="0">
              <a:solidFill>
                <a:schemeClr val="bg1"/>
              </a:solidFill>
              <a:latin typeface="Calibri Light" panose="020F0302020204030204" pitchFamily="34" charset="0"/>
              <a:ea typeface="Human Sans ExtraLight" charset="0"/>
              <a:cs typeface="Human Sans ExtraLight" charset="0"/>
            </a:endParaRPr>
          </a:p>
        </p:txBody>
      </p:sp>
      <p:grpSp>
        <p:nvGrpSpPr>
          <p:cNvPr id="4" name="Group 3">
            <a:extLst>
              <a:ext uri="{FF2B5EF4-FFF2-40B4-BE49-F238E27FC236}">
                <a16:creationId xmlns:a16="http://schemas.microsoft.com/office/drawing/2014/main" id="{BB4845E9-5781-3F39-B75A-F8107484E395}"/>
              </a:ext>
            </a:extLst>
          </p:cNvPr>
          <p:cNvGrpSpPr/>
          <p:nvPr/>
        </p:nvGrpSpPr>
        <p:grpSpPr>
          <a:xfrm>
            <a:off x="8827288" y="550438"/>
            <a:ext cx="923632" cy="1258357"/>
            <a:chOff x="9278671" y="722843"/>
            <a:chExt cx="923632" cy="1258357"/>
          </a:xfrm>
        </p:grpSpPr>
        <p:pic>
          <p:nvPicPr>
            <p:cNvPr id="5" name="Picture 4" descr="Icon&#10;&#10;Description automatically generated">
              <a:extLst>
                <a:ext uri="{FF2B5EF4-FFF2-40B4-BE49-F238E27FC236}">
                  <a16:creationId xmlns:a16="http://schemas.microsoft.com/office/drawing/2014/main" id="{551DFBEF-7F97-AFC6-553C-1B3BBF9FFF2B}"/>
                </a:ext>
              </a:extLst>
            </p:cNvPr>
            <p:cNvPicPr>
              <a:picLocks noChangeAspect="1"/>
            </p:cNvPicPr>
            <p:nvPr/>
          </p:nvPicPr>
          <p:blipFill>
            <a:blip r:embed="rId4"/>
            <a:stretch>
              <a:fillRect/>
            </a:stretch>
          </p:blipFill>
          <p:spPr>
            <a:xfrm>
              <a:off x="9278671" y="722843"/>
              <a:ext cx="862741" cy="862741"/>
            </a:xfrm>
            <a:prstGeom prst="rect">
              <a:avLst/>
            </a:prstGeom>
          </p:spPr>
        </p:pic>
        <p:sp>
          <p:nvSpPr>
            <p:cNvPr id="6" name="TextBox 5">
              <a:extLst>
                <a:ext uri="{FF2B5EF4-FFF2-40B4-BE49-F238E27FC236}">
                  <a16:creationId xmlns:a16="http://schemas.microsoft.com/office/drawing/2014/main" id="{787D0E6B-D589-01B3-A6E4-63C68B64DD65}"/>
                </a:ext>
              </a:extLst>
            </p:cNvPr>
            <p:cNvSpPr txBox="1"/>
            <p:nvPr/>
          </p:nvSpPr>
          <p:spPr>
            <a:xfrm>
              <a:off x="9287903" y="1673675"/>
              <a:ext cx="914400" cy="307525"/>
            </a:xfrm>
            <a:prstGeom prst="rect">
              <a:avLst/>
            </a:prstGeom>
            <a:noFill/>
          </p:spPr>
          <p:txBody>
            <a:bodyPr wrap="none" lIns="0" tIns="0" rIns="0" bIns="0" rtlCol="0">
              <a:noAutofit/>
            </a:bodyPr>
            <a:lstStyle/>
            <a:p>
              <a:pPr algn="ctr">
                <a:lnSpc>
                  <a:spcPct val="110000"/>
                </a:lnSpc>
                <a:spcBef>
                  <a:spcPts val="600"/>
                </a:spcBef>
              </a:pPr>
              <a:r>
                <a:rPr lang="en-US" sz="1200" dirty="0">
                  <a:ea typeface="Human Sans" charset="0"/>
                  <a:cs typeface="Human Sans" charset="0"/>
                </a:rPr>
                <a:t>Dean - SM</a:t>
              </a:r>
            </a:p>
          </p:txBody>
        </p:sp>
      </p:grpSp>
      <p:grpSp>
        <p:nvGrpSpPr>
          <p:cNvPr id="7" name="Group 6">
            <a:extLst>
              <a:ext uri="{FF2B5EF4-FFF2-40B4-BE49-F238E27FC236}">
                <a16:creationId xmlns:a16="http://schemas.microsoft.com/office/drawing/2014/main" id="{84309EC9-FF7E-8DB6-3B0A-F24E5005367D}"/>
              </a:ext>
            </a:extLst>
          </p:cNvPr>
          <p:cNvGrpSpPr/>
          <p:nvPr/>
        </p:nvGrpSpPr>
        <p:grpSpPr>
          <a:xfrm>
            <a:off x="7748640" y="1590899"/>
            <a:ext cx="914400" cy="1280310"/>
            <a:chOff x="7949057" y="1717959"/>
            <a:chExt cx="914400" cy="1280310"/>
          </a:xfrm>
        </p:grpSpPr>
        <p:pic>
          <p:nvPicPr>
            <p:cNvPr id="9" name="Picture 8" descr="Icon, circle&#10;&#10;Description automatically generated">
              <a:extLst>
                <a:ext uri="{FF2B5EF4-FFF2-40B4-BE49-F238E27FC236}">
                  <a16:creationId xmlns:a16="http://schemas.microsoft.com/office/drawing/2014/main" id="{38E0BDAB-5373-19C6-6F91-35D85857A5DD}"/>
                </a:ext>
              </a:extLst>
            </p:cNvPr>
            <p:cNvPicPr>
              <a:picLocks noChangeAspect="1"/>
            </p:cNvPicPr>
            <p:nvPr/>
          </p:nvPicPr>
          <p:blipFill>
            <a:blip r:embed="rId5"/>
            <a:stretch>
              <a:fillRect/>
            </a:stretch>
          </p:blipFill>
          <p:spPr>
            <a:xfrm>
              <a:off x="7974889" y="1717959"/>
              <a:ext cx="862741" cy="862741"/>
            </a:xfrm>
            <a:prstGeom prst="ellipse">
              <a:avLst/>
            </a:prstGeom>
            <a:ln w="63500" cap="rnd">
              <a:solidFill>
                <a:srgbClr val="FF0000"/>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sp>
          <p:nvSpPr>
            <p:cNvPr id="36" name="TextBox 35">
              <a:extLst>
                <a:ext uri="{FF2B5EF4-FFF2-40B4-BE49-F238E27FC236}">
                  <a16:creationId xmlns:a16="http://schemas.microsoft.com/office/drawing/2014/main" id="{EF22CD6A-7350-B784-9FA5-1629B4C3CE31}"/>
                </a:ext>
              </a:extLst>
            </p:cNvPr>
            <p:cNvSpPr txBox="1"/>
            <p:nvPr/>
          </p:nvSpPr>
          <p:spPr>
            <a:xfrm>
              <a:off x="7949057" y="2690744"/>
              <a:ext cx="914400" cy="307525"/>
            </a:xfrm>
            <a:prstGeom prst="rect">
              <a:avLst/>
            </a:prstGeom>
            <a:noFill/>
            <a:ln>
              <a:solidFill>
                <a:srgbClr val="FF0000"/>
              </a:solidFill>
            </a:ln>
          </p:spPr>
          <p:txBody>
            <a:bodyPr wrap="none" lIns="0" tIns="0" rIns="0" bIns="0" rtlCol="0">
              <a:noAutofit/>
            </a:bodyPr>
            <a:lstStyle/>
            <a:p>
              <a:pPr algn="ctr">
                <a:lnSpc>
                  <a:spcPct val="110000"/>
                </a:lnSpc>
                <a:spcBef>
                  <a:spcPts val="600"/>
                </a:spcBef>
              </a:pPr>
              <a:r>
                <a:rPr lang="en-US" sz="1200" dirty="0">
                  <a:ea typeface="Human Sans" charset="0"/>
                  <a:cs typeface="Human Sans" charset="0"/>
                </a:rPr>
                <a:t>Adam – SD</a:t>
              </a:r>
            </a:p>
          </p:txBody>
        </p:sp>
      </p:grpSp>
      <p:grpSp>
        <p:nvGrpSpPr>
          <p:cNvPr id="37" name="Group 36">
            <a:extLst>
              <a:ext uri="{FF2B5EF4-FFF2-40B4-BE49-F238E27FC236}">
                <a16:creationId xmlns:a16="http://schemas.microsoft.com/office/drawing/2014/main" id="{15401A2B-13DF-F884-07EA-990F72A86F8E}"/>
              </a:ext>
            </a:extLst>
          </p:cNvPr>
          <p:cNvGrpSpPr/>
          <p:nvPr/>
        </p:nvGrpSpPr>
        <p:grpSpPr>
          <a:xfrm>
            <a:off x="9940995" y="1630369"/>
            <a:ext cx="926780" cy="1257253"/>
            <a:chOff x="10327938" y="1717960"/>
            <a:chExt cx="926780" cy="1257253"/>
          </a:xfrm>
        </p:grpSpPr>
        <p:pic>
          <p:nvPicPr>
            <p:cNvPr id="38" name="Picture 37" descr="Icon&#10;&#10;Description automatically generated">
              <a:extLst>
                <a:ext uri="{FF2B5EF4-FFF2-40B4-BE49-F238E27FC236}">
                  <a16:creationId xmlns:a16="http://schemas.microsoft.com/office/drawing/2014/main" id="{18881A4B-8FB3-CD52-49B2-C568CC61DE34}"/>
                </a:ext>
              </a:extLst>
            </p:cNvPr>
            <p:cNvPicPr>
              <a:picLocks noChangeAspect="1"/>
            </p:cNvPicPr>
            <p:nvPr/>
          </p:nvPicPr>
          <p:blipFill>
            <a:blip r:embed="rId6"/>
            <a:stretch>
              <a:fillRect/>
            </a:stretch>
          </p:blipFill>
          <p:spPr>
            <a:xfrm>
              <a:off x="10327938" y="1717960"/>
              <a:ext cx="862741" cy="862741"/>
            </a:xfrm>
            <a:prstGeom prst="rect">
              <a:avLst/>
            </a:prstGeom>
          </p:spPr>
        </p:pic>
        <p:sp>
          <p:nvSpPr>
            <p:cNvPr id="39" name="TextBox 38">
              <a:extLst>
                <a:ext uri="{FF2B5EF4-FFF2-40B4-BE49-F238E27FC236}">
                  <a16:creationId xmlns:a16="http://schemas.microsoft.com/office/drawing/2014/main" id="{123AC138-EB9B-5AF0-1D25-C569E570C2DA}"/>
                </a:ext>
              </a:extLst>
            </p:cNvPr>
            <p:cNvSpPr txBox="1"/>
            <p:nvPr/>
          </p:nvSpPr>
          <p:spPr>
            <a:xfrm>
              <a:off x="10340318" y="2667688"/>
              <a:ext cx="914400" cy="307525"/>
            </a:xfrm>
            <a:prstGeom prst="rect">
              <a:avLst/>
            </a:prstGeom>
            <a:noFill/>
          </p:spPr>
          <p:txBody>
            <a:bodyPr wrap="none" lIns="0" tIns="0" rIns="0" bIns="0" rtlCol="0">
              <a:noAutofit/>
            </a:bodyPr>
            <a:lstStyle/>
            <a:p>
              <a:pPr algn="ctr">
                <a:lnSpc>
                  <a:spcPct val="110000"/>
                </a:lnSpc>
                <a:spcBef>
                  <a:spcPts val="600"/>
                </a:spcBef>
              </a:pPr>
              <a:r>
                <a:rPr lang="en-US" sz="1200" dirty="0">
                  <a:ea typeface="Human Sans" charset="0"/>
                  <a:cs typeface="Human Sans" charset="0"/>
                </a:rPr>
                <a:t>Mary – PO/BA</a:t>
              </a:r>
            </a:p>
          </p:txBody>
        </p:sp>
      </p:grpSp>
      <p:grpSp>
        <p:nvGrpSpPr>
          <p:cNvPr id="40" name="Group 39">
            <a:extLst>
              <a:ext uri="{FF2B5EF4-FFF2-40B4-BE49-F238E27FC236}">
                <a16:creationId xmlns:a16="http://schemas.microsoft.com/office/drawing/2014/main" id="{B0B1EFE6-25B8-46DF-22EF-47268626D5DA}"/>
              </a:ext>
            </a:extLst>
          </p:cNvPr>
          <p:cNvGrpSpPr/>
          <p:nvPr/>
        </p:nvGrpSpPr>
        <p:grpSpPr>
          <a:xfrm>
            <a:off x="7610190" y="2962921"/>
            <a:ext cx="933043" cy="1261978"/>
            <a:chOff x="7810607" y="3089981"/>
            <a:chExt cx="933043" cy="1261978"/>
          </a:xfrm>
        </p:grpSpPr>
        <p:pic>
          <p:nvPicPr>
            <p:cNvPr id="41" name="Picture 40" descr="Icon&#10;&#10;Description automatically generated">
              <a:extLst>
                <a:ext uri="{FF2B5EF4-FFF2-40B4-BE49-F238E27FC236}">
                  <a16:creationId xmlns:a16="http://schemas.microsoft.com/office/drawing/2014/main" id="{5D679CD3-BC09-9870-C144-64E4120FF3EE}"/>
                </a:ext>
              </a:extLst>
            </p:cNvPr>
            <p:cNvPicPr>
              <a:picLocks noChangeAspect="1"/>
            </p:cNvPicPr>
            <p:nvPr/>
          </p:nvPicPr>
          <p:blipFill>
            <a:blip r:embed="rId7"/>
            <a:stretch>
              <a:fillRect/>
            </a:stretch>
          </p:blipFill>
          <p:spPr>
            <a:xfrm>
              <a:off x="7810607" y="3089981"/>
              <a:ext cx="862741" cy="862741"/>
            </a:xfrm>
            <a:prstGeom prst="ellipse">
              <a:avLst/>
            </a:prstGeom>
            <a:ln w="63500" cap="rnd">
              <a:solidFill>
                <a:srgbClr val="FF0000"/>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sp>
          <p:nvSpPr>
            <p:cNvPr id="42" name="TextBox 41">
              <a:extLst>
                <a:ext uri="{FF2B5EF4-FFF2-40B4-BE49-F238E27FC236}">
                  <a16:creationId xmlns:a16="http://schemas.microsoft.com/office/drawing/2014/main" id="{C888D0DC-3138-63C0-086D-2383C730CE89}"/>
                </a:ext>
              </a:extLst>
            </p:cNvPr>
            <p:cNvSpPr txBox="1"/>
            <p:nvPr/>
          </p:nvSpPr>
          <p:spPr>
            <a:xfrm>
              <a:off x="7829250" y="4044434"/>
              <a:ext cx="914400" cy="307525"/>
            </a:xfrm>
            <a:prstGeom prst="rect">
              <a:avLst/>
            </a:prstGeom>
            <a:noFill/>
            <a:ln>
              <a:solidFill>
                <a:srgbClr val="FF0000"/>
              </a:solidFill>
            </a:ln>
          </p:spPr>
          <p:txBody>
            <a:bodyPr wrap="none" lIns="0" tIns="0" rIns="0" bIns="0" rtlCol="0">
              <a:noAutofit/>
            </a:bodyPr>
            <a:lstStyle/>
            <a:p>
              <a:pPr algn="ctr">
                <a:lnSpc>
                  <a:spcPct val="110000"/>
                </a:lnSpc>
                <a:spcBef>
                  <a:spcPts val="600"/>
                </a:spcBef>
              </a:pPr>
              <a:r>
                <a:rPr lang="en-US" sz="1200" dirty="0">
                  <a:ea typeface="Human Sans" charset="0"/>
                  <a:cs typeface="Human Sans" charset="0"/>
                </a:rPr>
                <a:t>Bob – MD</a:t>
              </a:r>
            </a:p>
          </p:txBody>
        </p:sp>
      </p:grpSp>
      <p:grpSp>
        <p:nvGrpSpPr>
          <p:cNvPr id="43" name="Group 42">
            <a:extLst>
              <a:ext uri="{FF2B5EF4-FFF2-40B4-BE49-F238E27FC236}">
                <a16:creationId xmlns:a16="http://schemas.microsoft.com/office/drawing/2014/main" id="{D57BE348-96F4-A86B-766A-69EE3A26BD5F}"/>
              </a:ext>
            </a:extLst>
          </p:cNvPr>
          <p:cNvGrpSpPr/>
          <p:nvPr/>
        </p:nvGrpSpPr>
        <p:grpSpPr>
          <a:xfrm>
            <a:off x="8656115" y="2962922"/>
            <a:ext cx="914400" cy="1265709"/>
            <a:chOff x="8856532" y="3089982"/>
            <a:chExt cx="914400" cy="1265709"/>
          </a:xfrm>
        </p:grpSpPr>
        <p:pic>
          <p:nvPicPr>
            <p:cNvPr id="44" name="Picture 43" descr="Icon&#10;&#10;Description automatically generated">
              <a:extLst>
                <a:ext uri="{FF2B5EF4-FFF2-40B4-BE49-F238E27FC236}">
                  <a16:creationId xmlns:a16="http://schemas.microsoft.com/office/drawing/2014/main" id="{74801FF4-2909-3002-3F91-24C62642132B}"/>
                </a:ext>
              </a:extLst>
            </p:cNvPr>
            <p:cNvPicPr>
              <a:picLocks noChangeAspect="1"/>
            </p:cNvPicPr>
            <p:nvPr/>
          </p:nvPicPr>
          <p:blipFill>
            <a:blip r:embed="rId8"/>
            <a:stretch>
              <a:fillRect/>
            </a:stretch>
          </p:blipFill>
          <p:spPr>
            <a:xfrm>
              <a:off x="8882362" y="3089982"/>
              <a:ext cx="862741" cy="862741"/>
            </a:xfrm>
            <a:prstGeom prst="rect">
              <a:avLst/>
            </a:prstGeom>
          </p:spPr>
        </p:pic>
        <p:sp>
          <p:nvSpPr>
            <p:cNvPr id="45" name="TextBox 44">
              <a:extLst>
                <a:ext uri="{FF2B5EF4-FFF2-40B4-BE49-F238E27FC236}">
                  <a16:creationId xmlns:a16="http://schemas.microsoft.com/office/drawing/2014/main" id="{B85FC62E-3972-030F-18E0-640C16D623C7}"/>
                </a:ext>
              </a:extLst>
            </p:cNvPr>
            <p:cNvSpPr txBox="1"/>
            <p:nvPr/>
          </p:nvSpPr>
          <p:spPr>
            <a:xfrm>
              <a:off x="8856532" y="4048166"/>
              <a:ext cx="914400" cy="307525"/>
            </a:xfrm>
            <a:prstGeom prst="rect">
              <a:avLst/>
            </a:prstGeom>
            <a:noFill/>
          </p:spPr>
          <p:txBody>
            <a:bodyPr wrap="none" lIns="0" tIns="0" rIns="0" bIns="0" rtlCol="0">
              <a:noAutofit/>
            </a:bodyPr>
            <a:lstStyle/>
            <a:p>
              <a:pPr algn="ctr">
                <a:lnSpc>
                  <a:spcPct val="110000"/>
                </a:lnSpc>
                <a:spcBef>
                  <a:spcPts val="600"/>
                </a:spcBef>
              </a:pPr>
              <a:r>
                <a:rPr lang="en-US" sz="1200" dirty="0">
                  <a:ea typeface="Human Sans" charset="0"/>
                  <a:cs typeface="Human Sans" charset="0"/>
                </a:rPr>
                <a:t>Eva - JD</a:t>
              </a:r>
            </a:p>
          </p:txBody>
        </p:sp>
      </p:grpSp>
      <p:grpSp>
        <p:nvGrpSpPr>
          <p:cNvPr id="46" name="Group 45">
            <a:extLst>
              <a:ext uri="{FF2B5EF4-FFF2-40B4-BE49-F238E27FC236}">
                <a16:creationId xmlns:a16="http://schemas.microsoft.com/office/drawing/2014/main" id="{3EA658B8-54F8-A019-9430-44555FE20C4C}"/>
              </a:ext>
            </a:extLst>
          </p:cNvPr>
          <p:cNvGrpSpPr/>
          <p:nvPr/>
        </p:nvGrpSpPr>
        <p:grpSpPr>
          <a:xfrm>
            <a:off x="9915165" y="2962922"/>
            <a:ext cx="914400" cy="1285035"/>
            <a:chOff x="10115582" y="3089982"/>
            <a:chExt cx="914400" cy="1285035"/>
          </a:xfrm>
        </p:grpSpPr>
        <p:pic>
          <p:nvPicPr>
            <p:cNvPr id="47" name="Picture 46" descr="Icon&#10;&#10;Description automatically generated">
              <a:extLst>
                <a:ext uri="{FF2B5EF4-FFF2-40B4-BE49-F238E27FC236}">
                  <a16:creationId xmlns:a16="http://schemas.microsoft.com/office/drawing/2014/main" id="{7F723980-9F86-DB0F-2C39-652042288F24}"/>
                </a:ext>
              </a:extLst>
            </p:cNvPr>
            <p:cNvPicPr>
              <a:picLocks noChangeAspect="1"/>
            </p:cNvPicPr>
            <p:nvPr/>
          </p:nvPicPr>
          <p:blipFill>
            <a:blip r:embed="rId9"/>
            <a:stretch>
              <a:fillRect/>
            </a:stretch>
          </p:blipFill>
          <p:spPr>
            <a:xfrm>
              <a:off x="10141412" y="3089982"/>
              <a:ext cx="862741" cy="862741"/>
            </a:xfrm>
            <a:prstGeom prst="rect">
              <a:avLst/>
            </a:prstGeom>
          </p:spPr>
        </p:pic>
        <p:sp>
          <p:nvSpPr>
            <p:cNvPr id="48" name="TextBox 47">
              <a:extLst>
                <a:ext uri="{FF2B5EF4-FFF2-40B4-BE49-F238E27FC236}">
                  <a16:creationId xmlns:a16="http://schemas.microsoft.com/office/drawing/2014/main" id="{A41BCC08-3034-1F8B-3F21-EECBD65EB641}"/>
                </a:ext>
              </a:extLst>
            </p:cNvPr>
            <p:cNvSpPr txBox="1"/>
            <p:nvPr/>
          </p:nvSpPr>
          <p:spPr>
            <a:xfrm>
              <a:off x="10115582" y="4067492"/>
              <a:ext cx="914400" cy="307525"/>
            </a:xfrm>
            <a:prstGeom prst="rect">
              <a:avLst/>
            </a:prstGeom>
            <a:noFill/>
          </p:spPr>
          <p:txBody>
            <a:bodyPr wrap="none" lIns="0" tIns="0" rIns="0" bIns="0" rtlCol="0">
              <a:noAutofit/>
            </a:bodyPr>
            <a:lstStyle/>
            <a:p>
              <a:pPr algn="ctr">
                <a:lnSpc>
                  <a:spcPct val="110000"/>
                </a:lnSpc>
                <a:spcBef>
                  <a:spcPts val="600"/>
                </a:spcBef>
              </a:pPr>
              <a:r>
                <a:rPr lang="en-US" sz="1200" dirty="0">
                  <a:ea typeface="Human Sans" charset="0"/>
                  <a:cs typeface="Human Sans" charset="0"/>
                </a:rPr>
                <a:t>Diana - QA</a:t>
              </a:r>
            </a:p>
          </p:txBody>
        </p:sp>
      </p:grpSp>
      <p:grpSp>
        <p:nvGrpSpPr>
          <p:cNvPr id="49" name="Group 48">
            <a:extLst>
              <a:ext uri="{FF2B5EF4-FFF2-40B4-BE49-F238E27FC236}">
                <a16:creationId xmlns:a16="http://schemas.microsoft.com/office/drawing/2014/main" id="{2328E9C9-E83C-362D-F6D2-A69E23B0BBA1}"/>
              </a:ext>
            </a:extLst>
          </p:cNvPr>
          <p:cNvGrpSpPr/>
          <p:nvPr/>
        </p:nvGrpSpPr>
        <p:grpSpPr>
          <a:xfrm>
            <a:off x="9953375" y="4368223"/>
            <a:ext cx="914400" cy="1246962"/>
            <a:chOff x="10338849" y="4462008"/>
            <a:chExt cx="914400" cy="1246962"/>
          </a:xfrm>
        </p:grpSpPr>
        <p:pic>
          <p:nvPicPr>
            <p:cNvPr id="50" name="Picture 49" descr="Icon&#10;&#10;Description automatically generated">
              <a:extLst>
                <a:ext uri="{FF2B5EF4-FFF2-40B4-BE49-F238E27FC236}">
                  <a16:creationId xmlns:a16="http://schemas.microsoft.com/office/drawing/2014/main" id="{7664D971-33C2-298C-5CDD-B8E9723F4675}"/>
                </a:ext>
              </a:extLst>
            </p:cNvPr>
            <p:cNvPicPr>
              <a:picLocks noChangeAspect="1"/>
            </p:cNvPicPr>
            <p:nvPr/>
          </p:nvPicPr>
          <p:blipFill>
            <a:blip r:embed="rId10"/>
            <a:stretch>
              <a:fillRect/>
            </a:stretch>
          </p:blipFill>
          <p:spPr>
            <a:xfrm>
              <a:off x="10364679" y="4462008"/>
              <a:ext cx="862741" cy="862741"/>
            </a:xfrm>
            <a:prstGeom prst="rect">
              <a:avLst/>
            </a:prstGeom>
          </p:spPr>
        </p:pic>
        <p:sp>
          <p:nvSpPr>
            <p:cNvPr id="51" name="TextBox 50">
              <a:extLst>
                <a:ext uri="{FF2B5EF4-FFF2-40B4-BE49-F238E27FC236}">
                  <a16:creationId xmlns:a16="http://schemas.microsoft.com/office/drawing/2014/main" id="{FE7FEC11-0F04-314D-D4CF-BB326136E17C}"/>
                </a:ext>
              </a:extLst>
            </p:cNvPr>
            <p:cNvSpPr txBox="1"/>
            <p:nvPr/>
          </p:nvSpPr>
          <p:spPr>
            <a:xfrm>
              <a:off x="10338849" y="5401445"/>
              <a:ext cx="914400" cy="307525"/>
            </a:xfrm>
            <a:prstGeom prst="rect">
              <a:avLst/>
            </a:prstGeom>
            <a:noFill/>
          </p:spPr>
          <p:txBody>
            <a:bodyPr wrap="none" lIns="0" tIns="0" rIns="0" bIns="0" rtlCol="0">
              <a:noAutofit/>
            </a:bodyPr>
            <a:lstStyle/>
            <a:p>
              <a:pPr algn="ctr">
                <a:lnSpc>
                  <a:spcPct val="110000"/>
                </a:lnSpc>
                <a:spcBef>
                  <a:spcPts val="600"/>
                </a:spcBef>
              </a:pPr>
              <a:r>
                <a:rPr lang="en-US" sz="1200" dirty="0">
                  <a:ea typeface="Human Sans" charset="0"/>
                  <a:cs typeface="Human Sans" charset="0"/>
                </a:rPr>
                <a:t>Pavel - DevOps</a:t>
              </a:r>
            </a:p>
          </p:txBody>
        </p:sp>
      </p:grpSp>
    </p:spTree>
    <p:extLst>
      <p:ext uri="{BB962C8B-B14F-4D97-AF65-F5344CB8AC3E}">
        <p14:creationId xmlns:p14="http://schemas.microsoft.com/office/powerpoint/2010/main" val="1619210280"/>
      </p:ext>
    </p:extLst>
  </p:cSld>
  <p:clrMapOvr>
    <a:masterClrMapping/>
  </p:clrMapOvr>
  <p:transition spd="slow">
    <p:push dir="u"/>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3E7B12-94E5-1E8A-9A20-C930CC8426EB}"/>
              </a:ext>
            </a:extLst>
          </p:cNvPr>
          <p:cNvSpPr>
            <a:spLocks noGrp="1"/>
          </p:cNvSpPr>
          <p:nvPr>
            <p:ph type="title"/>
          </p:nvPr>
        </p:nvSpPr>
        <p:spPr>
          <a:xfrm>
            <a:off x="639073" y="1424520"/>
            <a:ext cx="5333999" cy="2462213"/>
          </a:xfrm>
        </p:spPr>
        <p:txBody>
          <a:bodyPr/>
          <a:lstStyle/>
          <a:p>
            <a:r>
              <a:rPr lang="en-US" sz="3200" dirty="0"/>
              <a:t>Diana reports recurrent issues with features breaking after updates.</a:t>
            </a:r>
            <a:br>
              <a:rPr lang="en-US" sz="3200" dirty="0"/>
            </a:br>
            <a:r>
              <a:rPr lang="en-US" sz="3200" dirty="0">
                <a:solidFill>
                  <a:schemeClr val="accent6"/>
                </a:solidFill>
                <a:latin typeface="Calibri" panose="020F0502020204030204" pitchFamily="34" charset="0"/>
                <a:cs typeface="Calibri" panose="020F0502020204030204" pitchFamily="34" charset="0"/>
              </a:rPr>
              <a:t>What strategies will you implement to tackle this?</a:t>
            </a:r>
          </a:p>
        </p:txBody>
      </p:sp>
      <p:sp>
        <p:nvSpPr>
          <p:cNvPr id="8" name="Text Placeholder 7">
            <a:extLst>
              <a:ext uri="{FF2B5EF4-FFF2-40B4-BE49-F238E27FC236}">
                <a16:creationId xmlns:a16="http://schemas.microsoft.com/office/drawing/2014/main" id="{A33CA039-DE3C-5D85-0DB8-D98A38BFDC35}"/>
              </a:ext>
            </a:extLst>
          </p:cNvPr>
          <p:cNvSpPr>
            <a:spLocks noGrp="1"/>
          </p:cNvSpPr>
          <p:nvPr>
            <p:ph type="body" sz="quarter" idx="28"/>
          </p:nvPr>
        </p:nvSpPr>
        <p:spPr>
          <a:xfrm>
            <a:off x="627063" y="419100"/>
            <a:ext cx="3725862" cy="397732"/>
          </a:xfrm>
        </p:spPr>
        <p:txBody>
          <a:bodyPr>
            <a:normAutofit/>
          </a:bodyPr>
          <a:lstStyle/>
          <a:p>
            <a:r>
              <a:rPr lang="en-US" dirty="0"/>
              <a:t>Team Leadership workshop: USE-cases</a:t>
            </a:r>
          </a:p>
        </p:txBody>
      </p:sp>
      <p:sp>
        <p:nvSpPr>
          <p:cNvPr id="10" name="Text Placeholder 9">
            <a:extLst>
              <a:ext uri="{FF2B5EF4-FFF2-40B4-BE49-F238E27FC236}">
                <a16:creationId xmlns:a16="http://schemas.microsoft.com/office/drawing/2014/main" id="{1F88C411-8C59-AFA3-5C10-11E75FDF9817}"/>
              </a:ext>
            </a:extLst>
          </p:cNvPr>
          <p:cNvSpPr>
            <a:spLocks noGrp="1"/>
          </p:cNvSpPr>
          <p:nvPr>
            <p:ph type="body" sz="quarter" idx="25"/>
          </p:nvPr>
        </p:nvSpPr>
        <p:spPr>
          <a:xfrm>
            <a:off x="627063" y="722843"/>
            <a:ext cx="4869385" cy="338554"/>
          </a:xfrm>
        </p:spPr>
        <p:txBody>
          <a:bodyPr/>
          <a:lstStyle/>
          <a:p>
            <a:r>
              <a:rPr lang="en-US" dirty="0"/>
              <a:t>Case 5.1: Quality Assurance Adaptations</a:t>
            </a:r>
          </a:p>
        </p:txBody>
      </p:sp>
      <p:grpSp>
        <p:nvGrpSpPr>
          <p:cNvPr id="32" name="Group 31">
            <a:extLst>
              <a:ext uri="{FF2B5EF4-FFF2-40B4-BE49-F238E27FC236}">
                <a16:creationId xmlns:a16="http://schemas.microsoft.com/office/drawing/2014/main" id="{38CAE5AD-B9D9-1BE3-D8DA-9F3BAC97EFE3}"/>
              </a:ext>
            </a:extLst>
          </p:cNvPr>
          <p:cNvGrpSpPr/>
          <p:nvPr/>
        </p:nvGrpSpPr>
        <p:grpSpPr>
          <a:xfrm>
            <a:off x="7031633" y="5174495"/>
            <a:ext cx="914400" cy="1507452"/>
            <a:chOff x="7954394" y="5075784"/>
            <a:chExt cx="914400" cy="1507452"/>
          </a:xfrm>
        </p:grpSpPr>
        <p:pic>
          <p:nvPicPr>
            <p:cNvPr id="33" name="Picture 32" descr="Icon&#10;&#10;Description automatically generated">
              <a:extLst>
                <a:ext uri="{FF2B5EF4-FFF2-40B4-BE49-F238E27FC236}">
                  <a16:creationId xmlns:a16="http://schemas.microsoft.com/office/drawing/2014/main" id="{2F838510-22B0-4FBB-C199-A585524A88F1}"/>
                </a:ext>
              </a:extLst>
            </p:cNvPr>
            <p:cNvPicPr>
              <a:picLocks noChangeAspect="1"/>
            </p:cNvPicPr>
            <p:nvPr/>
          </p:nvPicPr>
          <p:blipFill>
            <a:blip r:embed="rId3"/>
            <a:stretch>
              <a:fillRect/>
            </a:stretch>
          </p:blipFill>
          <p:spPr>
            <a:xfrm>
              <a:off x="7974887" y="5075784"/>
              <a:ext cx="862741" cy="1133067"/>
            </a:xfrm>
            <a:prstGeom prst="rect">
              <a:avLst/>
            </a:prstGeom>
          </p:spPr>
        </p:pic>
        <p:sp>
          <p:nvSpPr>
            <p:cNvPr id="34" name="TextBox 33">
              <a:extLst>
                <a:ext uri="{FF2B5EF4-FFF2-40B4-BE49-F238E27FC236}">
                  <a16:creationId xmlns:a16="http://schemas.microsoft.com/office/drawing/2014/main" id="{587F560B-62C0-B867-EC11-79B4C360893D}"/>
                </a:ext>
              </a:extLst>
            </p:cNvPr>
            <p:cNvSpPr txBox="1"/>
            <p:nvPr/>
          </p:nvSpPr>
          <p:spPr>
            <a:xfrm>
              <a:off x="7954394" y="6275711"/>
              <a:ext cx="914400" cy="307525"/>
            </a:xfrm>
            <a:prstGeom prst="rect">
              <a:avLst/>
            </a:prstGeom>
            <a:noFill/>
          </p:spPr>
          <p:txBody>
            <a:bodyPr wrap="none" lIns="0" tIns="0" rIns="0" bIns="0" rtlCol="0">
              <a:noAutofit/>
            </a:bodyPr>
            <a:lstStyle/>
            <a:p>
              <a:pPr algn="ctr">
                <a:lnSpc>
                  <a:spcPct val="110000"/>
                </a:lnSpc>
                <a:spcBef>
                  <a:spcPts val="600"/>
                </a:spcBef>
              </a:pPr>
              <a:r>
                <a:rPr lang="en-US" sz="1200" dirty="0">
                  <a:ea typeface="Human Sans" charset="0"/>
                  <a:cs typeface="Human Sans" charset="0"/>
                </a:rPr>
                <a:t>You</a:t>
              </a:r>
            </a:p>
          </p:txBody>
        </p:sp>
      </p:grpSp>
      <p:sp>
        <p:nvSpPr>
          <p:cNvPr id="35" name="Speech Bubble: Rectangle 34">
            <a:extLst>
              <a:ext uri="{FF2B5EF4-FFF2-40B4-BE49-F238E27FC236}">
                <a16:creationId xmlns:a16="http://schemas.microsoft.com/office/drawing/2014/main" id="{5A3D9C85-096D-77E0-F8FF-1459C0ADD876}"/>
              </a:ext>
            </a:extLst>
          </p:cNvPr>
          <p:cNvSpPr/>
          <p:nvPr/>
        </p:nvSpPr>
        <p:spPr bwMode="auto">
          <a:xfrm>
            <a:off x="7697873" y="4555837"/>
            <a:ext cx="396301" cy="551798"/>
          </a:xfrm>
          <a:prstGeom prst="wedgeRectCallout">
            <a:avLst/>
          </a:prstGeom>
          <a:ln/>
        </p:spPr>
        <p:style>
          <a:lnRef idx="2">
            <a:schemeClr val="dk1"/>
          </a:lnRef>
          <a:fillRef idx="1">
            <a:schemeClr val="lt1"/>
          </a:fillRef>
          <a:effectRef idx="0">
            <a:schemeClr val="dk1"/>
          </a:effectRef>
          <a:fontRef idx="minor">
            <a:schemeClr val="dk1"/>
          </a:fontRef>
        </p:style>
        <p:txBody>
          <a:bodyPr wrap="none" rtlCol="0" anchor="ctr"/>
          <a:lstStyle/>
          <a:p>
            <a:pPr algn="ctr"/>
            <a:r>
              <a:rPr lang="en-US" sz="2000" dirty="0">
                <a:ln w="0"/>
                <a:solidFill>
                  <a:schemeClr val="tx1"/>
                </a:solidFill>
                <a:effectLst>
                  <a:outerShdw blurRad="38100" dist="19050" dir="2700000" algn="tl" rotWithShape="0">
                    <a:schemeClr val="dk1">
                      <a:alpha val="40000"/>
                    </a:schemeClr>
                  </a:outerShdw>
                </a:effectLst>
                <a:latin typeface="Calibri Light" panose="020F0302020204030204" pitchFamily="34" charset="0"/>
                <a:ea typeface="Human Sans ExtraLight" charset="0"/>
                <a:cs typeface="Human Sans ExtraLight" charset="0"/>
              </a:rPr>
              <a:t>?</a:t>
            </a:r>
            <a:endParaRPr lang="en-US" sz="2000" dirty="0">
              <a:solidFill>
                <a:schemeClr val="bg1"/>
              </a:solidFill>
              <a:latin typeface="Calibri Light" panose="020F0302020204030204" pitchFamily="34" charset="0"/>
              <a:ea typeface="Human Sans ExtraLight" charset="0"/>
              <a:cs typeface="Human Sans ExtraLight" charset="0"/>
            </a:endParaRPr>
          </a:p>
        </p:txBody>
      </p:sp>
      <p:grpSp>
        <p:nvGrpSpPr>
          <p:cNvPr id="4" name="Group 3">
            <a:extLst>
              <a:ext uri="{FF2B5EF4-FFF2-40B4-BE49-F238E27FC236}">
                <a16:creationId xmlns:a16="http://schemas.microsoft.com/office/drawing/2014/main" id="{BB4845E9-5781-3F39-B75A-F8107484E395}"/>
              </a:ext>
            </a:extLst>
          </p:cNvPr>
          <p:cNvGrpSpPr/>
          <p:nvPr/>
        </p:nvGrpSpPr>
        <p:grpSpPr>
          <a:xfrm>
            <a:off x="8827288" y="550438"/>
            <a:ext cx="923632" cy="1258357"/>
            <a:chOff x="9278671" y="722843"/>
            <a:chExt cx="923632" cy="1258357"/>
          </a:xfrm>
        </p:grpSpPr>
        <p:pic>
          <p:nvPicPr>
            <p:cNvPr id="5" name="Picture 4" descr="Icon&#10;&#10;Description automatically generated">
              <a:extLst>
                <a:ext uri="{FF2B5EF4-FFF2-40B4-BE49-F238E27FC236}">
                  <a16:creationId xmlns:a16="http://schemas.microsoft.com/office/drawing/2014/main" id="{551DFBEF-7F97-AFC6-553C-1B3BBF9FFF2B}"/>
                </a:ext>
              </a:extLst>
            </p:cNvPr>
            <p:cNvPicPr>
              <a:picLocks noChangeAspect="1"/>
            </p:cNvPicPr>
            <p:nvPr/>
          </p:nvPicPr>
          <p:blipFill>
            <a:blip r:embed="rId4"/>
            <a:stretch>
              <a:fillRect/>
            </a:stretch>
          </p:blipFill>
          <p:spPr>
            <a:xfrm>
              <a:off x="9278671" y="722843"/>
              <a:ext cx="862741" cy="862741"/>
            </a:xfrm>
            <a:prstGeom prst="rect">
              <a:avLst/>
            </a:prstGeom>
          </p:spPr>
        </p:pic>
        <p:sp>
          <p:nvSpPr>
            <p:cNvPr id="6" name="TextBox 5">
              <a:extLst>
                <a:ext uri="{FF2B5EF4-FFF2-40B4-BE49-F238E27FC236}">
                  <a16:creationId xmlns:a16="http://schemas.microsoft.com/office/drawing/2014/main" id="{787D0E6B-D589-01B3-A6E4-63C68B64DD65}"/>
                </a:ext>
              </a:extLst>
            </p:cNvPr>
            <p:cNvSpPr txBox="1"/>
            <p:nvPr/>
          </p:nvSpPr>
          <p:spPr>
            <a:xfrm>
              <a:off x="9287903" y="1673675"/>
              <a:ext cx="914400" cy="307525"/>
            </a:xfrm>
            <a:prstGeom prst="rect">
              <a:avLst/>
            </a:prstGeom>
            <a:noFill/>
          </p:spPr>
          <p:txBody>
            <a:bodyPr wrap="none" lIns="0" tIns="0" rIns="0" bIns="0" rtlCol="0">
              <a:noAutofit/>
            </a:bodyPr>
            <a:lstStyle/>
            <a:p>
              <a:pPr algn="ctr">
                <a:lnSpc>
                  <a:spcPct val="110000"/>
                </a:lnSpc>
                <a:spcBef>
                  <a:spcPts val="600"/>
                </a:spcBef>
              </a:pPr>
              <a:r>
                <a:rPr lang="en-US" sz="1200" dirty="0">
                  <a:ea typeface="Human Sans" charset="0"/>
                  <a:cs typeface="Human Sans" charset="0"/>
                </a:rPr>
                <a:t>Dean - SM</a:t>
              </a:r>
            </a:p>
          </p:txBody>
        </p:sp>
      </p:grpSp>
      <p:grpSp>
        <p:nvGrpSpPr>
          <p:cNvPr id="7" name="Group 6">
            <a:extLst>
              <a:ext uri="{FF2B5EF4-FFF2-40B4-BE49-F238E27FC236}">
                <a16:creationId xmlns:a16="http://schemas.microsoft.com/office/drawing/2014/main" id="{84309EC9-FF7E-8DB6-3B0A-F24E5005367D}"/>
              </a:ext>
            </a:extLst>
          </p:cNvPr>
          <p:cNvGrpSpPr/>
          <p:nvPr/>
        </p:nvGrpSpPr>
        <p:grpSpPr>
          <a:xfrm>
            <a:off x="7748640" y="1590899"/>
            <a:ext cx="914400" cy="1280310"/>
            <a:chOff x="7949057" y="1717959"/>
            <a:chExt cx="914400" cy="1280310"/>
          </a:xfrm>
        </p:grpSpPr>
        <p:pic>
          <p:nvPicPr>
            <p:cNvPr id="9" name="Picture 8" descr="Icon, circle&#10;&#10;Description automatically generated">
              <a:extLst>
                <a:ext uri="{FF2B5EF4-FFF2-40B4-BE49-F238E27FC236}">
                  <a16:creationId xmlns:a16="http://schemas.microsoft.com/office/drawing/2014/main" id="{38E0BDAB-5373-19C6-6F91-35D85857A5DD}"/>
                </a:ext>
              </a:extLst>
            </p:cNvPr>
            <p:cNvPicPr>
              <a:picLocks noChangeAspect="1"/>
            </p:cNvPicPr>
            <p:nvPr/>
          </p:nvPicPr>
          <p:blipFill>
            <a:blip r:embed="rId5"/>
            <a:stretch>
              <a:fillRect/>
            </a:stretch>
          </p:blipFill>
          <p:spPr>
            <a:xfrm>
              <a:off x="7974889" y="1717959"/>
              <a:ext cx="862741" cy="862741"/>
            </a:xfrm>
            <a:prstGeom prst="rect">
              <a:avLst/>
            </a:prstGeom>
          </p:spPr>
        </p:pic>
        <p:sp>
          <p:nvSpPr>
            <p:cNvPr id="36" name="TextBox 35">
              <a:extLst>
                <a:ext uri="{FF2B5EF4-FFF2-40B4-BE49-F238E27FC236}">
                  <a16:creationId xmlns:a16="http://schemas.microsoft.com/office/drawing/2014/main" id="{EF22CD6A-7350-B784-9FA5-1629B4C3CE31}"/>
                </a:ext>
              </a:extLst>
            </p:cNvPr>
            <p:cNvSpPr txBox="1"/>
            <p:nvPr/>
          </p:nvSpPr>
          <p:spPr>
            <a:xfrm>
              <a:off x="7949057" y="2690744"/>
              <a:ext cx="914400" cy="307525"/>
            </a:xfrm>
            <a:prstGeom prst="rect">
              <a:avLst/>
            </a:prstGeom>
            <a:noFill/>
          </p:spPr>
          <p:txBody>
            <a:bodyPr wrap="none" lIns="0" tIns="0" rIns="0" bIns="0" rtlCol="0">
              <a:noAutofit/>
            </a:bodyPr>
            <a:lstStyle/>
            <a:p>
              <a:pPr algn="ctr">
                <a:lnSpc>
                  <a:spcPct val="110000"/>
                </a:lnSpc>
                <a:spcBef>
                  <a:spcPts val="600"/>
                </a:spcBef>
              </a:pPr>
              <a:r>
                <a:rPr lang="en-US" sz="1200" dirty="0">
                  <a:ea typeface="Human Sans" charset="0"/>
                  <a:cs typeface="Human Sans" charset="0"/>
                </a:rPr>
                <a:t>Adam – SD</a:t>
              </a:r>
            </a:p>
          </p:txBody>
        </p:sp>
      </p:grpSp>
      <p:grpSp>
        <p:nvGrpSpPr>
          <p:cNvPr id="37" name="Group 36">
            <a:extLst>
              <a:ext uri="{FF2B5EF4-FFF2-40B4-BE49-F238E27FC236}">
                <a16:creationId xmlns:a16="http://schemas.microsoft.com/office/drawing/2014/main" id="{15401A2B-13DF-F884-07EA-990F72A86F8E}"/>
              </a:ext>
            </a:extLst>
          </p:cNvPr>
          <p:cNvGrpSpPr/>
          <p:nvPr/>
        </p:nvGrpSpPr>
        <p:grpSpPr>
          <a:xfrm>
            <a:off x="9940995" y="1630369"/>
            <a:ext cx="926780" cy="1257253"/>
            <a:chOff x="10327938" y="1717960"/>
            <a:chExt cx="926780" cy="1257253"/>
          </a:xfrm>
        </p:grpSpPr>
        <p:pic>
          <p:nvPicPr>
            <p:cNvPr id="38" name="Picture 37" descr="Icon&#10;&#10;Description automatically generated">
              <a:extLst>
                <a:ext uri="{FF2B5EF4-FFF2-40B4-BE49-F238E27FC236}">
                  <a16:creationId xmlns:a16="http://schemas.microsoft.com/office/drawing/2014/main" id="{18881A4B-8FB3-CD52-49B2-C568CC61DE34}"/>
                </a:ext>
              </a:extLst>
            </p:cNvPr>
            <p:cNvPicPr>
              <a:picLocks noChangeAspect="1"/>
            </p:cNvPicPr>
            <p:nvPr/>
          </p:nvPicPr>
          <p:blipFill>
            <a:blip r:embed="rId6"/>
            <a:stretch>
              <a:fillRect/>
            </a:stretch>
          </p:blipFill>
          <p:spPr>
            <a:xfrm>
              <a:off x="10327938" y="1717960"/>
              <a:ext cx="862741" cy="862741"/>
            </a:xfrm>
            <a:prstGeom prst="rect">
              <a:avLst/>
            </a:prstGeom>
          </p:spPr>
        </p:pic>
        <p:sp>
          <p:nvSpPr>
            <p:cNvPr id="39" name="TextBox 38">
              <a:extLst>
                <a:ext uri="{FF2B5EF4-FFF2-40B4-BE49-F238E27FC236}">
                  <a16:creationId xmlns:a16="http://schemas.microsoft.com/office/drawing/2014/main" id="{123AC138-EB9B-5AF0-1D25-C569E570C2DA}"/>
                </a:ext>
              </a:extLst>
            </p:cNvPr>
            <p:cNvSpPr txBox="1"/>
            <p:nvPr/>
          </p:nvSpPr>
          <p:spPr>
            <a:xfrm>
              <a:off x="10340318" y="2667688"/>
              <a:ext cx="914400" cy="307525"/>
            </a:xfrm>
            <a:prstGeom prst="rect">
              <a:avLst/>
            </a:prstGeom>
            <a:noFill/>
          </p:spPr>
          <p:txBody>
            <a:bodyPr wrap="none" lIns="0" tIns="0" rIns="0" bIns="0" rtlCol="0">
              <a:noAutofit/>
            </a:bodyPr>
            <a:lstStyle/>
            <a:p>
              <a:pPr algn="ctr">
                <a:lnSpc>
                  <a:spcPct val="110000"/>
                </a:lnSpc>
                <a:spcBef>
                  <a:spcPts val="600"/>
                </a:spcBef>
              </a:pPr>
              <a:r>
                <a:rPr lang="en-US" sz="1200" dirty="0">
                  <a:ea typeface="Human Sans" charset="0"/>
                  <a:cs typeface="Human Sans" charset="0"/>
                </a:rPr>
                <a:t>Mary – PO/BA</a:t>
              </a:r>
            </a:p>
          </p:txBody>
        </p:sp>
      </p:grpSp>
      <p:grpSp>
        <p:nvGrpSpPr>
          <p:cNvPr id="40" name="Group 39">
            <a:extLst>
              <a:ext uri="{FF2B5EF4-FFF2-40B4-BE49-F238E27FC236}">
                <a16:creationId xmlns:a16="http://schemas.microsoft.com/office/drawing/2014/main" id="{B0B1EFE6-25B8-46DF-22EF-47268626D5DA}"/>
              </a:ext>
            </a:extLst>
          </p:cNvPr>
          <p:cNvGrpSpPr/>
          <p:nvPr/>
        </p:nvGrpSpPr>
        <p:grpSpPr>
          <a:xfrm>
            <a:off x="7610190" y="2962921"/>
            <a:ext cx="933043" cy="1261978"/>
            <a:chOff x="7810607" y="3089981"/>
            <a:chExt cx="933043" cy="1261978"/>
          </a:xfrm>
        </p:grpSpPr>
        <p:pic>
          <p:nvPicPr>
            <p:cNvPr id="41" name="Picture 40" descr="Icon&#10;&#10;Description automatically generated">
              <a:extLst>
                <a:ext uri="{FF2B5EF4-FFF2-40B4-BE49-F238E27FC236}">
                  <a16:creationId xmlns:a16="http://schemas.microsoft.com/office/drawing/2014/main" id="{5D679CD3-BC09-9870-C144-64E4120FF3EE}"/>
                </a:ext>
              </a:extLst>
            </p:cNvPr>
            <p:cNvPicPr>
              <a:picLocks noChangeAspect="1"/>
            </p:cNvPicPr>
            <p:nvPr/>
          </p:nvPicPr>
          <p:blipFill>
            <a:blip r:embed="rId7"/>
            <a:stretch>
              <a:fillRect/>
            </a:stretch>
          </p:blipFill>
          <p:spPr>
            <a:xfrm>
              <a:off x="7810607" y="3089981"/>
              <a:ext cx="862741" cy="862741"/>
            </a:xfrm>
            <a:prstGeom prst="rect">
              <a:avLst/>
            </a:prstGeom>
          </p:spPr>
        </p:pic>
        <p:sp>
          <p:nvSpPr>
            <p:cNvPr id="42" name="TextBox 41">
              <a:extLst>
                <a:ext uri="{FF2B5EF4-FFF2-40B4-BE49-F238E27FC236}">
                  <a16:creationId xmlns:a16="http://schemas.microsoft.com/office/drawing/2014/main" id="{C888D0DC-3138-63C0-086D-2383C730CE89}"/>
                </a:ext>
              </a:extLst>
            </p:cNvPr>
            <p:cNvSpPr txBox="1"/>
            <p:nvPr/>
          </p:nvSpPr>
          <p:spPr>
            <a:xfrm>
              <a:off x="7829250" y="4044434"/>
              <a:ext cx="914400" cy="307525"/>
            </a:xfrm>
            <a:prstGeom prst="rect">
              <a:avLst/>
            </a:prstGeom>
            <a:noFill/>
          </p:spPr>
          <p:txBody>
            <a:bodyPr wrap="none" lIns="0" tIns="0" rIns="0" bIns="0" rtlCol="0">
              <a:noAutofit/>
            </a:bodyPr>
            <a:lstStyle/>
            <a:p>
              <a:pPr algn="ctr">
                <a:lnSpc>
                  <a:spcPct val="110000"/>
                </a:lnSpc>
                <a:spcBef>
                  <a:spcPts val="600"/>
                </a:spcBef>
              </a:pPr>
              <a:r>
                <a:rPr lang="en-US" sz="1200" dirty="0">
                  <a:ea typeface="Human Sans" charset="0"/>
                  <a:cs typeface="Human Sans" charset="0"/>
                </a:rPr>
                <a:t>Bob – MD</a:t>
              </a:r>
            </a:p>
          </p:txBody>
        </p:sp>
      </p:grpSp>
      <p:grpSp>
        <p:nvGrpSpPr>
          <p:cNvPr id="43" name="Group 42">
            <a:extLst>
              <a:ext uri="{FF2B5EF4-FFF2-40B4-BE49-F238E27FC236}">
                <a16:creationId xmlns:a16="http://schemas.microsoft.com/office/drawing/2014/main" id="{D57BE348-96F4-A86B-766A-69EE3A26BD5F}"/>
              </a:ext>
            </a:extLst>
          </p:cNvPr>
          <p:cNvGrpSpPr/>
          <p:nvPr/>
        </p:nvGrpSpPr>
        <p:grpSpPr>
          <a:xfrm>
            <a:off x="8656115" y="2962922"/>
            <a:ext cx="914400" cy="1265709"/>
            <a:chOff x="8856532" y="3089982"/>
            <a:chExt cx="914400" cy="1265709"/>
          </a:xfrm>
        </p:grpSpPr>
        <p:pic>
          <p:nvPicPr>
            <p:cNvPr id="44" name="Picture 43" descr="Icon&#10;&#10;Description automatically generated">
              <a:extLst>
                <a:ext uri="{FF2B5EF4-FFF2-40B4-BE49-F238E27FC236}">
                  <a16:creationId xmlns:a16="http://schemas.microsoft.com/office/drawing/2014/main" id="{74801FF4-2909-3002-3F91-24C62642132B}"/>
                </a:ext>
              </a:extLst>
            </p:cNvPr>
            <p:cNvPicPr>
              <a:picLocks noChangeAspect="1"/>
            </p:cNvPicPr>
            <p:nvPr/>
          </p:nvPicPr>
          <p:blipFill>
            <a:blip r:embed="rId8"/>
            <a:stretch>
              <a:fillRect/>
            </a:stretch>
          </p:blipFill>
          <p:spPr>
            <a:xfrm>
              <a:off x="8882362" y="3089982"/>
              <a:ext cx="862741" cy="862741"/>
            </a:xfrm>
            <a:prstGeom prst="rect">
              <a:avLst/>
            </a:prstGeom>
          </p:spPr>
        </p:pic>
        <p:sp>
          <p:nvSpPr>
            <p:cNvPr id="45" name="TextBox 44">
              <a:extLst>
                <a:ext uri="{FF2B5EF4-FFF2-40B4-BE49-F238E27FC236}">
                  <a16:creationId xmlns:a16="http://schemas.microsoft.com/office/drawing/2014/main" id="{B85FC62E-3972-030F-18E0-640C16D623C7}"/>
                </a:ext>
              </a:extLst>
            </p:cNvPr>
            <p:cNvSpPr txBox="1"/>
            <p:nvPr/>
          </p:nvSpPr>
          <p:spPr>
            <a:xfrm>
              <a:off x="8856532" y="4048166"/>
              <a:ext cx="914400" cy="307525"/>
            </a:xfrm>
            <a:prstGeom prst="rect">
              <a:avLst/>
            </a:prstGeom>
            <a:noFill/>
          </p:spPr>
          <p:txBody>
            <a:bodyPr wrap="none" lIns="0" tIns="0" rIns="0" bIns="0" rtlCol="0">
              <a:noAutofit/>
            </a:bodyPr>
            <a:lstStyle/>
            <a:p>
              <a:pPr algn="ctr">
                <a:lnSpc>
                  <a:spcPct val="110000"/>
                </a:lnSpc>
                <a:spcBef>
                  <a:spcPts val="600"/>
                </a:spcBef>
              </a:pPr>
              <a:r>
                <a:rPr lang="en-US" sz="1200" dirty="0">
                  <a:ea typeface="Human Sans" charset="0"/>
                  <a:cs typeface="Human Sans" charset="0"/>
                </a:rPr>
                <a:t>Eva - JD</a:t>
              </a:r>
            </a:p>
          </p:txBody>
        </p:sp>
      </p:grpSp>
      <p:grpSp>
        <p:nvGrpSpPr>
          <p:cNvPr id="46" name="Group 45">
            <a:extLst>
              <a:ext uri="{FF2B5EF4-FFF2-40B4-BE49-F238E27FC236}">
                <a16:creationId xmlns:a16="http://schemas.microsoft.com/office/drawing/2014/main" id="{3EA658B8-54F8-A019-9430-44555FE20C4C}"/>
              </a:ext>
            </a:extLst>
          </p:cNvPr>
          <p:cNvGrpSpPr/>
          <p:nvPr/>
        </p:nvGrpSpPr>
        <p:grpSpPr>
          <a:xfrm>
            <a:off x="9915165" y="2962922"/>
            <a:ext cx="914400" cy="1285035"/>
            <a:chOff x="10115582" y="3089982"/>
            <a:chExt cx="914400" cy="1285035"/>
          </a:xfrm>
        </p:grpSpPr>
        <p:pic>
          <p:nvPicPr>
            <p:cNvPr id="47" name="Picture 46" descr="Icon&#10;&#10;Description automatically generated">
              <a:extLst>
                <a:ext uri="{FF2B5EF4-FFF2-40B4-BE49-F238E27FC236}">
                  <a16:creationId xmlns:a16="http://schemas.microsoft.com/office/drawing/2014/main" id="{7F723980-9F86-DB0F-2C39-652042288F24}"/>
                </a:ext>
              </a:extLst>
            </p:cNvPr>
            <p:cNvPicPr>
              <a:picLocks noChangeAspect="1"/>
            </p:cNvPicPr>
            <p:nvPr/>
          </p:nvPicPr>
          <p:blipFill>
            <a:blip r:embed="rId9"/>
            <a:stretch>
              <a:fillRect/>
            </a:stretch>
          </p:blipFill>
          <p:spPr>
            <a:xfrm>
              <a:off x="10141412" y="3089982"/>
              <a:ext cx="862741" cy="862741"/>
            </a:xfrm>
            <a:prstGeom prst="ellipse">
              <a:avLst/>
            </a:prstGeom>
            <a:ln w="63500" cap="rnd">
              <a:solidFill>
                <a:srgbClr val="FF0000"/>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sp>
          <p:nvSpPr>
            <p:cNvPr id="48" name="TextBox 47">
              <a:extLst>
                <a:ext uri="{FF2B5EF4-FFF2-40B4-BE49-F238E27FC236}">
                  <a16:creationId xmlns:a16="http://schemas.microsoft.com/office/drawing/2014/main" id="{A41BCC08-3034-1F8B-3F21-EECBD65EB641}"/>
                </a:ext>
              </a:extLst>
            </p:cNvPr>
            <p:cNvSpPr txBox="1"/>
            <p:nvPr/>
          </p:nvSpPr>
          <p:spPr>
            <a:xfrm>
              <a:off x="10115582" y="4067492"/>
              <a:ext cx="914400" cy="307525"/>
            </a:xfrm>
            <a:prstGeom prst="rect">
              <a:avLst/>
            </a:prstGeom>
            <a:noFill/>
            <a:ln>
              <a:solidFill>
                <a:srgbClr val="FF0000"/>
              </a:solidFill>
            </a:ln>
          </p:spPr>
          <p:txBody>
            <a:bodyPr wrap="none" lIns="0" tIns="0" rIns="0" bIns="0" rtlCol="0">
              <a:noAutofit/>
            </a:bodyPr>
            <a:lstStyle/>
            <a:p>
              <a:pPr algn="ctr">
                <a:lnSpc>
                  <a:spcPct val="110000"/>
                </a:lnSpc>
                <a:spcBef>
                  <a:spcPts val="600"/>
                </a:spcBef>
              </a:pPr>
              <a:r>
                <a:rPr lang="en-US" sz="1200" dirty="0">
                  <a:ea typeface="Human Sans" charset="0"/>
                  <a:cs typeface="Human Sans" charset="0"/>
                </a:rPr>
                <a:t>Diana - QA</a:t>
              </a:r>
            </a:p>
          </p:txBody>
        </p:sp>
      </p:grpSp>
      <p:grpSp>
        <p:nvGrpSpPr>
          <p:cNvPr id="49" name="Group 48">
            <a:extLst>
              <a:ext uri="{FF2B5EF4-FFF2-40B4-BE49-F238E27FC236}">
                <a16:creationId xmlns:a16="http://schemas.microsoft.com/office/drawing/2014/main" id="{2328E9C9-E83C-362D-F6D2-A69E23B0BBA1}"/>
              </a:ext>
            </a:extLst>
          </p:cNvPr>
          <p:cNvGrpSpPr/>
          <p:nvPr/>
        </p:nvGrpSpPr>
        <p:grpSpPr>
          <a:xfrm>
            <a:off x="9953375" y="4368223"/>
            <a:ext cx="914400" cy="1246962"/>
            <a:chOff x="10338849" y="4462008"/>
            <a:chExt cx="914400" cy="1246962"/>
          </a:xfrm>
        </p:grpSpPr>
        <p:pic>
          <p:nvPicPr>
            <p:cNvPr id="50" name="Picture 49" descr="Icon&#10;&#10;Description automatically generated">
              <a:extLst>
                <a:ext uri="{FF2B5EF4-FFF2-40B4-BE49-F238E27FC236}">
                  <a16:creationId xmlns:a16="http://schemas.microsoft.com/office/drawing/2014/main" id="{7664D971-33C2-298C-5CDD-B8E9723F4675}"/>
                </a:ext>
              </a:extLst>
            </p:cNvPr>
            <p:cNvPicPr>
              <a:picLocks noChangeAspect="1"/>
            </p:cNvPicPr>
            <p:nvPr/>
          </p:nvPicPr>
          <p:blipFill>
            <a:blip r:embed="rId10"/>
            <a:stretch>
              <a:fillRect/>
            </a:stretch>
          </p:blipFill>
          <p:spPr>
            <a:xfrm>
              <a:off x="10364679" y="4462008"/>
              <a:ext cx="862741" cy="862741"/>
            </a:xfrm>
            <a:prstGeom prst="rect">
              <a:avLst/>
            </a:prstGeom>
          </p:spPr>
        </p:pic>
        <p:sp>
          <p:nvSpPr>
            <p:cNvPr id="51" name="TextBox 50">
              <a:extLst>
                <a:ext uri="{FF2B5EF4-FFF2-40B4-BE49-F238E27FC236}">
                  <a16:creationId xmlns:a16="http://schemas.microsoft.com/office/drawing/2014/main" id="{FE7FEC11-0F04-314D-D4CF-BB326136E17C}"/>
                </a:ext>
              </a:extLst>
            </p:cNvPr>
            <p:cNvSpPr txBox="1"/>
            <p:nvPr/>
          </p:nvSpPr>
          <p:spPr>
            <a:xfrm>
              <a:off x="10338849" y="5401445"/>
              <a:ext cx="914400" cy="307525"/>
            </a:xfrm>
            <a:prstGeom prst="rect">
              <a:avLst/>
            </a:prstGeom>
            <a:noFill/>
          </p:spPr>
          <p:txBody>
            <a:bodyPr wrap="none" lIns="0" tIns="0" rIns="0" bIns="0" rtlCol="0">
              <a:noAutofit/>
            </a:bodyPr>
            <a:lstStyle/>
            <a:p>
              <a:pPr algn="ctr">
                <a:lnSpc>
                  <a:spcPct val="110000"/>
                </a:lnSpc>
                <a:spcBef>
                  <a:spcPts val="600"/>
                </a:spcBef>
              </a:pPr>
              <a:r>
                <a:rPr lang="en-US" sz="1200" dirty="0">
                  <a:ea typeface="Human Sans" charset="0"/>
                  <a:cs typeface="Human Sans" charset="0"/>
                </a:rPr>
                <a:t>Pavel - DevOps</a:t>
              </a:r>
            </a:p>
          </p:txBody>
        </p:sp>
      </p:grpSp>
    </p:spTree>
    <p:extLst>
      <p:ext uri="{BB962C8B-B14F-4D97-AF65-F5344CB8AC3E}">
        <p14:creationId xmlns:p14="http://schemas.microsoft.com/office/powerpoint/2010/main" val="2379865670"/>
      </p:ext>
    </p:extLst>
  </p:cSld>
  <p:clrMapOvr>
    <a:masterClrMapping/>
  </p:clrMapOvr>
  <p:transition spd="slow">
    <p:push dir="u"/>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3E7B12-94E5-1E8A-9A20-C930CC8426EB}"/>
              </a:ext>
            </a:extLst>
          </p:cNvPr>
          <p:cNvSpPr>
            <a:spLocks noGrp="1"/>
          </p:cNvSpPr>
          <p:nvPr>
            <p:ph type="title"/>
          </p:nvPr>
        </p:nvSpPr>
        <p:spPr>
          <a:xfrm>
            <a:off x="639073" y="1424520"/>
            <a:ext cx="5333999" cy="2954655"/>
          </a:xfrm>
        </p:spPr>
        <p:txBody>
          <a:bodyPr/>
          <a:lstStyle/>
          <a:p>
            <a:r>
              <a:rPr lang="en-US" sz="3200" dirty="0"/>
              <a:t>Despite agreed-upon quality measures, Bob disregards these guidelines, influencing Eva to follow suit.</a:t>
            </a:r>
            <a:br>
              <a:rPr lang="en-US" sz="3200" dirty="0"/>
            </a:br>
            <a:r>
              <a:rPr lang="en-US" sz="3200" dirty="0">
                <a:solidFill>
                  <a:schemeClr val="accent6"/>
                </a:solidFill>
                <a:latin typeface="Calibri" panose="020F0502020204030204" pitchFamily="34" charset="0"/>
                <a:cs typeface="Calibri" panose="020F0502020204030204" pitchFamily="34" charset="0"/>
              </a:rPr>
              <a:t>How will you realign their actions with team protocols?</a:t>
            </a:r>
          </a:p>
        </p:txBody>
      </p:sp>
      <p:sp>
        <p:nvSpPr>
          <p:cNvPr id="8" name="Text Placeholder 7">
            <a:extLst>
              <a:ext uri="{FF2B5EF4-FFF2-40B4-BE49-F238E27FC236}">
                <a16:creationId xmlns:a16="http://schemas.microsoft.com/office/drawing/2014/main" id="{A33CA039-DE3C-5D85-0DB8-D98A38BFDC35}"/>
              </a:ext>
            </a:extLst>
          </p:cNvPr>
          <p:cNvSpPr>
            <a:spLocks noGrp="1"/>
          </p:cNvSpPr>
          <p:nvPr>
            <p:ph type="body" sz="quarter" idx="28"/>
          </p:nvPr>
        </p:nvSpPr>
        <p:spPr>
          <a:xfrm>
            <a:off x="627063" y="419100"/>
            <a:ext cx="3725862" cy="397732"/>
          </a:xfrm>
        </p:spPr>
        <p:txBody>
          <a:bodyPr>
            <a:normAutofit/>
          </a:bodyPr>
          <a:lstStyle/>
          <a:p>
            <a:r>
              <a:rPr lang="en-US" dirty="0"/>
              <a:t>Team Leadership workshop: USE-cases</a:t>
            </a:r>
          </a:p>
        </p:txBody>
      </p:sp>
      <p:sp>
        <p:nvSpPr>
          <p:cNvPr id="10" name="Text Placeholder 9">
            <a:extLst>
              <a:ext uri="{FF2B5EF4-FFF2-40B4-BE49-F238E27FC236}">
                <a16:creationId xmlns:a16="http://schemas.microsoft.com/office/drawing/2014/main" id="{1F88C411-8C59-AFA3-5C10-11E75FDF9817}"/>
              </a:ext>
            </a:extLst>
          </p:cNvPr>
          <p:cNvSpPr>
            <a:spLocks noGrp="1"/>
          </p:cNvSpPr>
          <p:nvPr>
            <p:ph type="body" sz="quarter" idx="25"/>
          </p:nvPr>
        </p:nvSpPr>
        <p:spPr>
          <a:xfrm>
            <a:off x="627063" y="722843"/>
            <a:ext cx="4407161" cy="338554"/>
          </a:xfrm>
        </p:spPr>
        <p:txBody>
          <a:bodyPr/>
          <a:lstStyle/>
          <a:p>
            <a:r>
              <a:rPr lang="en-US" dirty="0"/>
              <a:t>Case 5.2: Guideline Compliance and Role Modeling</a:t>
            </a:r>
          </a:p>
        </p:txBody>
      </p:sp>
      <p:grpSp>
        <p:nvGrpSpPr>
          <p:cNvPr id="32" name="Group 31">
            <a:extLst>
              <a:ext uri="{FF2B5EF4-FFF2-40B4-BE49-F238E27FC236}">
                <a16:creationId xmlns:a16="http://schemas.microsoft.com/office/drawing/2014/main" id="{38CAE5AD-B9D9-1BE3-D8DA-9F3BAC97EFE3}"/>
              </a:ext>
            </a:extLst>
          </p:cNvPr>
          <p:cNvGrpSpPr/>
          <p:nvPr/>
        </p:nvGrpSpPr>
        <p:grpSpPr>
          <a:xfrm>
            <a:off x="7031633" y="5174495"/>
            <a:ext cx="914400" cy="1507452"/>
            <a:chOff x="7954394" y="5075784"/>
            <a:chExt cx="914400" cy="1507452"/>
          </a:xfrm>
        </p:grpSpPr>
        <p:pic>
          <p:nvPicPr>
            <p:cNvPr id="33" name="Picture 32" descr="Icon&#10;&#10;Description automatically generated">
              <a:extLst>
                <a:ext uri="{FF2B5EF4-FFF2-40B4-BE49-F238E27FC236}">
                  <a16:creationId xmlns:a16="http://schemas.microsoft.com/office/drawing/2014/main" id="{2F838510-22B0-4FBB-C199-A585524A88F1}"/>
                </a:ext>
              </a:extLst>
            </p:cNvPr>
            <p:cNvPicPr>
              <a:picLocks noChangeAspect="1"/>
            </p:cNvPicPr>
            <p:nvPr/>
          </p:nvPicPr>
          <p:blipFill>
            <a:blip r:embed="rId3"/>
            <a:stretch>
              <a:fillRect/>
            </a:stretch>
          </p:blipFill>
          <p:spPr>
            <a:xfrm>
              <a:off x="7974887" y="5075784"/>
              <a:ext cx="862741" cy="1133067"/>
            </a:xfrm>
            <a:prstGeom prst="rect">
              <a:avLst/>
            </a:prstGeom>
          </p:spPr>
        </p:pic>
        <p:sp>
          <p:nvSpPr>
            <p:cNvPr id="34" name="TextBox 33">
              <a:extLst>
                <a:ext uri="{FF2B5EF4-FFF2-40B4-BE49-F238E27FC236}">
                  <a16:creationId xmlns:a16="http://schemas.microsoft.com/office/drawing/2014/main" id="{587F560B-62C0-B867-EC11-79B4C360893D}"/>
                </a:ext>
              </a:extLst>
            </p:cNvPr>
            <p:cNvSpPr txBox="1"/>
            <p:nvPr/>
          </p:nvSpPr>
          <p:spPr>
            <a:xfrm>
              <a:off x="7954394" y="6275711"/>
              <a:ext cx="914400" cy="307525"/>
            </a:xfrm>
            <a:prstGeom prst="rect">
              <a:avLst/>
            </a:prstGeom>
            <a:noFill/>
          </p:spPr>
          <p:txBody>
            <a:bodyPr wrap="none" lIns="0" tIns="0" rIns="0" bIns="0" rtlCol="0">
              <a:noAutofit/>
            </a:bodyPr>
            <a:lstStyle/>
            <a:p>
              <a:pPr algn="ctr">
                <a:lnSpc>
                  <a:spcPct val="110000"/>
                </a:lnSpc>
                <a:spcBef>
                  <a:spcPts val="600"/>
                </a:spcBef>
              </a:pPr>
              <a:r>
                <a:rPr lang="en-US" sz="1200" dirty="0">
                  <a:ea typeface="Human Sans" charset="0"/>
                  <a:cs typeface="Human Sans" charset="0"/>
                </a:rPr>
                <a:t>You</a:t>
              </a:r>
            </a:p>
          </p:txBody>
        </p:sp>
      </p:grpSp>
      <p:sp>
        <p:nvSpPr>
          <p:cNvPr id="35" name="Speech Bubble: Rectangle 34">
            <a:extLst>
              <a:ext uri="{FF2B5EF4-FFF2-40B4-BE49-F238E27FC236}">
                <a16:creationId xmlns:a16="http://schemas.microsoft.com/office/drawing/2014/main" id="{5A3D9C85-096D-77E0-F8FF-1459C0ADD876}"/>
              </a:ext>
            </a:extLst>
          </p:cNvPr>
          <p:cNvSpPr/>
          <p:nvPr/>
        </p:nvSpPr>
        <p:spPr bwMode="auto">
          <a:xfrm>
            <a:off x="7697873" y="4555837"/>
            <a:ext cx="396301" cy="551798"/>
          </a:xfrm>
          <a:prstGeom prst="wedgeRectCallout">
            <a:avLst/>
          </a:prstGeom>
          <a:ln/>
        </p:spPr>
        <p:style>
          <a:lnRef idx="2">
            <a:schemeClr val="dk1"/>
          </a:lnRef>
          <a:fillRef idx="1">
            <a:schemeClr val="lt1"/>
          </a:fillRef>
          <a:effectRef idx="0">
            <a:schemeClr val="dk1"/>
          </a:effectRef>
          <a:fontRef idx="minor">
            <a:schemeClr val="dk1"/>
          </a:fontRef>
        </p:style>
        <p:txBody>
          <a:bodyPr wrap="none" rtlCol="0" anchor="ctr"/>
          <a:lstStyle/>
          <a:p>
            <a:pPr algn="ctr"/>
            <a:r>
              <a:rPr lang="en-US" sz="2000" dirty="0">
                <a:ln w="0"/>
                <a:solidFill>
                  <a:schemeClr val="tx1"/>
                </a:solidFill>
                <a:effectLst>
                  <a:outerShdw blurRad="38100" dist="19050" dir="2700000" algn="tl" rotWithShape="0">
                    <a:schemeClr val="dk1">
                      <a:alpha val="40000"/>
                    </a:schemeClr>
                  </a:outerShdw>
                </a:effectLst>
                <a:latin typeface="Calibri Light" panose="020F0302020204030204" pitchFamily="34" charset="0"/>
                <a:ea typeface="Human Sans ExtraLight" charset="0"/>
                <a:cs typeface="Human Sans ExtraLight" charset="0"/>
              </a:rPr>
              <a:t>?</a:t>
            </a:r>
            <a:endParaRPr lang="en-US" sz="2000" dirty="0">
              <a:solidFill>
                <a:schemeClr val="bg1"/>
              </a:solidFill>
              <a:latin typeface="Calibri Light" panose="020F0302020204030204" pitchFamily="34" charset="0"/>
              <a:ea typeface="Human Sans ExtraLight" charset="0"/>
              <a:cs typeface="Human Sans ExtraLight" charset="0"/>
            </a:endParaRPr>
          </a:p>
        </p:txBody>
      </p:sp>
      <p:grpSp>
        <p:nvGrpSpPr>
          <p:cNvPr id="4" name="Group 3">
            <a:extLst>
              <a:ext uri="{FF2B5EF4-FFF2-40B4-BE49-F238E27FC236}">
                <a16:creationId xmlns:a16="http://schemas.microsoft.com/office/drawing/2014/main" id="{BB4845E9-5781-3F39-B75A-F8107484E395}"/>
              </a:ext>
            </a:extLst>
          </p:cNvPr>
          <p:cNvGrpSpPr/>
          <p:nvPr/>
        </p:nvGrpSpPr>
        <p:grpSpPr>
          <a:xfrm>
            <a:off x="8827288" y="550438"/>
            <a:ext cx="923632" cy="1258357"/>
            <a:chOff x="9278671" y="722843"/>
            <a:chExt cx="923632" cy="1258357"/>
          </a:xfrm>
        </p:grpSpPr>
        <p:pic>
          <p:nvPicPr>
            <p:cNvPr id="5" name="Picture 4" descr="Icon&#10;&#10;Description automatically generated">
              <a:extLst>
                <a:ext uri="{FF2B5EF4-FFF2-40B4-BE49-F238E27FC236}">
                  <a16:creationId xmlns:a16="http://schemas.microsoft.com/office/drawing/2014/main" id="{551DFBEF-7F97-AFC6-553C-1B3BBF9FFF2B}"/>
                </a:ext>
              </a:extLst>
            </p:cNvPr>
            <p:cNvPicPr>
              <a:picLocks noChangeAspect="1"/>
            </p:cNvPicPr>
            <p:nvPr/>
          </p:nvPicPr>
          <p:blipFill>
            <a:blip r:embed="rId4"/>
            <a:stretch>
              <a:fillRect/>
            </a:stretch>
          </p:blipFill>
          <p:spPr>
            <a:xfrm>
              <a:off x="9278671" y="722843"/>
              <a:ext cx="862741" cy="862741"/>
            </a:xfrm>
            <a:prstGeom prst="rect">
              <a:avLst/>
            </a:prstGeom>
          </p:spPr>
        </p:pic>
        <p:sp>
          <p:nvSpPr>
            <p:cNvPr id="6" name="TextBox 5">
              <a:extLst>
                <a:ext uri="{FF2B5EF4-FFF2-40B4-BE49-F238E27FC236}">
                  <a16:creationId xmlns:a16="http://schemas.microsoft.com/office/drawing/2014/main" id="{787D0E6B-D589-01B3-A6E4-63C68B64DD65}"/>
                </a:ext>
              </a:extLst>
            </p:cNvPr>
            <p:cNvSpPr txBox="1"/>
            <p:nvPr/>
          </p:nvSpPr>
          <p:spPr>
            <a:xfrm>
              <a:off x="9287903" y="1673675"/>
              <a:ext cx="914400" cy="307525"/>
            </a:xfrm>
            <a:prstGeom prst="rect">
              <a:avLst/>
            </a:prstGeom>
            <a:noFill/>
          </p:spPr>
          <p:txBody>
            <a:bodyPr wrap="none" lIns="0" tIns="0" rIns="0" bIns="0" rtlCol="0">
              <a:noAutofit/>
            </a:bodyPr>
            <a:lstStyle/>
            <a:p>
              <a:pPr algn="ctr">
                <a:lnSpc>
                  <a:spcPct val="110000"/>
                </a:lnSpc>
                <a:spcBef>
                  <a:spcPts val="600"/>
                </a:spcBef>
              </a:pPr>
              <a:r>
                <a:rPr lang="en-US" sz="1200" dirty="0">
                  <a:ea typeface="Human Sans" charset="0"/>
                  <a:cs typeface="Human Sans" charset="0"/>
                </a:rPr>
                <a:t>Dean - SM</a:t>
              </a:r>
            </a:p>
          </p:txBody>
        </p:sp>
      </p:grpSp>
      <p:grpSp>
        <p:nvGrpSpPr>
          <p:cNvPr id="7" name="Group 6">
            <a:extLst>
              <a:ext uri="{FF2B5EF4-FFF2-40B4-BE49-F238E27FC236}">
                <a16:creationId xmlns:a16="http://schemas.microsoft.com/office/drawing/2014/main" id="{84309EC9-FF7E-8DB6-3B0A-F24E5005367D}"/>
              </a:ext>
            </a:extLst>
          </p:cNvPr>
          <p:cNvGrpSpPr/>
          <p:nvPr/>
        </p:nvGrpSpPr>
        <p:grpSpPr>
          <a:xfrm>
            <a:off x="7748640" y="1590899"/>
            <a:ext cx="914400" cy="1280310"/>
            <a:chOff x="7949057" y="1717959"/>
            <a:chExt cx="914400" cy="1280310"/>
          </a:xfrm>
        </p:grpSpPr>
        <p:pic>
          <p:nvPicPr>
            <p:cNvPr id="9" name="Picture 8" descr="Icon, circle&#10;&#10;Description automatically generated">
              <a:extLst>
                <a:ext uri="{FF2B5EF4-FFF2-40B4-BE49-F238E27FC236}">
                  <a16:creationId xmlns:a16="http://schemas.microsoft.com/office/drawing/2014/main" id="{38E0BDAB-5373-19C6-6F91-35D85857A5DD}"/>
                </a:ext>
              </a:extLst>
            </p:cNvPr>
            <p:cNvPicPr>
              <a:picLocks noChangeAspect="1"/>
            </p:cNvPicPr>
            <p:nvPr/>
          </p:nvPicPr>
          <p:blipFill>
            <a:blip r:embed="rId5"/>
            <a:stretch>
              <a:fillRect/>
            </a:stretch>
          </p:blipFill>
          <p:spPr>
            <a:xfrm>
              <a:off x="7974889" y="1717959"/>
              <a:ext cx="862741" cy="862741"/>
            </a:xfrm>
            <a:prstGeom prst="rect">
              <a:avLst/>
            </a:prstGeom>
          </p:spPr>
        </p:pic>
        <p:sp>
          <p:nvSpPr>
            <p:cNvPr id="36" name="TextBox 35">
              <a:extLst>
                <a:ext uri="{FF2B5EF4-FFF2-40B4-BE49-F238E27FC236}">
                  <a16:creationId xmlns:a16="http://schemas.microsoft.com/office/drawing/2014/main" id="{EF22CD6A-7350-B784-9FA5-1629B4C3CE31}"/>
                </a:ext>
              </a:extLst>
            </p:cNvPr>
            <p:cNvSpPr txBox="1"/>
            <p:nvPr/>
          </p:nvSpPr>
          <p:spPr>
            <a:xfrm>
              <a:off x="7949057" y="2690744"/>
              <a:ext cx="914400" cy="307525"/>
            </a:xfrm>
            <a:prstGeom prst="rect">
              <a:avLst/>
            </a:prstGeom>
            <a:noFill/>
          </p:spPr>
          <p:txBody>
            <a:bodyPr wrap="none" lIns="0" tIns="0" rIns="0" bIns="0" rtlCol="0">
              <a:noAutofit/>
            </a:bodyPr>
            <a:lstStyle/>
            <a:p>
              <a:pPr algn="ctr">
                <a:lnSpc>
                  <a:spcPct val="110000"/>
                </a:lnSpc>
                <a:spcBef>
                  <a:spcPts val="600"/>
                </a:spcBef>
              </a:pPr>
              <a:r>
                <a:rPr lang="en-US" sz="1200" dirty="0">
                  <a:ea typeface="Human Sans" charset="0"/>
                  <a:cs typeface="Human Sans" charset="0"/>
                </a:rPr>
                <a:t>Adam – SD</a:t>
              </a:r>
            </a:p>
          </p:txBody>
        </p:sp>
      </p:grpSp>
      <p:grpSp>
        <p:nvGrpSpPr>
          <p:cNvPr id="37" name="Group 36">
            <a:extLst>
              <a:ext uri="{FF2B5EF4-FFF2-40B4-BE49-F238E27FC236}">
                <a16:creationId xmlns:a16="http://schemas.microsoft.com/office/drawing/2014/main" id="{15401A2B-13DF-F884-07EA-990F72A86F8E}"/>
              </a:ext>
            </a:extLst>
          </p:cNvPr>
          <p:cNvGrpSpPr/>
          <p:nvPr/>
        </p:nvGrpSpPr>
        <p:grpSpPr>
          <a:xfrm>
            <a:off x="9940995" y="1630369"/>
            <a:ext cx="926780" cy="1257253"/>
            <a:chOff x="10327938" y="1717960"/>
            <a:chExt cx="926780" cy="1257253"/>
          </a:xfrm>
        </p:grpSpPr>
        <p:pic>
          <p:nvPicPr>
            <p:cNvPr id="38" name="Picture 37" descr="Icon&#10;&#10;Description automatically generated">
              <a:extLst>
                <a:ext uri="{FF2B5EF4-FFF2-40B4-BE49-F238E27FC236}">
                  <a16:creationId xmlns:a16="http://schemas.microsoft.com/office/drawing/2014/main" id="{18881A4B-8FB3-CD52-49B2-C568CC61DE34}"/>
                </a:ext>
              </a:extLst>
            </p:cNvPr>
            <p:cNvPicPr>
              <a:picLocks noChangeAspect="1"/>
            </p:cNvPicPr>
            <p:nvPr/>
          </p:nvPicPr>
          <p:blipFill>
            <a:blip r:embed="rId6"/>
            <a:stretch>
              <a:fillRect/>
            </a:stretch>
          </p:blipFill>
          <p:spPr>
            <a:xfrm>
              <a:off x="10327938" y="1717960"/>
              <a:ext cx="862741" cy="862741"/>
            </a:xfrm>
            <a:prstGeom prst="rect">
              <a:avLst/>
            </a:prstGeom>
          </p:spPr>
        </p:pic>
        <p:sp>
          <p:nvSpPr>
            <p:cNvPr id="39" name="TextBox 38">
              <a:extLst>
                <a:ext uri="{FF2B5EF4-FFF2-40B4-BE49-F238E27FC236}">
                  <a16:creationId xmlns:a16="http://schemas.microsoft.com/office/drawing/2014/main" id="{123AC138-EB9B-5AF0-1D25-C569E570C2DA}"/>
                </a:ext>
              </a:extLst>
            </p:cNvPr>
            <p:cNvSpPr txBox="1"/>
            <p:nvPr/>
          </p:nvSpPr>
          <p:spPr>
            <a:xfrm>
              <a:off x="10340318" y="2667688"/>
              <a:ext cx="914400" cy="307525"/>
            </a:xfrm>
            <a:prstGeom prst="rect">
              <a:avLst/>
            </a:prstGeom>
            <a:noFill/>
          </p:spPr>
          <p:txBody>
            <a:bodyPr wrap="none" lIns="0" tIns="0" rIns="0" bIns="0" rtlCol="0">
              <a:noAutofit/>
            </a:bodyPr>
            <a:lstStyle/>
            <a:p>
              <a:pPr algn="ctr">
                <a:lnSpc>
                  <a:spcPct val="110000"/>
                </a:lnSpc>
                <a:spcBef>
                  <a:spcPts val="600"/>
                </a:spcBef>
              </a:pPr>
              <a:r>
                <a:rPr lang="en-US" sz="1200" dirty="0">
                  <a:ea typeface="Human Sans" charset="0"/>
                  <a:cs typeface="Human Sans" charset="0"/>
                </a:rPr>
                <a:t>Mary – PO/BA</a:t>
              </a:r>
            </a:p>
          </p:txBody>
        </p:sp>
      </p:grpSp>
      <p:grpSp>
        <p:nvGrpSpPr>
          <p:cNvPr id="40" name="Group 39">
            <a:extLst>
              <a:ext uri="{FF2B5EF4-FFF2-40B4-BE49-F238E27FC236}">
                <a16:creationId xmlns:a16="http://schemas.microsoft.com/office/drawing/2014/main" id="{B0B1EFE6-25B8-46DF-22EF-47268626D5DA}"/>
              </a:ext>
            </a:extLst>
          </p:cNvPr>
          <p:cNvGrpSpPr/>
          <p:nvPr/>
        </p:nvGrpSpPr>
        <p:grpSpPr>
          <a:xfrm>
            <a:off x="7610190" y="2962921"/>
            <a:ext cx="933043" cy="1261978"/>
            <a:chOff x="7810607" y="3089981"/>
            <a:chExt cx="933043" cy="1261978"/>
          </a:xfrm>
        </p:grpSpPr>
        <p:pic>
          <p:nvPicPr>
            <p:cNvPr id="41" name="Picture 40" descr="Icon&#10;&#10;Description automatically generated">
              <a:extLst>
                <a:ext uri="{FF2B5EF4-FFF2-40B4-BE49-F238E27FC236}">
                  <a16:creationId xmlns:a16="http://schemas.microsoft.com/office/drawing/2014/main" id="{5D679CD3-BC09-9870-C144-64E4120FF3EE}"/>
                </a:ext>
              </a:extLst>
            </p:cNvPr>
            <p:cNvPicPr>
              <a:picLocks noChangeAspect="1"/>
            </p:cNvPicPr>
            <p:nvPr/>
          </p:nvPicPr>
          <p:blipFill>
            <a:blip r:embed="rId7"/>
            <a:stretch>
              <a:fillRect/>
            </a:stretch>
          </p:blipFill>
          <p:spPr>
            <a:xfrm>
              <a:off x="7810607" y="3089981"/>
              <a:ext cx="862741" cy="862741"/>
            </a:xfrm>
            <a:prstGeom prst="ellipse">
              <a:avLst/>
            </a:prstGeom>
            <a:ln w="63500" cap="rnd">
              <a:solidFill>
                <a:srgbClr val="FF0000"/>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sp>
          <p:nvSpPr>
            <p:cNvPr id="42" name="TextBox 41">
              <a:extLst>
                <a:ext uri="{FF2B5EF4-FFF2-40B4-BE49-F238E27FC236}">
                  <a16:creationId xmlns:a16="http://schemas.microsoft.com/office/drawing/2014/main" id="{C888D0DC-3138-63C0-086D-2383C730CE89}"/>
                </a:ext>
              </a:extLst>
            </p:cNvPr>
            <p:cNvSpPr txBox="1"/>
            <p:nvPr/>
          </p:nvSpPr>
          <p:spPr>
            <a:xfrm>
              <a:off x="7829250" y="4044434"/>
              <a:ext cx="914400" cy="307525"/>
            </a:xfrm>
            <a:prstGeom prst="rect">
              <a:avLst/>
            </a:prstGeom>
            <a:noFill/>
            <a:ln>
              <a:solidFill>
                <a:srgbClr val="FF0000"/>
              </a:solidFill>
            </a:ln>
          </p:spPr>
          <p:txBody>
            <a:bodyPr wrap="none" lIns="0" tIns="0" rIns="0" bIns="0" rtlCol="0">
              <a:noAutofit/>
            </a:bodyPr>
            <a:lstStyle/>
            <a:p>
              <a:pPr algn="ctr">
                <a:lnSpc>
                  <a:spcPct val="110000"/>
                </a:lnSpc>
                <a:spcBef>
                  <a:spcPts val="600"/>
                </a:spcBef>
              </a:pPr>
              <a:r>
                <a:rPr lang="en-US" sz="1200" dirty="0">
                  <a:ea typeface="Human Sans" charset="0"/>
                  <a:cs typeface="Human Sans" charset="0"/>
                </a:rPr>
                <a:t>Bob – MD</a:t>
              </a:r>
            </a:p>
          </p:txBody>
        </p:sp>
      </p:grpSp>
      <p:grpSp>
        <p:nvGrpSpPr>
          <p:cNvPr id="43" name="Group 42">
            <a:extLst>
              <a:ext uri="{FF2B5EF4-FFF2-40B4-BE49-F238E27FC236}">
                <a16:creationId xmlns:a16="http://schemas.microsoft.com/office/drawing/2014/main" id="{D57BE348-96F4-A86B-766A-69EE3A26BD5F}"/>
              </a:ext>
            </a:extLst>
          </p:cNvPr>
          <p:cNvGrpSpPr/>
          <p:nvPr/>
        </p:nvGrpSpPr>
        <p:grpSpPr>
          <a:xfrm>
            <a:off x="8656115" y="2962922"/>
            <a:ext cx="914400" cy="1265709"/>
            <a:chOff x="8856532" y="3089982"/>
            <a:chExt cx="914400" cy="1265709"/>
          </a:xfrm>
        </p:grpSpPr>
        <p:pic>
          <p:nvPicPr>
            <p:cNvPr id="44" name="Picture 43" descr="Icon&#10;&#10;Description automatically generated">
              <a:extLst>
                <a:ext uri="{FF2B5EF4-FFF2-40B4-BE49-F238E27FC236}">
                  <a16:creationId xmlns:a16="http://schemas.microsoft.com/office/drawing/2014/main" id="{74801FF4-2909-3002-3F91-24C62642132B}"/>
                </a:ext>
              </a:extLst>
            </p:cNvPr>
            <p:cNvPicPr>
              <a:picLocks noChangeAspect="1"/>
            </p:cNvPicPr>
            <p:nvPr/>
          </p:nvPicPr>
          <p:blipFill>
            <a:blip r:embed="rId8"/>
            <a:stretch>
              <a:fillRect/>
            </a:stretch>
          </p:blipFill>
          <p:spPr>
            <a:xfrm>
              <a:off x="8882362" y="3089982"/>
              <a:ext cx="862741" cy="862741"/>
            </a:xfrm>
            <a:prstGeom prst="ellipse">
              <a:avLst/>
            </a:prstGeom>
            <a:ln w="63500" cap="rnd">
              <a:solidFill>
                <a:srgbClr val="FF0000"/>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sp>
          <p:nvSpPr>
            <p:cNvPr id="45" name="TextBox 44">
              <a:extLst>
                <a:ext uri="{FF2B5EF4-FFF2-40B4-BE49-F238E27FC236}">
                  <a16:creationId xmlns:a16="http://schemas.microsoft.com/office/drawing/2014/main" id="{B85FC62E-3972-030F-18E0-640C16D623C7}"/>
                </a:ext>
              </a:extLst>
            </p:cNvPr>
            <p:cNvSpPr txBox="1"/>
            <p:nvPr/>
          </p:nvSpPr>
          <p:spPr>
            <a:xfrm>
              <a:off x="8856532" y="4048166"/>
              <a:ext cx="914400" cy="307525"/>
            </a:xfrm>
            <a:prstGeom prst="rect">
              <a:avLst/>
            </a:prstGeom>
            <a:noFill/>
            <a:ln>
              <a:solidFill>
                <a:srgbClr val="FF0000"/>
              </a:solidFill>
            </a:ln>
          </p:spPr>
          <p:txBody>
            <a:bodyPr wrap="none" lIns="0" tIns="0" rIns="0" bIns="0" rtlCol="0">
              <a:noAutofit/>
            </a:bodyPr>
            <a:lstStyle/>
            <a:p>
              <a:pPr algn="ctr">
                <a:lnSpc>
                  <a:spcPct val="110000"/>
                </a:lnSpc>
                <a:spcBef>
                  <a:spcPts val="600"/>
                </a:spcBef>
              </a:pPr>
              <a:r>
                <a:rPr lang="en-US" sz="1200" dirty="0">
                  <a:ea typeface="Human Sans" charset="0"/>
                  <a:cs typeface="Human Sans" charset="0"/>
                </a:rPr>
                <a:t>Eva - JD</a:t>
              </a:r>
            </a:p>
          </p:txBody>
        </p:sp>
      </p:grpSp>
      <p:grpSp>
        <p:nvGrpSpPr>
          <p:cNvPr id="46" name="Group 45">
            <a:extLst>
              <a:ext uri="{FF2B5EF4-FFF2-40B4-BE49-F238E27FC236}">
                <a16:creationId xmlns:a16="http://schemas.microsoft.com/office/drawing/2014/main" id="{3EA658B8-54F8-A019-9430-44555FE20C4C}"/>
              </a:ext>
            </a:extLst>
          </p:cNvPr>
          <p:cNvGrpSpPr/>
          <p:nvPr/>
        </p:nvGrpSpPr>
        <p:grpSpPr>
          <a:xfrm>
            <a:off x="9915165" y="2962922"/>
            <a:ext cx="914400" cy="1285035"/>
            <a:chOff x="10115582" y="3089982"/>
            <a:chExt cx="914400" cy="1285035"/>
          </a:xfrm>
        </p:grpSpPr>
        <p:pic>
          <p:nvPicPr>
            <p:cNvPr id="47" name="Picture 46" descr="Icon&#10;&#10;Description automatically generated">
              <a:extLst>
                <a:ext uri="{FF2B5EF4-FFF2-40B4-BE49-F238E27FC236}">
                  <a16:creationId xmlns:a16="http://schemas.microsoft.com/office/drawing/2014/main" id="{7F723980-9F86-DB0F-2C39-652042288F24}"/>
                </a:ext>
              </a:extLst>
            </p:cNvPr>
            <p:cNvPicPr>
              <a:picLocks noChangeAspect="1"/>
            </p:cNvPicPr>
            <p:nvPr/>
          </p:nvPicPr>
          <p:blipFill>
            <a:blip r:embed="rId9"/>
            <a:stretch>
              <a:fillRect/>
            </a:stretch>
          </p:blipFill>
          <p:spPr>
            <a:xfrm>
              <a:off x="10141412" y="3089982"/>
              <a:ext cx="862741" cy="862741"/>
            </a:xfrm>
            <a:prstGeom prst="rect">
              <a:avLst/>
            </a:prstGeom>
          </p:spPr>
        </p:pic>
        <p:sp>
          <p:nvSpPr>
            <p:cNvPr id="48" name="TextBox 47">
              <a:extLst>
                <a:ext uri="{FF2B5EF4-FFF2-40B4-BE49-F238E27FC236}">
                  <a16:creationId xmlns:a16="http://schemas.microsoft.com/office/drawing/2014/main" id="{A41BCC08-3034-1F8B-3F21-EECBD65EB641}"/>
                </a:ext>
              </a:extLst>
            </p:cNvPr>
            <p:cNvSpPr txBox="1"/>
            <p:nvPr/>
          </p:nvSpPr>
          <p:spPr>
            <a:xfrm>
              <a:off x="10115582" y="4067492"/>
              <a:ext cx="914400" cy="307525"/>
            </a:xfrm>
            <a:prstGeom prst="rect">
              <a:avLst/>
            </a:prstGeom>
            <a:noFill/>
          </p:spPr>
          <p:txBody>
            <a:bodyPr wrap="none" lIns="0" tIns="0" rIns="0" bIns="0" rtlCol="0">
              <a:noAutofit/>
            </a:bodyPr>
            <a:lstStyle/>
            <a:p>
              <a:pPr algn="ctr">
                <a:lnSpc>
                  <a:spcPct val="110000"/>
                </a:lnSpc>
                <a:spcBef>
                  <a:spcPts val="600"/>
                </a:spcBef>
              </a:pPr>
              <a:r>
                <a:rPr lang="en-US" sz="1200" dirty="0">
                  <a:ea typeface="Human Sans" charset="0"/>
                  <a:cs typeface="Human Sans" charset="0"/>
                </a:rPr>
                <a:t>Diana - QA</a:t>
              </a:r>
            </a:p>
          </p:txBody>
        </p:sp>
      </p:grpSp>
      <p:grpSp>
        <p:nvGrpSpPr>
          <p:cNvPr id="49" name="Group 48">
            <a:extLst>
              <a:ext uri="{FF2B5EF4-FFF2-40B4-BE49-F238E27FC236}">
                <a16:creationId xmlns:a16="http://schemas.microsoft.com/office/drawing/2014/main" id="{2328E9C9-E83C-362D-F6D2-A69E23B0BBA1}"/>
              </a:ext>
            </a:extLst>
          </p:cNvPr>
          <p:cNvGrpSpPr/>
          <p:nvPr/>
        </p:nvGrpSpPr>
        <p:grpSpPr>
          <a:xfrm>
            <a:off x="9953375" y="4368223"/>
            <a:ext cx="914400" cy="1246962"/>
            <a:chOff x="10338849" y="4462008"/>
            <a:chExt cx="914400" cy="1246962"/>
          </a:xfrm>
        </p:grpSpPr>
        <p:pic>
          <p:nvPicPr>
            <p:cNvPr id="50" name="Picture 49" descr="Icon&#10;&#10;Description automatically generated">
              <a:extLst>
                <a:ext uri="{FF2B5EF4-FFF2-40B4-BE49-F238E27FC236}">
                  <a16:creationId xmlns:a16="http://schemas.microsoft.com/office/drawing/2014/main" id="{7664D971-33C2-298C-5CDD-B8E9723F4675}"/>
                </a:ext>
              </a:extLst>
            </p:cNvPr>
            <p:cNvPicPr>
              <a:picLocks noChangeAspect="1"/>
            </p:cNvPicPr>
            <p:nvPr/>
          </p:nvPicPr>
          <p:blipFill>
            <a:blip r:embed="rId10"/>
            <a:stretch>
              <a:fillRect/>
            </a:stretch>
          </p:blipFill>
          <p:spPr>
            <a:xfrm>
              <a:off x="10364679" y="4462008"/>
              <a:ext cx="862741" cy="862741"/>
            </a:xfrm>
            <a:prstGeom prst="rect">
              <a:avLst/>
            </a:prstGeom>
          </p:spPr>
        </p:pic>
        <p:sp>
          <p:nvSpPr>
            <p:cNvPr id="51" name="TextBox 50">
              <a:extLst>
                <a:ext uri="{FF2B5EF4-FFF2-40B4-BE49-F238E27FC236}">
                  <a16:creationId xmlns:a16="http://schemas.microsoft.com/office/drawing/2014/main" id="{FE7FEC11-0F04-314D-D4CF-BB326136E17C}"/>
                </a:ext>
              </a:extLst>
            </p:cNvPr>
            <p:cNvSpPr txBox="1"/>
            <p:nvPr/>
          </p:nvSpPr>
          <p:spPr>
            <a:xfrm>
              <a:off x="10338849" y="5401445"/>
              <a:ext cx="914400" cy="307525"/>
            </a:xfrm>
            <a:prstGeom prst="rect">
              <a:avLst/>
            </a:prstGeom>
            <a:noFill/>
          </p:spPr>
          <p:txBody>
            <a:bodyPr wrap="none" lIns="0" tIns="0" rIns="0" bIns="0" rtlCol="0">
              <a:noAutofit/>
            </a:bodyPr>
            <a:lstStyle/>
            <a:p>
              <a:pPr algn="ctr">
                <a:lnSpc>
                  <a:spcPct val="110000"/>
                </a:lnSpc>
                <a:spcBef>
                  <a:spcPts val="600"/>
                </a:spcBef>
              </a:pPr>
              <a:r>
                <a:rPr lang="en-US" sz="1200" dirty="0">
                  <a:ea typeface="Human Sans" charset="0"/>
                  <a:cs typeface="Human Sans" charset="0"/>
                </a:rPr>
                <a:t>Pavel - DevOps</a:t>
              </a:r>
            </a:p>
          </p:txBody>
        </p:sp>
      </p:grpSp>
    </p:spTree>
    <p:extLst>
      <p:ext uri="{BB962C8B-B14F-4D97-AF65-F5344CB8AC3E}">
        <p14:creationId xmlns:p14="http://schemas.microsoft.com/office/powerpoint/2010/main" val="1941243125"/>
      </p:ext>
    </p:extLst>
  </p:cSld>
  <p:clrMapOvr>
    <a:masterClrMapping/>
  </p:clrMapOvr>
  <p:transition spd="slow">
    <p:push dir="u"/>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3E7B12-94E5-1E8A-9A20-C930CC8426EB}"/>
              </a:ext>
            </a:extLst>
          </p:cNvPr>
          <p:cNvSpPr>
            <a:spLocks noGrp="1"/>
          </p:cNvSpPr>
          <p:nvPr>
            <p:ph type="title"/>
          </p:nvPr>
        </p:nvSpPr>
        <p:spPr>
          <a:xfrm>
            <a:off x="639073" y="1424520"/>
            <a:ext cx="5333999" cy="2462213"/>
          </a:xfrm>
        </p:spPr>
        <p:txBody>
          <a:bodyPr/>
          <a:lstStyle/>
          <a:p>
            <a:r>
              <a:rPr lang="en-US" sz="3200" dirty="0"/>
              <a:t>Bob is overwhelmed and becoming a bottleneck.</a:t>
            </a:r>
            <a:br>
              <a:rPr lang="en-US" sz="3200" dirty="0"/>
            </a:br>
            <a:r>
              <a:rPr lang="en-US" sz="3200" dirty="0">
                <a:solidFill>
                  <a:schemeClr val="accent6"/>
                </a:solidFill>
                <a:latin typeface="Calibri" panose="020F0502020204030204" pitchFamily="34" charset="0"/>
                <a:cs typeface="Calibri" panose="020F0502020204030204" pitchFamily="34" charset="0"/>
              </a:rPr>
              <a:t>What steps will you take to distribute the workload more effectively?</a:t>
            </a:r>
          </a:p>
        </p:txBody>
      </p:sp>
      <p:sp>
        <p:nvSpPr>
          <p:cNvPr id="8" name="Text Placeholder 7">
            <a:extLst>
              <a:ext uri="{FF2B5EF4-FFF2-40B4-BE49-F238E27FC236}">
                <a16:creationId xmlns:a16="http://schemas.microsoft.com/office/drawing/2014/main" id="{A33CA039-DE3C-5D85-0DB8-D98A38BFDC35}"/>
              </a:ext>
            </a:extLst>
          </p:cNvPr>
          <p:cNvSpPr>
            <a:spLocks noGrp="1"/>
          </p:cNvSpPr>
          <p:nvPr>
            <p:ph type="body" sz="quarter" idx="28"/>
          </p:nvPr>
        </p:nvSpPr>
        <p:spPr>
          <a:xfrm>
            <a:off x="627063" y="419100"/>
            <a:ext cx="3725862" cy="397732"/>
          </a:xfrm>
        </p:spPr>
        <p:txBody>
          <a:bodyPr>
            <a:normAutofit/>
          </a:bodyPr>
          <a:lstStyle/>
          <a:p>
            <a:r>
              <a:rPr lang="en-US" dirty="0"/>
              <a:t>Team Leadership workshop: USE-cases</a:t>
            </a:r>
          </a:p>
        </p:txBody>
      </p:sp>
      <p:sp>
        <p:nvSpPr>
          <p:cNvPr id="10" name="Text Placeholder 9">
            <a:extLst>
              <a:ext uri="{FF2B5EF4-FFF2-40B4-BE49-F238E27FC236}">
                <a16:creationId xmlns:a16="http://schemas.microsoft.com/office/drawing/2014/main" id="{1F88C411-8C59-AFA3-5C10-11E75FDF9817}"/>
              </a:ext>
            </a:extLst>
          </p:cNvPr>
          <p:cNvSpPr>
            <a:spLocks noGrp="1"/>
          </p:cNvSpPr>
          <p:nvPr>
            <p:ph type="body" sz="quarter" idx="25"/>
          </p:nvPr>
        </p:nvSpPr>
        <p:spPr>
          <a:xfrm>
            <a:off x="627062" y="722843"/>
            <a:ext cx="5346009" cy="397732"/>
          </a:xfrm>
        </p:spPr>
        <p:txBody>
          <a:bodyPr/>
          <a:lstStyle/>
          <a:p>
            <a:r>
              <a:rPr lang="en-US" dirty="0"/>
              <a:t>Case 6.1: Managing Capacity and Bottlenecks</a:t>
            </a:r>
          </a:p>
        </p:txBody>
      </p:sp>
      <p:grpSp>
        <p:nvGrpSpPr>
          <p:cNvPr id="32" name="Group 31">
            <a:extLst>
              <a:ext uri="{FF2B5EF4-FFF2-40B4-BE49-F238E27FC236}">
                <a16:creationId xmlns:a16="http://schemas.microsoft.com/office/drawing/2014/main" id="{38CAE5AD-B9D9-1BE3-D8DA-9F3BAC97EFE3}"/>
              </a:ext>
            </a:extLst>
          </p:cNvPr>
          <p:cNvGrpSpPr/>
          <p:nvPr/>
        </p:nvGrpSpPr>
        <p:grpSpPr>
          <a:xfrm>
            <a:off x="7031633" y="5174495"/>
            <a:ext cx="914400" cy="1507452"/>
            <a:chOff x="7954394" y="5075784"/>
            <a:chExt cx="914400" cy="1507452"/>
          </a:xfrm>
        </p:grpSpPr>
        <p:pic>
          <p:nvPicPr>
            <p:cNvPr id="33" name="Picture 32" descr="Icon&#10;&#10;Description automatically generated">
              <a:extLst>
                <a:ext uri="{FF2B5EF4-FFF2-40B4-BE49-F238E27FC236}">
                  <a16:creationId xmlns:a16="http://schemas.microsoft.com/office/drawing/2014/main" id="{2F838510-22B0-4FBB-C199-A585524A88F1}"/>
                </a:ext>
              </a:extLst>
            </p:cNvPr>
            <p:cNvPicPr>
              <a:picLocks noChangeAspect="1"/>
            </p:cNvPicPr>
            <p:nvPr/>
          </p:nvPicPr>
          <p:blipFill>
            <a:blip r:embed="rId3"/>
            <a:stretch>
              <a:fillRect/>
            </a:stretch>
          </p:blipFill>
          <p:spPr>
            <a:xfrm>
              <a:off x="7974887" y="5075784"/>
              <a:ext cx="862741" cy="1133067"/>
            </a:xfrm>
            <a:prstGeom prst="rect">
              <a:avLst/>
            </a:prstGeom>
          </p:spPr>
        </p:pic>
        <p:sp>
          <p:nvSpPr>
            <p:cNvPr id="34" name="TextBox 33">
              <a:extLst>
                <a:ext uri="{FF2B5EF4-FFF2-40B4-BE49-F238E27FC236}">
                  <a16:creationId xmlns:a16="http://schemas.microsoft.com/office/drawing/2014/main" id="{587F560B-62C0-B867-EC11-79B4C360893D}"/>
                </a:ext>
              </a:extLst>
            </p:cNvPr>
            <p:cNvSpPr txBox="1"/>
            <p:nvPr/>
          </p:nvSpPr>
          <p:spPr>
            <a:xfrm>
              <a:off x="7954394" y="6275711"/>
              <a:ext cx="914400" cy="307525"/>
            </a:xfrm>
            <a:prstGeom prst="rect">
              <a:avLst/>
            </a:prstGeom>
            <a:noFill/>
          </p:spPr>
          <p:txBody>
            <a:bodyPr wrap="none" lIns="0" tIns="0" rIns="0" bIns="0" rtlCol="0">
              <a:noAutofit/>
            </a:bodyPr>
            <a:lstStyle/>
            <a:p>
              <a:pPr algn="ctr">
                <a:lnSpc>
                  <a:spcPct val="110000"/>
                </a:lnSpc>
                <a:spcBef>
                  <a:spcPts val="600"/>
                </a:spcBef>
              </a:pPr>
              <a:r>
                <a:rPr lang="en-US" sz="1200" dirty="0">
                  <a:ea typeface="Human Sans" charset="0"/>
                  <a:cs typeface="Human Sans" charset="0"/>
                </a:rPr>
                <a:t>You</a:t>
              </a:r>
            </a:p>
          </p:txBody>
        </p:sp>
      </p:grpSp>
      <p:sp>
        <p:nvSpPr>
          <p:cNvPr id="35" name="Speech Bubble: Rectangle 34">
            <a:extLst>
              <a:ext uri="{FF2B5EF4-FFF2-40B4-BE49-F238E27FC236}">
                <a16:creationId xmlns:a16="http://schemas.microsoft.com/office/drawing/2014/main" id="{5A3D9C85-096D-77E0-F8FF-1459C0ADD876}"/>
              </a:ext>
            </a:extLst>
          </p:cNvPr>
          <p:cNvSpPr/>
          <p:nvPr/>
        </p:nvSpPr>
        <p:spPr bwMode="auto">
          <a:xfrm>
            <a:off x="7697873" y="4555837"/>
            <a:ext cx="396301" cy="551798"/>
          </a:xfrm>
          <a:prstGeom prst="wedgeRectCallout">
            <a:avLst/>
          </a:prstGeom>
          <a:ln/>
        </p:spPr>
        <p:style>
          <a:lnRef idx="2">
            <a:schemeClr val="dk1"/>
          </a:lnRef>
          <a:fillRef idx="1">
            <a:schemeClr val="lt1"/>
          </a:fillRef>
          <a:effectRef idx="0">
            <a:schemeClr val="dk1"/>
          </a:effectRef>
          <a:fontRef idx="minor">
            <a:schemeClr val="dk1"/>
          </a:fontRef>
        </p:style>
        <p:txBody>
          <a:bodyPr wrap="none" rtlCol="0" anchor="ctr"/>
          <a:lstStyle/>
          <a:p>
            <a:pPr algn="ctr"/>
            <a:r>
              <a:rPr lang="en-US" sz="2000" dirty="0">
                <a:ln w="0"/>
                <a:solidFill>
                  <a:schemeClr val="tx1"/>
                </a:solidFill>
                <a:effectLst>
                  <a:outerShdw blurRad="38100" dist="19050" dir="2700000" algn="tl" rotWithShape="0">
                    <a:schemeClr val="dk1">
                      <a:alpha val="40000"/>
                    </a:schemeClr>
                  </a:outerShdw>
                </a:effectLst>
                <a:latin typeface="Calibri Light" panose="020F0302020204030204" pitchFamily="34" charset="0"/>
                <a:ea typeface="Human Sans ExtraLight" charset="0"/>
                <a:cs typeface="Human Sans ExtraLight" charset="0"/>
              </a:rPr>
              <a:t>?</a:t>
            </a:r>
            <a:endParaRPr lang="en-US" sz="2000" dirty="0">
              <a:solidFill>
                <a:schemeClr val="bg1"/>
              </a:solidFill>
              <a:latin typeface="Calibri Light" panose="020F0302020204030204" pitchFamily="34" charset="0"/>
              <a:ea typeface="Human Sans ExtraLight" charset="0"/>
              <a:cs typeface="Human Sans ExtraLight" charset="0"/>
            </a:endParaRPr>
          </a:p>
        </p:txBody>
      </p:sp>
      <p:grpSp>
        <p:nvGrpSpPr>
          <p:cNvPr id="4" name="Group 3">
            <a:extLst>
              <a:ext uri="{FF2B5EF4-FFF2-40B4-BE49-F238E27FC236}">
                <a16:creationId xmlns:a16="http://schemas.microsoft.com/office/drawing/2014/main" id="{BB4845E9-5781-3F39-B75A-F8107484E395}"/>
              </a:ext>
            </a:extLst>
          </p:cNvPr>
          <p:cNvGrpSpPr/>
          <p:nvPr/>
        </p:nvGrpSpPr>
        <p:grpSpPr>
          <a:xfrm>
            <a:off x="8827288" y="550438"/>
            <a:ext cx="923632" cy="1258357"/>
            <a:chOff x="9278671" y="722843"/>
            <a:chExt cx="923632" cy="1258357"/>
          </a:xfrm>
        </p:grpSpPr>
        <p:pic>
          <p:nvPicPr>
            <p:cNvPr id="5" name="Picture 4" descr="Icon&#10;&#10;Description automatically generated">
              <a:extLst>
                <a:ext uri="{FF2B5EF4-FFF2-40B4-BE49-F238E27FC236}">
                  <a16:creationId xmlns:a16="http://schemas.microsoft.com/office/drawing/2014/main" id="{551DFBEF-7F97-AFC6-553C-1B3BBF9FFF2B}"/>
                </a:ext>
              </a:extLst>
            </p:cNvPr>
            <p:cNvPicPr>
              <a:picLocks noChangeAspect="1"/>
            </p:cNvPicPr>
            <p:nvPr/>
          </p:nvPicPr>
          <p:blipFill>
            <a:blip r:embed="rId4"/>
            <a:stretch>
              <a:fillRect/>
            </a:stretch>
          </p:blipFill>
          <p:spPr>
            <a:xfrm>
              <a:off x="9278671" y="722843"/>
              <a:ext cx="862741" cy="862741"/>
            </a:xfrm>
            <a:prstGeom prst="rect">
              <a:avLst/>
            </a:prstGeom>
          </p:spPr>
        </p:pic>
        <p:sp>
          <p:nvSpPr>
            <p:cNvPr id="6" name="TextBox 5">
              <a:extLst>
                <a:ext uri="{FF2B5EF4-FFF2-40B4-BE49-F238E27FC236}">
                  <a16:creationId xmlns:a16="http://schemas.microsoft.com/office/drawing/2014/main" id="{787D0E6B-D589-01B3-A6E4-63C68B64DD65}"/>
                </a:ext>
              </a:extLst>
            </p:cNvPr>
            <p:cNvSpPr txBox="1"/>
            <p:nvPr/>
          </p:nvSpPr>
          <p:spPr>
            <a:xfrm>
              <a:off x="9287903" y="1673675"/>
              <a:ext cx="914400" cy="307525"/>
            </a:xfrm>
            <a:prstGeom prst="rect">
              <a:avLst/>
            </a:prstGeom>
            <a:noFill/>
          </p:spPr>
          <p:txBody>
            <a:bodyPr wrap="none" lIns="0" tIns="0" rIns="0" bIns="0" rtlCol="0">
              <a:noAutofit/>
            </a:bodyPr>
            <a:lstStyle/>
            <a:p>
              <a:pPr algn="ctr">
                <a:lnSpc>
                  <a:spcPct val="110000"/>
                </a:lnSpc>
                <a:spcBef>
                  <a:spcPts val="600"/>
                </a:spcBef>
              </a:pPr>
              <a:r>
                <a:rPr lang="en-US" sz="1200" dirty="0">
                  <a:ea typeface="Human Sans" charset="0"/>
                  <a:cs typeface="Human Sans" charset="0"/>
                </a:rPr>
                <a:t>Dean - SM</a:t>
              </a:r>
            </a:p>
          </p:txBody>
        </p:sp>
      </p:grpSp>
      <p:grpSp>
        <p:nvGrpSpPr>
          <p:cNvPr id="7" name="Group 6">
            <a:extLst>
              <a:ext uri="{FF2B5EF4-FFF2-40B4-BE49-F238E27FC236}">
                <a16:creationId xmlns:a16="http://schemas.microsoft.com/office/drawing/2014/main" id="{84309EC9-FF7E-8DB6-3B0A-F24E5005367D}"/>
              </a:ext>
            </a:extLst>
          </p:cNvPr>
          <p:cNvGrpSpPr/>
          <p:nvPr/>
        </p:nvGrpSpPr>
        <p:grpSpPr>
          <a:xfrm>
            <a:off x="7748640" y="1590899"/>
            <a:ext cx="914400" cy="1280310"/>
            <a:chOff x="7949057" y="1717959"/>
            <a:chExt cx="914400" cy="1280310"/>
          </a:xfrm>
        </p:grpSpPr>
        <p:pic>
          <p:nvPicPr>
            <p:cNvPr id="9" name="Picture 8" descr="Icon, circle&#10;&#10;Description automatically generated">
              <a:extLst>
                <a:ext uri="{FF2B5EF4-FFF2-40B4-BE49-F238E27FC236}">
                  <a16:creationId xmlns:a16="http://schemas.microsoft.com/office/drawing/2014/main" id="{38E0BDAB-5373-19C6-6F91-35D85857A5DD}"/>
                </a:ext>
              </a:extLst>
            </p:cNvPr>
            <p:cNvPicPr>
              <a:picLocks noChangeAspect="1"/>
            </p:cNvPicPr>
            <p:nvPr/>
          </p:nvPicPr>
          <p:blipFill>
            <a:blip r:embed="rId5"/>
            <a:stretch>
              <a:fillRect/>
            </a:stretch>
          </p:blipFill>
          <p:spPr>
            <a:xfrm>
              <a:off x="7974889" y="1717959"/>
              <a:ext cx="862741" cy="862741"/>
            </a:xfrm>
            <a:prstGeom prst="rect">
              <a:avLst/>
            </a:prstGeom>
          </p:spPr>
        </p:pic>
        <p:sp>
          <p:nvSpPr>
            <p:cNvPr id="36" name="TextBox 35">
              <a:extLst>
                <a:ext uri="{FF2B5EF4-FFF2-40B4-BE49-F238E27FC236}">
                  <a16:creationId xmlns:a16="http://schemas.microsoft.com/office/drawing/2014/main" id="{EF22CD6A-7350-B784-9FA5-1629B4C3CE31}"/>
                </a:ext>
              </a:extLst>
            </p:cNvPr>
            <p:cNvSpPr txBox="1"/>
            <p:nvPr/>
          </p:nvSpPr>
          <p:spPr>
            <a:xfrm>
              <a:off x="7949057" y="2690744"/>
              <a:ext cx="914400" cy="307525"/>
            </a:xfrm>
            <a:prstGeom prst="rect">
              <a:avLst/>
            </a:prstGeom>
            <a:noFill/>
          </p:spPr>
          <p:txBody>
            <a:bodyPr wrap="none" lIns="0" tIns="0" rIns="0" bIns="0" rtlCol="0">
              <a:noAutofit/>
            </a:bodyPr>
            <a:lstStyle/>
            <a:p>
              <a:pPr algn="ctr">
                <a:lnSpc>
                  <a:spcPct val="110000"/>
                </a:lnSpc>
                <a:spcBef>
                  <a:spcPts val="600"/>
                </a:spcBef>
              </a:pPr>
              <a:r>
                <a:rPr lang="en-US" sz="1200" dirty="0">
                  <a:ea typeface="Human Sans" charset="0"/>
                  <a:cs typeface="Human Sans" charset="0"/>
                </a:rPr>
                <a:t>Adam – SD</a:t>
              </a:r>
            </a:p>
          </p:txBody>
        </p:sp>
      </p:grpSp>
      <p:grpSp>
        <p:nvGrpSpPr>
          <p:cNvPr id="37" name="Group 36">
            <a:extLst>
              <a:ext uri="{FF2B5EF4-FFF2-40B4-BE49-F238E27FC236}">
                <a16:creationId xmlns:a16="http://schemas.microsoft.com/office/drawing/2014/main" id="{15401A2B-13DF-F884-07EA-990F72A86F8E}"/>
              </a:ext>
            </a:extLst>
          </p:cNvPr>
          <p:cNvGrpSpPr/>
          <p:nvPr/>
        </p:nvGrpSpPr>
        <p:grpSpPr>
          <a:xfrm>
            <a:off x="9940995" y="1630369"/>
            <a:ext cx="926780" cy="1257253"/>
            <a:chOff x="10327938" y="1717960"/>
            <a:chExt cx="926780" cy="1257253"/>
          </a:xfrm>
        </p:grpSpPr>
        <p:pic>
          <p:nvPicPr>
            <p:cNvPr id="38" name="Picture 37" descr="Icon&#10;&#10;Description automatically generated">
              <a:extLst>
                <a:ext uri="{FF2B5EF4-FFF2-40B4-BE49-F238E27FC236}">
                  <a16:creationId xmlns:a16="http://schemas.microsoft.com/office/drawing/2014/main" id="{18881A4B-8FB3-CD52-49B2-C568CC61DE34}"/>
                </a:ext>
              </a:extLst>
            </p:cNvPr>
            <p:cNvPicPr>
              <a:picLocks noChangeAspect="1"/>
            </p:cNvPicPr>
            <p:nvPr/>
          </p:nvPicPr>
          <p:blipFill>
            <a:blip r:embed="rId6"/>
            <a:stretch>
              <a:fillRect/>
            </a:stretch>
          </p:blipFill>
          <p:spPr>
            <a:xfrm>
              <a:off x="10327938" y="1717960"/>
              <a:ext cx="862741" cy="862741"/>
            </a:xfrm>
            <a:prstGeom prst="rect">
              <a:avLst/>
            </a:prstGeom>
          </p:spPr>
        </p:pic>
        <p:sp>
          <p:nvSpPr>
            <p:cNvPr id="39" name="TextBox 38">
              <a:extLst>
                <a:ext uri="{FF2B5EF4-FFF2-40B4-BE49-F238E27FC236}">
                  <a16:creationId xmlns:a16="http://schemas.microsoft.com/office/drawing/2014/main" id="{123AC138-EB9B-5AF0-1D25-C569E570C2DA}"/>
                </a:ext>
              </a:extLst>
            </p:cNvPr>
            <p:cNvSpPr txBox="1"/>
            <p:nvPr/>
          </p:nvSpPr>
          <p:spPr>
            <a:xfrm>
              <a:off x="10340318" y="2667688"/>
              <a:ext cx="914400" cy="307525"/>
            </a:xfrm>
            <a:prstGeom prst="rect">
              <a:avLst/>
            </a:prstGeom>
            <a:noFill/>
          </p:spPr>
          <p:txBody>
            <a:bodyPr wrap="none" lIns="0" tIns="0" rIns="0" bIns="0" rtlCol="0">
              <a:noAutofit/>
            </a:bodyPr>
            <a:lstStyle/>
            <a:p>
              <a:pPr algn="ctr">
                <a:lnSpc>
                  <a:spcPct val="110000"/>
                </a:lnSpc>
                <a:spcBef>
                  <a:spcPts val="600"/>
                </a:spcBef>
              </a:pPr>
              <a:r>
                <a:rPr lang="en-US" sz="1200" dirty="0">
                  <a:ea typeface="Human Sans" charset="0"/>
                  <a:cs typeface="Human Sans" charset="0"/>
                </a:rPr>
                <a:t>Mary – PO/BA</a:t>
              </a:r>
            </a:p>
          </p:txBody>
        </p:sp>
      </p:grpSp>
      <p:grpSp>
        <p:nvGrpSpPr>
          <p:cNvPr id="40" name="Group 39">
            <a:extLst>
              <a:ext uri="{FF2B5EF4-FFF2-40B4-BE49-F238E27FC236}">
                <a16:creationId xmlns:a16="http://schemas.microsoft.com/office/drawing/2014/main" id="{B0B1EFE6-25B8-46DF-22EF-47268626D5DA}"/>
              </a:ext>
            </a:extLst>
          </p:cNvPr>
          <p:cNvGrpSpPr/>
          <p:nvPr/>
        </p:nvGrpSpPr>
        <p:grpSpPr>
          <a:xfrm>
            <a:off x="7610190" y="2962921"/>
            <a:ext cx="933043" cy="1261978"/>
            <a:chOff x="7810607" y="3089981"/>
            <a:chExt cx="933043" cy="1261978"/>
          </a:xfrm>
        </p:grpSpPr>
        <p:pic>
          <p:nvPicPr>
            <p:cNvPr id="41" name="Picture 40" descr="Icon&#10;&#10;Description automatically generated">
              <a:extLst>
                <a:ext uri="{FF2B5EF4-FFF2-40B4-BE49-F238E27FC236}">
                  <a16:creationId xmlns:a16="http://schemas.microsoft.com/office/drawing/2014/main" id="{5D679CD3-BC09-9870-C144-64E4120FF3EE}"/>
                </a:ext>
              </a:extLst>
            </p:cNvPr>
            <p:cNvPicPr>
              <a:picLocks noChangeAspect="1"/>
            </p:cNvPicPr>
            <p:nvPr/>
          </p:nvPicPr>
          <p:blipFill>
            <a:blip r:embed="rId7"/>
            <a:stretch>
              <a:fillRect/>
            </a:stretch>
          </p:blipFill>
          <p:spPr>
            <a:xfrm>
              <a:off x="7810607" y="3089981"/>
              <a:ext cx="862741" cy="862741"/>
            </a:xfrm>
            <a:prstGeom prst="ellipse">
              <a:avLst/>
            </a:prstGeom>
            <a:ln w="63500" cap="rnd">
              <a:solidFill>
                <a:srgbClr val="FF0000"/>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sp>
          <p:nvSpPr>
            <p:cNvPr id="42" name="TextBox 41">
              <a:extLst>
                <a:ext uri="{FF2B5EF4-FFF2-40B4-BE49-F238E27FC236}">
                  <a16:creationId xmlns:a16="http://schemas.microsoft.com/office/drawing/2014/main" id="{C888D0DC-3138-63C0-086D-2383C730CE89}"/>
                </a:ext>
              </a:extLst>
            </p:cNvPr>
            <p:cNvSpPr txBox="1"/>
            <p:nvPr/>
          </p:nvSpPr>
          <p:spPr>
            <a:xfrm>
              <a:off x="7829250" y="4044434"/>
              <a:ext cx="914400" cy="307525"/>
            </a:xfrm>
            <a:prstGeom prst="rect">
              <a:avLst/>
            </a:prstGeom>
            <a:noFill/>
            <a:ln>
              <a:solidFill>
                <a:srgbClr val="FF0000"/>
              </a:solidFill>
            </a:ln>
          </p:spPr>
          <p:txBody>
            <a:bodyPr wrap="none" lIns="0" tIns="0" rIns="0" bIns="0" rtlCol="0">
              <a:noAutofit/>
            </a:bodyPr>
            <a:lstStyle/>
            <a:p>
              <a:pPr algn="ctr">
                <a:lnSpc>
                  <a:spcPct val="110000"/>
                </a:lnSpc>
                <a:spcBef>
                  <a:spcPts val="600"/>
                </a:spcBef>
              </a:pPr>
              <a:r>
                <a:rPr lang="en-US" sz="1200" dirty="0">
                  <a:ea typeface="Human Sans" charset="0"/>
                  <a:cs typeface="Human Sans" charset="0"/>
                </a:rPr>
                <a:t>Bob – MD</a:t>
              </a:r>
            </a:p>
          </p:txBody>
        </p:sp>
      </p:grpSp>
      <p:grpSp>
        <p:nvGrpSpPr>
          <p:cNvPr id="43" name="Group 42">
            <a:extLst>
              <a:ext uri="{FF2B5EF4-FFF2-40B4-BE49-F238E27FC236}">
                <a16:creationId xmlns:a16="http://schemas.microsoft.com/office/drawing/2014/main" id="{D57BE348-96F4-A86B-766A-69EE3A26BD5F}"/>
              </a:ext>
            </a:extLst>
          </p:cNvPr>
          <p:cNvGrpSpPr/>
          <p:nvPr/>
        </p:nvGrpSpPr>
        <p:grpSpPr>
          <a:xfrm>
            <a:off x="8656115" y="2962922"/>
            <a:ext cx="914400" cy="1265709"/>
            <a:chOff x="8856532" y="3089982"/>
            <a:chExt cx="914400" cy="1265709"/>
          </a:xfrm>
        </p:grpSpPr>
        <p:pic>
          <p:nvPicPr>
            <p:cNvPr id="44" name="Picture 43" descr="Icon&#10;&#10;Description automatically generated">
              <a:extLst>
                <a:ext uri="{FF2B5EF4-FFF2-40B4-BE49-F238E27FC236}">
                  <a16:creationId xmlns:a16="http://schemas.microsoft.com/office/drawing/2014/main" id="{74801FF4-2909-3002-3F91-24C62642132B}"/>
                </a:ext>
              </a:extLst>
            </p:cNvPr>
            <p:cNvPicPr>
              <a:picLocks noChangeAspect="1"/>
            </p:cNvPicPr>
            <p:nvPr/>
          </p:nvPicPr>
          <p:blipFill>
            <a:blip r:embed="rId8"/>
            <a:stretch>
              <a:fillRect/>
            </a:stretch>
          </p:blipFill>
          <p:spPr>
            <a:xfrm>
              <a:off x="8882362" y="3089982"/>
              <a:ext cx="862741" cy="862741"/>
            </a:xfrm>
            <a:prstGeom prst="rect">
              <a:avLst/>
            </a:prstGeom>
          </p:spPr>
        </p:pic>
        <p:sp>
          <p:nvSpPr>
            <p:cNvPr id="45" name="TextBox 44">
              <a:extLst>
                <a:ext uri="{FF2B5EF4-FFF2-40B4-BE49-F238E27FC236}">
                  <a16:creationId xmlns:a16="http://schemas.microsoft.com/office/drawing/2014/main" id="{B85FC62E-3972-030F-18E0-640C16D623C7}"/>
                </a:ext>
              </a:extLst>
            </p:cNvPr>
            <p:cNvSpPr txBox="1"/>
            <p:nvPr/>
          </p:nvSpPr>
          <p:spPr>
            <a:xfrm>
              <a:off x="8856532" y="4048166"/>
              <a:ext cx="914400" cy="307525"/>
            </a:xfrm>
            <a:prstGeom prst="rect">
              <a:avLst/>
            </a:prstGeom>
            <a:noFill/>
          </p:spPr>
          <p:txBody>
            <a:bodyPr wrap="none" lIns="0" tIns="0" rIns="0" bIns="0" rtlCol="0">
              <a:noAutofit/>
            </a:bodyPr>
            <a:lstStyle/>
            <a:p>
              <a:pPr algn="ctr">
                <a:lnSpc>
                  <a:spcPct val="110000"/>
                </a:lnSpc>
                <a:spcBef>
                  <a:spcPts val="600"/>
                </a:spcBef>
              </a:pPr>
              <a:r>
                <a:rPr lang="en-US" sz="1200" dirty="0">
                  <a:ea typeface="Human Sans" charset="0"/>
                  <a:cs typeface="Human Sans" charset="0"/>
                </a:rPr>
                <a:t>Eva - JD</a:t>
              </a:r>
            </a:p>
          </p:txBody>
        </p:sp>
      </p:grpSp>
      <p:grpSp>
        <p:nvGrpSpPr>
          <p:cNvPr id="46" name="Group 45">
            <a:extLst>
              <a:ext uri="{FF2B5EF4-FFF2-40B4-BE49-F238E27FC236}">
                <a16:creationId xmlns:a16="http://schemas.microsoft.com/office/drawing/2014/main" id="{3EA658B8-54F8-A019-9430-44555FE20C4C}"/>
              </a:ext>
            </a:extLst>
          </p:cNvPr>
          <p:cNvGrpSpPr/>
          <p:nvPr/>
        </p:nvGrpSpPr>
        <p:grpSpPr>
          <a:xfrm>
            <a:off x="9915165" y="2962922"/>
            <a:ext cx="914400" cy="1285035"/>
            <a:chOff x="10115582" y="3089982"/>
            <a:chExt cx="914400" cy="1285035"/>
          </a:xfrm>
        </p:grpSpPr>
        <p:pic>
          <p:nvPicPr>
            <p:cNvPr id="47" name="Picture 46" descr="Icon&#10;&#10;Description automatically generated">
              <a:extLst>
                <a:ext uri="{FF2B5EF4-FFF2-40B4-BE49-F238E27FC236}">
                  <a16:creationId xmlns:a16="http://schemas.microsoft.com/office/drawing/2014/main" id="{7F723980-9F86-DB0F-2C39-652042288F24}"/>
                </a:ext>
              </a:extLst>
            </p:cNvPr>
            <p:cNvPicPr>
              <a:picLocks noChangeAspect="1"/>
            </p:cNvPicPr>
            <p:nvPr/>
          </p:nvPicPr>
          <p:blipFill>
            <a:blip r:embed="rId9"/>
            <a:stretch>
              <a:fillRect/>
            </a:stretch>
          </p:blipFill>
          <p:spPr>
            <a:xfrm>
              <a:off x="10141412" y="3089982"/>
              <a:ext cx="862741" cy="862741"/>
            </a:xfrm>
            <a:prstGeom prst="rect">
              <a:avLst/>
            </a:prstGeom>
          </p:spPr>
        </p:pic>
        <p:sp>
          <p:nvSpPr>
            <p:cNvPr id="48" name="TextBox 47">
              <a:extLst>
                <a:ext uri="{FF2B5EF4-FFF2-40B4-BE49-F238E27FC236}">
                  <a16:creationId xmlns:a16="http://schemas.microsoft.com/office/drawing/2014/main" id="{A41BCC08-3034-1F8B-3F21-EECBD65EB641}"/>
                </a:ext>
              </a:extLst>
            </p:cNvPr>
            <p:cNvSpPr txBox="1"/>
            <p:nvPr/>
          </p:nvSpPr>
          <p:spPr>
            <a:xfrm>
              <a:off x="10115582" y="4067492"/>
              <a:ext cx="914400" cy="307525"/>
            </a:xfrm>
            <a:prstGeom prst="rect">
              <a:avLst/>
            </a:prstGeom>
            <a:noFill/>
          </p:spPr>
          <p:txBody>
            <a:bodyPr wrap="none" lIns="0" tIns="0" rIns="0" bIns="0" rtlCol="0">
              <a:noAutofit/>
            </a:bodyPr>
            <a:lstStyle/>
            <a:p>
              <a:pPr algn="ctr">
                <a:lnSpc>
                  <a:spcPct val="110000"/>
                </a:lnSpc>
                <a:spcBef>
                  <a:spcPts val="600"/>
                </a:spcBef>
              </a:pPr>
              <a:r>
                <a:rPr lang="en-US" sz="1200" dirty="0">
                  <a:ea typeface="Human Sans" charset="0"/>
                  <a:cs typeface="Human Sans" charset="0"/>
                </a:rPr>
                <a:t>Diana - QA</a:t>
              </a:r>
            </a:p>
          </p:txBody>
        </p:sp>
      </p:grpSp>
      <p:grpSp>
        <p:nvGrpSpPr>
          <p:cNvPr id="49" name="Group 48">
            <a:extLst>
              <a:ext uri="{FF2B5EF4-FFF2-40B4-BE49-F238E27FC236}">
                <a16:creationId xmlns:a16="http://schemas.microsoft.com/office/drawing/2014/main" id="{2328E9C9-E83C-362D-F6D2-A69E23B0BBA1}"/>
              </a:ext>
            </a:extLst>
          </p:cNvPr>
          <p:cNvGrpSpPr/>
          <p:nvPr/>
        </p:nvGrpSpPr>
        <p:grpSpPr>
          <a:xfrm>
            <a:off x="9953375" y="4368223"/>
            <a:ext cx="914400" cy="1246962"/>
            <a:chOff x="10338849" y="4462008"/>
            <a:chExt cx="914400" cy="1246962"/>
          </a:xfrm>
        </p:grpSpPr>
        <p:pic>
          <p:nvPicPr>
            <p:cNvPr id="50" name="Picture 49" descr="Icon&#10;&#10;Description automatically generated">
              <a:extLst>
                <a:ext uri="{FF2B5EF4-FFF2-40B4-BE49-F238E27FC236}">
                  <a16:creationId xmlns:a16="http://schemas.microsoft.com/office/drawing/2014/main" id="{7664D971-33C2-298C-5CDD-B8E9723F4675}"/>
                </a:ext>
              </a:extLst>
            </p:cNvPr>
            <p:cNvPicPr>
              <a:picLocks noChangeAspect="1"/>
            </p:cNvPicPr>
            <p:nvPr/>
          </p:nvPicPr>
          <p:blipFill>
            <a:blip r:embed="rId10"/>
            <a:stretch>
              <a:fillRect/>
            </a:stretch>
          </p:blipFill>
          <p:spPr>
            <a:xfrm>
              <a:off x="10364679" y="4462008"/>
              <a:ext cx="862741" cy="862741"/>
            </a:xfrm>
            <a:prstGeom prst="rect">
              <a:avLst/>
            </a:prstGeom>
          </p:spPr>
        </p:pic>
        <p:sp>
          <p:nvSpPr>
            <p:cNvPr id="51" name="TextBox 50">
              <a:extLst>
                <a:ext uri="{FF2B5EF4-FFF2-40B4-BE49-F238E27FC236}">
                  <a16:creationId xmlns:a16="http://schemas.microsoft.com/office/drawing/2014/main" id="{FE7FEC11-0F04-314D-D4CF-BB326136E17C}"/>
                </a:ext>
              </a:extLst>
            </p:cNvPr>
            <p:cNvSpPr txBox="1"/>
            <p:nvPr/>
          </p:nvSpPr>
          <p:spPr>
            <a:xfrm>
              <a:off x="10338849" y="5401445"/>
              <a:ext cx="914400" cy="307525"/>
            </a:xfrm>
            <a:prstGeom prst="rect">
              <a:avLst/>
            </a:prstGeom>
            <a:noFill/>
          </p:spPr>
          <p:txBody>
            <a:bodyPr wrap="none" lIns="0" tIns="0" rIns="0" bIns="0" rtlCol="0">
              <a:noAutofit/>
            </a:bodyPr>
            <a:lstStyle/>
            <a:p>
              <a:pPr algn="ctr">
                <a:lnSpc>
                  <a:spcPct val="110000"/>
                </a:lnSpc>
                <a:spcBef>
                  <a:spcPts val="600"/>
                </a:spcBef>
              </a:pPr>
              <a:r>
                <a:rPr lang="en-US" sz="1200" dirty="0">
                  <a:ea typeface="Human Sans" charset="0"/>
                  <a:cs typeface="Human Sans" charset="0"/>
                </a:rPr>
                <a:t>Pavel - DevOps</a:t>
              </a:r>
            </a:p>
          </p:txBody>
        </p:sp>
      </p:grpSp>
    </p:spTree>
    <p:extLst>
      <p:ext uri="{BB962C8B-B14F-4D97-AF65-F5344CB8AC3E}">
        <p14:creationId xmlns:p14="http://schemas.microsoft.com/office/powerpoint/2010/main" val="3028625648"/>
      </p:ext>
    </p:extLst>
  </p:cSld>
  <p:clrMapOvr>
    <a:masterClrMapping/>
  </p:clrMapOvr>
  <p:transition spd="slow">
    <p:push dir="u"/>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3E7B12-94E5-1E8A-9A20-C930CC8426EB}"/>
              </a:ext>
            </a:extLst>
          </p:cNvPr>
          <p:cNvSpPr>
            <a:spLocks noGrp="1"/>
          </p:cNvSpPr>
          <p:nvPr>
            <p:ph type="title"/>
          </p:nvPr>
        </p:nvSpPr>
        <p:spPr>
          <a:xfrm>
            <a:off x="639073" y="1424520"/>
            <a:ext cx="5333999" cy="2954655"/>
          </a:xfrm>
        </p:spPr>
        <p:txBody>
          <a:bodyPr/>
          <a:lstStyle/>
          <a:p>
            <a:r>
              <a:rPr lang="en-US" sz="3200" dirty="0"/>
              <a:t>Bob suffers an injury, sidelining him for 3 weeks.</a:t>
            </a:r>
            <a:br>
              <a:rPr lang="en-US" sz="3200" dirty="0"/>
            </a:br>
            <a:r>
              <a:rPr lang="en-US" sz="3200" dirty="0">
                <a:solidFill>
                  <a:schemeClr val="accent6"/>
                </a:solidFill>
                <a:latin typeface="Calibri" panose="020F0502020204030204" pitchFamily="34" charset="0"/>
                <a:cs typeface="Calibri" panose="020F0502020204030204" pitchFamily="34" charset="0"/>
              </a:rPr>
              <a:t>How will your team manage in his absence initially, and what long-term strategies will you consider?</a:t>
            </a:r>
          </a:p>
        </p:txBody>
      </p:sp>
      <p:sp>
        <p:nvSpPr>
          <p:cNvPr id="8" name="Text Placeholder 7">
            <a:extLst>
              <a:ext uri="{FF2B5EF4-FFF2-40B4-BE49-F238E27FC236}">
                <a16:creationId xmlns:a16="http://schemas.microsoft.com/office/drawing/2014/main" id="{A33CA039-DE3C-5D85-0DB8-D98A38BFDC35}"/>
              </a:ext>
            </a:extLst>
          </p:cNvPr>
          <p:cNvSpPr>
            <a:spLocks noGrp="1"/>
          </p:cNvSpPr>
          <p:nvPr>
            <p:ph type="body" sz="quarter" idx="28"/>
          </p:nvPr>
        </p:nvSpPr>
        <p:spPr>
          <a:xfrm>
            <a:off x="627063" y="419100"/>
            <a:ext cx="3725862" cy="397732"/>
          </a:xfrm>
        </p:spPr>
        <p:txBody>
          <a:bodyPr>
            <a:normAutofit/>
          </a:bodyPr>
          <a:lstStyle/>
          <a:p>
            <a:r>
              <a:rPr lang="en-US" dirty="0"/>
              <a:t>Team Leadership workshop: USE-cases</a:t>
            </a:r>
          </a:p>
        </p:txBody>
      </p:sp>
      <p:sp>
        <p:nvSpPr>
          <p:cNvPr id="10" name="Text Placeholder 9">
            <a:extLst>
              <a:ext uri="{FF2B5EF4-FFF2-40B4-BE49-F238E27FC236}">
                <a16:creationId xmlns:a16="http://schemas.microsoft.com/office/drawing/2014/main" id="{1F88C411-8C59-AFA3-5C10-11E75FDF9817}"/>
              </a:ext>
            </a:extLst>
          </p:cNvPr>
          <p:cNvSpPr>
            <a:spLocks noGrp="1"/>
          </p:cNvSpPr>
          <p:nvPr>
            <p:ph type="body" sz="quarter" idx="25"/>
          </p:nvPr>
        </p:nvSpPr>
        <p:spPr>
          <a:xfrm>
            <a:off x="627063" y="722842"/>
            <a:ext cx="4989966" cy="397731"/>
          </a:xfrm>
        </p:spPr>
        <p:txBody>
          <a:bodyPr/>
          <a:lstStyle/>
          <a:p>
            <a:r>
              <a:rPr lang="en-US" dirty="0"/>
              <a:t>Case 6.2: Handling Unexpected Absences</a:t>
            </a:r>
          </a:p>
        </p:txBody>
      </p:sp>
      <p:grpSp>
        <p:nvGrpSpPr>
          <p:cNvPr id="32" name="Group 31">
            <a:extLst>
              <a:ext uri="{FF2B5EF4-FFF2-40B4-BE49-F238E27FC236}">
                <a16:creationId xmlns:a16="http://schemas.microsoft.com/office/drawing/2014/main" id="{38CAE5AD-B9D9-1BE3-D8DA-9F3BAC97EFE3}"/>
              </a:ext>
            </a:extLst>
          </p:cNvPr>
          <p:cNvGrpSpPr/>
          <p:nvPr/>
        </p:nvGrpSpPr>
        <p:grpSpPr>
          <a:xfrm>
            <a:off x="7031633" y="5174495"/>
            <a:ext cx="914400" cy="1507452"/>
            <a:chOff x="7954394" y="5075784"/>
            <a:chExt cx="914400" cy="1507452"/>
          </a:xfrm>
        </p:grpSpPr>
        <p:pic>
          <p:nvPicPr>
            <p:cNvPr id="33" name="Picture 32" descr="Icon&#10;&#10;Description automatically generated">
              <a:extLst>
                <a:ext uri="{FF2B5EF4-FFF2-40B4-BE49-F238E27FC236}">
                  <a16:creationId xmlns:a16="http://schemas.microsoft.com/office/drawing/2014/main" id="{2F838510-22B0-4FBB-C199-A585524A88F1}"/>
                </a:ext>
              </a:extLst>
            </p:cNvPr>
            <p:cNvPicPr>
              <a:picLocks noChangeAspect="1"/>
            </p:cNvPicPr>
            <p:nvPr/>
          </p:nvPicPr>
          <p:blipFill>
            <a:blip r:embed="rId3"/>
            <a:stretch>
              <a:fillRect/>
            </a:stretch>
          </p:blipFill>
          <p:spPr>
            <a:xfrm>
              <a:off x="7974887" y="5075784"/>
              <a:ext cx="862741" cy="1133067"/>
            </a:xfrm>
            <a:prstGeom prst="rect">
              <a:avLst/>
            </a:prstGeom>
          </p:spPr>
        </p:pic>
        <p:sp>
          <p:nvSpPr>
            <p:cNvPr id="34" name="TextBox 33">
              <a:extLst>
                <a:ext uri="{FF2B5EF4-FFF2-40B4-BE49-F238E27FC236}">
                  <a16:creationId xmlns:a16="http://schemas.microsoft.com/office/drawing/2014/main" id="{587F560B-62C0-B867-EC11-79B4C360893D}"/>
                </a:ext>
              </a:extLst>
            </p:cNvPr>
            <p:cNvSpPr txBox="1"/>
            <p:nvPr/>
          </p:nvSpPr>
          <p:spPr>
            <a:xfrm>
              <a:off x="7954394" y="6275711"/>
              <a:ext cx="914400" cy="307525"/>
            </a:xfrm>
            <a:prstGeom prst="rect">
              <a:avLst/>
            </a:prstGeom>
            <a:noFill/>
          </p:spPr>
          <p:txBody>
            <a:bodyPr wrap="none" lIns="0" tIns="0" rIns="0" bIns="0" rtlCol="0">
              <a:noAutofit/>
            </a:bodyPr>
            <a:lstStyle/>
            <a:p>
              <a:pPr algn="ctr">
                <a:lnSpc>
                  <a:spcPct val="110000"/>
                </a:lnSpc>
                <a:spcBef>
                  <a:spcPts val="600"/>
                </a:spcBef>
              </a:pPr>
              <a:r>
                <a:rPr lang="en-US" sz="1200" dirty="0">
                  <a:ea typeface="Human Sans" charset="0"/>
                  <a:cs typeface="Human Sans" charset="0"/>
                </a:rPr>
                <a:t>You</a:t>
              </a:r>
            </a:p>
          </p:txBody>
        </p:sp>
      </p:grpSp>
      <p:sp>
        <p:nvSpPr>
          <p:cNvPr id="35" name="Speech Bubble: Rectangle 34">
            <a:extLst>
              <a:ext uri="{FF2B5EF4-FFF2-40B4-BE49-F238E27FC236}">
                <a16:creationId xmlns:a16="http://schemas.microsoft.com/office/drawing/2014/main" id="{5A3D9C85-096D-77E0-F8FF-1459C0ADD876}"/>
              </a:ext>
            </a:extLst>
          </p:cNvPr>
          <p:cNvSpPr/>
          <p:nvPr/>
        </p:nvSpPr>
        <p:spPr bwMode="auto">
          <a:xfrm>
            <a:off x="7697873" y="4555837"/>
            <a:ext cx="396301" cy="551798"/>
          </a:xfrm>
          <a:prstGeom prst="wedgeRectCallout">
            <a:avLst/>
          </a:prstGeom>
          <a:ln/>
        </p:spPr>
        <p:style>
          <a:lnRef idx="2">
            <a:schemeClr val="dk1"/>
          </a:lnRef>
          <a:fillRef idx="1">
            <a:schemeClr val="lt1"/>
          </a:fillRef>
          <a:effectRef idx="0">
            <a:schemeClr val="dk1"/>
          </a:effectRef>
          <a:fontRef idx="minor">
            <a:schemeClr val="dk1"/>
          </a:fontRef>
        </p:style>
        <p:txBody>
          <a:bodyPr wrap="none" rtlCol="0" anchor="ctr"/>
          <a:lstStyle/>
          <a:p>
            <a:pPr algn="ctr"/>
            <a:r>
              <a:rPr lang="en-US" sz="2000" dirty="0">
                <a:ln w="0"/>
                <a:solidFill>
                  <a:schemeClr val="tx1"/>
                </a:solidFill>
                <a:effectLst>
                  <a:outerShdw blurRad="38100" dist="19050" dir="2700000" algn="tl" rotWithShape="0">
                    <a:schemeClr val="dk1">
                      <a:alpha val="40000"/>
                    </a:schemeClr>
                  </a:outerShdw>
                </a:effectLst>
                <a:latin typeface="Calibri Light" panose="020F0302020204030204" pitchFamily="34" charset="0"/>
                <a:ea typeface="Human Sans ExtraLight" charset="0"/>
                <a:cs typeface="Human Sans ExtraLight" charset="0"/>
              </a:rPr>
              <a:t>?</a:t>
            </a:r>
            <a:endParaRPr lang="en-US" sz="2000" dirty="0">
              <a:solidFill>
                <a:schemeClr val="bg1"/>
              </a:solidFill>
              <a:latin typeface="Calibri Light" panose="020F0302020204030204" pitchFamily="34" charset="0"/>
              <a:ea typeface="Human Sans ExtraLight" charset="0"/>
              <a:cs typeface="Human Sans ExtraLight" charset="0"/>
            </a:endParaRPr>
          </a:p>
        </p:txBody>
      </p:sp>
      <p:grpSp>
        <p:nvGrpSpPr>
          <p:cNvPr id="4" name="Group 3">
            <a:extLst>
              <a:ext uri="{FF2B5EF4-FFF2-40B4-BE49-F238E27FC236}">
                <a16:creationId xmlns:a16="http://schemas.microsoft.com/office/drawing/2014/main" id="{BB4845E9-5781-3F39-B75A-F8107484E395}"/>
              </a:ext>
            </a:extLst>
          </p:cNvPr>
          <p:cNvGrpSpPr/>
          <p:nvPr/>
        </p:nvGrpSpPr>
        <p:grpSpPr>
          <a:xfrm>
            <a:off x="8827288" y="550438"/>
            <a:ext cx="923632" cy="1258357"/>
            <a:chOff x="9278671" y="722843"/>
            <a:chExt cx="923632" cy="1258357"/>
          </a:xfrm>
        </p:grpSpPr>
        <p:pic>
          <p:nvPicPr>
            <p:cNvPr id="5" name="Picture 4" descr="Icon&#10;&#10;Description automatically generated">
              <a:extLst>
                <a:ext uri="{FF2B5EF4-FFF2-40B4-BE49-F238E27FC236}">
                  <a16:creationId xmlns:a16="http://schemas.microsoft.com/office/drawing/2014/main" id="{551DFBEF-7F97-AFC6-553C-1B3BBF9FFF2B}"/>
                </a:ext>
              </a:extLst>
            </p:cNvPr>
            <p:cNvPicPr>
              <a:picLocks noChangeAspect="1"/>
            </p:cNvPicPr>
            <p:nvPr/>
          </p:nvPicPr>
          <p:blipFill>
            <a:blip r:embed="rId4"/>
            <a:stretch>
              <a:fillRect/>
            </a:stretch>
          </p:blipFill>
          <p:spPr>
            <a:xfrm>
              <a:off x="9278671" y="722843"/>
              <a:ext cx="862741" cy="862741"/>
            </a:xfrm>
            <a:prstGeom prst="rect">
              <a:avLst/>
            </a:prstGeom>
          </p:spPr>
        </p:pic>
        <p:sp>
          <p:nvSpPr>
            <p:cNvPr id="6" name="TextBox 5">
              <a:extLst>
                <a:ext uri="{FF2B5EF4-FFF2-40B4-BE49-F238E27FC236}">
                  <a16:creationId xmlns:a16="http://schemas.microsoft.com/office/drawing/2014/main" id="{787D0E6B-D589-01B3-A6E4-63C68B64DD65}"/>
                </a:ext>
              </a:extLst>
            </p:cNvPr>
            <p:cNvSpPr txBox="1"/>
            <p:nvPr/>
          </p:nvSpPr>
          <p:spPr>
            <a:xfrm>
              <a:off x="9287903" y="1673675"/>
              <a:ext cx="914400" cy="307525"/>
            </a:xfrm>
            <a:prstGeom prst="rect">
              <a:avLst/>
            </a:prstGeom>
            <a:noFill/>
          </p:spPr>
          <p:txBody>
            <a:bodyPr wrap="none" lIns="0" tIns="0" rIns="0" bIns="0" rtlCol="0">
              <a:noAutofit/>
            </a:bodyPr>
            <a:lstStyle/>
            <a:p>
              <a:pPr algn="ctr">
                <a:lnSpc>
                  <a:spcPct val="110000"/>
                </a:lnSpc>
                <a:spcBef>
                  <a:spcPts val="600"/>
                </a:spcBef>
              </a:pPr>
              <a:r>
                <a:rPr lang="en-US" sz="1200" dirty="0">
                  <a:ea typeface="Human Sans" charset="0"/>
                  <a:cs typeface="Human Sans" charset="0"/>
                </a:rPr>
                <a:t>Dean - SM</a:t>
              </a:r>
            </a:p>
          </p:txBody>
        </p:sp>
      </p:grpSp>
      <p:grpSp>
        <p:nvGrpSpPr>
          <p:cNvPr id="7" name="Group 6">
            <a:extLst>
              <a:ext uri="{FF2B5EF4-FFF2-40B4-BE49-F238E27FC236}">
                <a16:creationId xmlns:a16="http://schemas.microsoft.com/office/drawing/2014/main" id="{84309EC9-FF7E-8DB6-3B0A-F24E5005367D}"/>
              </a:ext>
            </a:extLst>
          </p:cNvPr>
          <p:cNvGrpSpPr/>
          <p:nvPr/>
        </p:nvGrpSpPr>
        <p:grpSpPr>
          <a:xfrm>
            <a:off x="7748640" y="1590899"/>
            <a:ext cx="914400" cy="1280310"/>
            <a:chOff x="7949057" y="1717959"/>
            <a:chExt cx="914400" cy="1280310"/>
          </a:xfrm>
        </p:grpSpPr>
        <p:pic>
          <p:nvPicPr>
            <p:cNvPr id="9" name="Picture 8" descr="Icon, circle&#10;&#10;Description automatically generated">
              <a:extLst>
                <a:ext uri="{FF2B5EF4-FFF2-40B4-BE49-F238E27FC236}">
                  <a16:creationId xmlns:a16="http://schemas.microsoft.com/office/drawing/2014/main" id="{38E0BDAB-5373-19C6-6F91-35D85857A5DD}"/>
                </a:ext>
              </a:extLst>
            </p:cNvPr>
            <p:cNvPicPr>
              <a:picLocks noChangeAspect="1"/>
            </p:cNvPicPr>
            <p:nvPr/>
          </p:nvPicPr>
          <p:blipFill>
            <a:blip r:embed="rId5"/>
            <a:stretch>
              <a:fillRect/>
            </a:stretch>
          </p:blipFill>
          <p:spPr>
            <a:xfrm>
              <a:off x="7974889" y="1717959"/>
              <a:ext cx="862741" cy="862741"/>
            </a:xfrm>
            <a:prstGeom prst="rect">
              <a:avLst/>
            </a:prstGeom>
          </p:spPr>
        </p:pic>
        <p:sp>
          <p:nvSpPr>
            <p:cNvPr id="36" name="TextBox 35">
              <a:extLst>
                <a:ext uri="{FF2B5EF4-FFF2-40B4-BE49-F238E27FC236}">
                  <a16:creationId xmlns:a16="http://schemas.microsoft.com/office/drawing/2014/main" id="{EF22CD6A-7350-B784-9FA5-1629B4C3CE31}"/>
                </a:ext>
              </a:extLst>
            </p:cNvPr>
            <p:cNvSpPr txBox="1"/>
            <p:nvPr/>
          </p:nvSpPr>
          <p:spPr>
            <a:xfrm>
              <a:off x="7949057" y="2690744"/>
              <a:ext cx="914400" cy="307525"/>
            </a:xfrm>
            <a:prstGeom prst="rect">
              <a:avLst/>
            </a:prstGeom>
            <a:noFill/>
          </p:spPr>
          <p:txBody>
            <a:bodyPr wrap="none" lIns="0" tIns="0" rIns="0" bIns="0" rtlCol="0">
              <a:noAutofit/>
            </a:bodyPr>
            <a:lstStyle/>
            <a:p>
              <a:pPr algn="ctr">
                <a:lnSpc>
                  <a:spcPct val="110000"/>
                </a:lnSpc>
                <a:spcBef>
                  <a:spcPts val="600"/>
                </a:spcBef>
              </a:pPr>
              <a:r>
                <a:rPr lang="en-US" sz="1200" dirty="0">
                  <a:ea typeface="Human Sans" charset="0"/>
                  <a:cs typeface="Human Sans" charset="0"/>
                </a:rPr>
                <a:t>Adam – SD</a:t>
              </a:r>
            </a:p>
          </p:txBody>
        </p:sp>
      </p:grpSp>
      <p:grpSp>
        <p:nvGrpSpPr>
          <p:cNvPr id="37" name="Group 36">
            <a:extLst>
              <a:ext uri="{FF2B5EF4-FFF2-40B4-BE49-F238E27FC236}">
                <a16:creationId xmlns:a16="http://schemas.microsoft.com/office/drawing/2014/main" id="{15401A2B-13DF-F884-07EA-990F72A86F8E}"/>
              </a:ext>
            </a:extLst>
          </p:cNvPr>
          <p:cNvGrpSpPr/>
          <p:nvPr/>
        </p:nvGrpSpPr>
        <p:grpSpPr>
          <a:xfrm>
            <a:off x="9940995" y="1630369"/>
            <a:ext cx="926780" cy="1257253"/>
            <a:chOff x="10327938" y="1717960"/>
            <a:chExt cx="926780" cy="1257253"/>
          </a:xfrm>
        </p:grpSpPr>
        <p:pic>
          <p:nvPicPr>
            <p:cNvPr id="38" name="Picture 37" descr="Icon&#10;&#10;Description automatically generated">
              <a:extLst>
                <a:ext uri="{FF2B5EF4-FFF2-40B4-BE49-F238E27FC236}">
                  <a16:creationId xmlns:a16="http://schemas.microsoft.com/office/drawing/2014/main" id="{18881A4B-8FB3-CD52-49B2-C568CC61DE34}"/>
                </a:ext>
              </a:extLst>
            </p:cNvPr>
            <p:cNvPicPr>
              <a:picLocks noChangeAspect="1"/>
            </p:cNvPicPr>
            <p:nvPr/>
          </p:nvPicPr>
          <p:blipFill>
            <a:blip r:embed="rId6"/>
            <a:stretch>
              <a:fillRect/>
            </a:stretch>
          </p:blipFill>
          <p:spPr>
            <a:xfrm>
              <a:off x="10327938" y="1717960"/>
              <a:ext cx="862741" cy="862741"/>
            </a:xfrm>
            <a:prstGeom prst="rect">
              <a:avLst/>
            </a:prstGeom>
          </p:spPr>
        </p:pic>
        <p:sp>
          <p:nvSpPr>
            <p:cNvPr id="39" name="TextBox 38">
              <a:extLst>
                <a:ext uri="{FF2B5EF4-FFF2-40B4-BE49-F238E27FC236}">
                  <a16:creationId xmlns:a16="http://schemas.microsoft.com/office/drawing/2014/main" id="{123AC138-EB9B-5AF0-1D25-C569E570C2DA}"/>
                </a:ext>
              </a:extLst>
            </p:cNvPr>
            <p:cNvSpPr txBox="1"/>
            <p:nvPr/>
          </p:nvSpPr>
          <p:spPr>
            <a:xfrm>
              <a:off x="10340318" y="2667688"/>
              <a:ext cx="914400" cy="307525"/>
            </a:xfrm>
            <a:prstGeom prst="rect">
              <a:avLst/>
            </a:prstGeom>
            <a:noFill/>
          </p:spPr>
          <p:txBody>
            <a:bodyPr wrap="none" lIns="0" tIns="0" rIns="0" bIns="0" rtlCol="0">
              <a:noAutofit/>
            </a:bodyPr>
            <a:lstStyle/>
            <a:p>
              <a:pPr algn="ctr">
                <a:lnSpc>
                  <a:spcPct val="110000"/>
                </a:lnSpc>
                <a:spcBef>
                  <a:spcPts val="600"/>
                </a:spcBef>
              </a:pPr>
              <a:r>
                <a:rPr lang="en-US" sz="1200" dirty="0">
                  <a:ea typeface="Human Sans" charset="0"/>
                  <a:cs typeface="Human Sans" charset="0"/>
                </a:rPr>
                <a:t>Mary – PO/BA</a:t>
              </a:r>
            </a:p>
          </p:txBody>
        </p:sp>
      </p:grpSp>
      <p:grpSp>
        <p:nvGrpSpPr>
          <p:cNvPr id="40" name="Group 39">
            <a:extLst>
              <a:ext uri="{FF2B5EF4-FFF2-40B4-BE49-F238E27FC236}">
                <a16:creationId xmlns:a16="http://schemas.microsoft.com/office/drawing/2014/main" id="{B0B1EFE6-25B8-46DF-22EF-47268626D5DA}"/>
              </a:ext>
            </a:extLst>
          </p:cNvPr>
          <p:cNvGrpSpPr/>
          <p:nvPr/>
        </p:nvGrpSpPr>
        <p:grpSpPr>
          <a:xfrm>
            <a:off x="7610190" y="2962921"/>
            <a:ext cx="933043" cy="1261978"/>
            <a:chOff x="7810607" y="3089981"/>
            <a:chExt cx="933043" cy="1261978"/>
          </a:xfrm>
        </p:grpSpPr>
        <p:pic>
          <p:nvPicPr>
            <p:cNvPr id="41" name="Picture 40" descr="Icon&#10;&#10;Description automatically generated">
              <a:extLst>
                <a:ext uri="{FF2B5EF4-FFF2-40B4-BE49-F238E27FC236}">
                  <a16:creationId xmlns:a16="http://schemas.microsoft.com/office/drawing/2014/main" id="{5D679CD3-BC09-9870-C144-64E4120FF3EE}"/>
                </a:ext>
              </a:extLst>
            </p:cNvPr>
            <p:cNvPicPr>
              <a:picLocks noChangeAspect="1"/>
            </p:cNvPicPr>
            <p:nvPr/>
          </p:nvPicPr>
          <p:blipFill>
            <a:blip r:embed="rId7"/>
            <a:stretch>
              <a:fillRect/>
            </a:stretch>
          </p:blipFill>
          <p:spPr>
            <a:xfrm>
              <a:off x="7810607" y="3089981"/>
              <a:ext cx="862741" cy="862741"/>
            </a:xfrm>
            <a:prstGeom prst="ellipse">
              <a:avLst/>
            </a:prstGeom>
            <a:ln w="63500" cap="rnd">
              <a:solidFill>
                <a:srgbClr val="FF0000"/>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sp>
          <p:nvSpPr>
            <p:cNvPr id="42" name="TextBox 41">
              <a:extLst>
                <a:ext uri="{FF2B5EF4-FFF2-40B4-BE49-F238E27FC236}">
                  <a16:creationId xmlns:a16="http://schemas.microsoft.com/office/drawing/2014/main" id="{C888D0DC-3138-63C0-086D-2383C730CE89}"/>
                </a:ext>
              </a:extLst>
            </p:cNvPr>
            <p:cNvSpPr txBox="1"/>
            <p:nvPr/>
          </p:nvSpPr>
          <p:spPr>
            <a:xfrm>
              <a:off x="7829250" y="4044434"/>
              <a:ext cx="914400" cy="307525"/>
            </a:xfrm>
            <a:prstGeom prst="rect">
              <a:avLst/>
            </a:prstGeom>
            <a:noFill/>
            <a:ln>
              <a:solidFill>
                <a:srgbClr val="FF0000"/>
              </a:solidFill>
            </a:ln>
          </p:spPr>
          <p:txBody>
            <a:bodyPr wrap="none" lIns="0" tIns="0" rIns="0" bIns="0" rtlCol="0">
              <a:noAutofit/>
            </a:bodyPr>
            <a:lstStyle/>
            <a:p>
              <a:pPr algn="ctr">
                <a:lnSpc>
                  <a:spcPct val="110000"/>
                </a:lnSpc>
                <a:spcBef>
                  <a:spcPts val="600"/>
                </a:spcBef>
              </a:pPr>
              <a:r>
                <a:rPr lang="en-US" sz="1200" dirty="0">
                  <a:ea typeface="Human Sans" charset="0"/>
                  <a:cs typeface="Human Sans" charset="0"/>
                </a:rPr>
                <a:t>Bob – MD</a:t>
              </a:r>
            </a:p>
          </p:txBody>
        </p:sp>
      </p:grpSp>
      <p:grpSp>
        <p:nvGrpSpPr>
          <p:cNvPr id="43" name="Group 42">
            <a:extLst>
              <a:ext uri="{FF2B5EF4-FFF2-40B4-BE49-F238E27FC236}">
                <a16:creationId xmlns:a16="http://schemas.microsoft.com/office/drawing/2014/main" id="{D57BE348-96F4-A86B-766A-69EE3A26BD5F}"/>
              </a:ext>
            </a:extLst>
          </p:cNvPr>
          <p:cNvGrpSpPr/>
          <p:nvPr/>
        </p:nvGrpSpPr>
        <p:grpSpPr>
          <a:xfrm>
            <a:off x="8656115" y="2962922"/>
            <a:ext cx="914400" cy="1265709"/>
            <a:chOff x="8856532" y="3089982"/>
            <a:chExt cx="914400" cy="1265709"/>
          </a:xfrm>
        </p:grpSpPr>
        <p:pic>
          <p:nvPicPr>
            <p:cNvPr id="44" name="Picture 43" descr="Icon&#10;&#10;Description automatically generated">
              <a:extLst>
                <a:ext uri="{FF2B5EF4-FFF2-40B4-BE49-F238E27FC236}">
                  <a16:creationId xmlns:a16="http://schemas.microsoft.com/office/drawing/2014/main" id="{74801FF4-2909-3002-3F91-24C62642132B}"/>
                </a:ext>
              </a:extLst>
            </p:cNvPr>
            <p:cNvPicPr>
              <a:picLocks noChangeAspect="1"/>
            </p:cNvPicPr>
            <p:nvPr/>
          </p:nvPicPr>
          <p:blipFill>
            <a:blip r:embed="rId8"/>
            <a:stretch>
              <a:fillRect/>
            </a:stretch>
          </p:blipFill>
          <p:spPr>
            <a:xfrm>
              <a:off x="8882362" y="3089982"/>
              <a:ext cx="862741" cy="862741"/>
            </a:xfrm>
            <a:prstGeom prst="rect">
              <a:avLst/>
            </a:prstGeom>
          </p:spPr>
        </p:pic>
        <p:sp>
          <p:nvSpPr>
            <p:cNvPr id="45" name="TextBox 44">
              <a:extLst>
                <a:ext uri="{FF2B5EF4-FFF2-40B4-BE49-F238E27FC236}">
                  <a16:creationId xmlns:a16="http://schemas.microsoft.com/office/drawing/2014/main" id="{B85FC62E-3972-030F-18E0-640C16D623C7}"/>
                </a:ext>
              </a:extLst>
            </p:cNvPr>
            <p:cNvSpPr txBox="1"/>
            <p:nvPr/>
          </p:nvSpPr>
          <p:spPr>
            <a:xfrm>
              <a:off x="8856532" y="4048166"/>
              <a:ext cx="914400" cy="307525"/>
            </a:xfrm>
            <a:prstGeom prst="rect">
              <a:avLst/>
            </a:prstGeom>
            <a:noFill/>
          </p:spPr>
          <p:txBody>
            <a:bodyPr wrap="none" lIns="0" tIns="0" rIns="0" bIns="0" rtlCol="0">
              <a:noAutofit/>
            </a:bodyPr>
            <a:lstStyle/>
            <a:p>
              <a:pPr algn="ctr">
                <a:lnSpc>
                  <a:spcPct val="110000"/>
                </a:lnSpc>
                <a:spcBef>
                  <a:spcPts val="600"/>
                </a:spcBef>
              </a:pPr>
              <a:r>
                <a:rPr lang="en-US" sz="1200" dirty="0">
                  <a:ea typeface="Human Sans" charset="0"/>
                  <a:cs typeface="Human Sans" charset="0"/>
                </a:rPr>
                <a:t>Eva - JD</a:t>
              </a:r>
            </a:p>
          </p:txBody>
        </p:sp>
      </p:grpSp>
      <p:grpSp>
        <p:nvGrpSpPr>
          <p:cNvPr id="46" name="Group 45">
            <a:extLst>
              <a:ext uri="{FF2B5EF4-FFF2-40B4-BE49-F238E27FC236}">
                <a16:creationId xmlns:a16="http://schemas.microsoft.com/office/drawing/2014/main" id="{3EA658B8-54F8-A019-9430-44555FE20C4C}"/>
              </a:ext>
            </a:extLst>
          </p:cNvPr>
          <p:cNvGrpSpPr/>
          <p:nvPr/>
        </p:nvGrpSpPr>
        <p:grpSpPr>
          <a:xfrm>
            <a:off x="9915165" y="2962922"/>
            <a:ext cx="914400" cy="1285035"/>
            <a:chOff x="10115582" y="3089982"/>
            <a:chExt cx="914400" cy="1285035"/>
          </a:xfrm>
        </p:grpSpPr>
        <p:pic>
          <p:nvPicPr>
            <p:cNvPr id="47" name="Picture 46" descr="Icon&#10;&#10;Description automatically generated">
              <a:extLst>
                <a:ext uri="{FF2B5EF4-FFF2-40B4-BE49-F238E27FC236}">
                  <a16:creationId xmlns:a16="http://schemas.microsoft.com/office/drawing/2014/main" id="{7F723980-9F86-DB0F-2C39-652042288F24}"/>
                </a:ext>
              </a:extLst>
            </p:cNvPr>
            <p:cNvPicPr>
              <a:picLocks noChangeAspect="1"/>
            </p:cNvPicPr>
            <p:nvPr/>
          </p:nvPicPr>
          <p:blipFill>
            <a:blip r:embed="rId9"/>
            <a:stretch>
              <a:fillRect/>
            </a:stretch>
          </p:blipFill>
          <p:spPr>
            <a:xfrm>
              <a:off x="10141412" y="3089982"/>
              <a:ext cx="862741" cy="862741"/>
            </a:xfrm>
            <a:prstGeom prst="rect">
              <a:avLst/>
            </a:prstGeom>
          </p:spPr>
        </p:pic>
        <p:sp>
          <p:nvSpPr>
            <p:cNvPr id="48" name="TextBox 47">
              <a:extLst>
                <a:ext uri="{FF2B5EF4-FFF2-40B4-BE49-F238E27FC236}">
                  <a16:creationId xmlns:a16="http://schemas.microsoft.com/office/drawing/2014/main" id="{A41BCC08-3034-1F8B-3F21-EECBD65EB641}"/>
                </a:ext>
              </a:extLst>
            </p:cNvPr>
            <p:cNvSpPr txBox="1"/>
            <p:nvPr/>
          </p:nvSpPr>
          <p:spPr>
            <a:xfrm>
              <a:off x="10115582" y="4067492"/>
              <a:ext cx="914400" cy="307525"/>
            </a:xfrm>
            <a:prstGeom prst="rect">
              <a:avLst/>
            </a:prstGeom>
            <a:noFill/>
          </p:spPr>
          <p:txBody>
            <a:bodyPr wrap="none" lIns="0" tIns="0" rIns="0" bIns="0" rtlCol="0">
              <a:noAutofit/>
            </a:bodyPr>
            <a:lstStyle/>
            <a:p>
              <a:pPr algn="ctr">
                <a:lnSpc>
                  <a:spcPct val="110000"/>
                </a:lnSpc>
                <a:spcBef>
                  <a:spcPts val="600"/>
                </a:spcBef>
              </a:pPr>
              <a:r>
                <a:rPr lang="en-US" sz="1200" dirty="0">
                  <a:ea typeface="Human Sans" charset="0"/>
                  <a:cs typeface="Human Sans" charset="0"/>
                </a:rPr>
                <a:t>Diana - QA</a:t>
              </a:r>
            </a:p>
          </p:txBody>
        </p:sp>
      </p:grpSp>
      <p:grpSp>
        <p:nvGrpSpPr>
          <p:cNvPr id="49" name="Group 48">
            <a:extLst>
              <a:ext uri="{FF2B5EF4-FFF2-40B4-BE49-F238E27FC236}">
                <a16:creationId xmlns:a16="http://schemas.microsoft.com/office/drawing/2014/main" id="{2328E9C9-E83C-362D-F6D2-A69E23B0BBA1}"/>
              </a:ext>
            </a:extLst>
          </p:cNvPr>
          <p:cNvGrpSpPr/>
          <p:nvPr/>
        </p:nvGrpSpPr>
        <p:grpSpPr>
          <a:xfrm>
            <a:off x="9953375" y="4368223"/>
            <a:ext cx="914400" cy="1246962"/>
            <a:chOff x="10338849" y="4462008"/>
            <a:chExt cx="914400" cy="1246962"/>
          </a:xfrm>
        </p:grpSpPr>
        <p:pic>
          <p:nvPicPr>
            <p:cNvPr id="50" name="Picture 49" descr="Icon&#10;&#10;Description automatically generated">
              <a:extLst>
                <a:ext uri="{FF2B5EF4-FFF2-40B4-BE49-F238E27FC236}">
                  <a16:creationId xmlns:a16="http://schemas.microsoft.com/office/drawing/2014/main" id="{7664D971-33C2-298C-5CDD-B8E9723F4675}"/>
                </a:ext>
              </a:extLst>
            </p:cNvPr>
            <p:cNvPicPr>
              <a:picLocks noChangeAspect="1"/>
            </p:cNvPicPr>
            <p:nvPr/>
          </p:nvPicPr>
          <p:blipFill>
            <a:blip r:embed="rId10"/>
            <a:stretch>
              <a:fillRect/>
            </a:stretch>
          </p:blipFill>
          <p:spPr>
            <a:xfrm>
              <a:off x="10364679" y="4462008"/>
              <a:ext cx="862741" cy="862741"/>
            </a:xfrm>
            <a:prstGeom prst="rect">
              <a:avLst/>
            </a:prstGeom>
          </p:spPr>
        </p:pic>
        <p:sp>
          <p:nvSpPr>
            <p:cNvPr id="51" name="TextBox 50">
              <a:extLst>
                <a:ext uri="{FF2B5EF4-FFF2-40B4-BE49-F238E27FC236}">
                  <a16:creationId xmlns:a16="http://schemas.microsoft.com/office/drawing/2014/main" id="{FE7FEC11-0F04-314D-D4CF-BB326136E17C}"/>
                </a:ext>
              </a:extLst>
            </p:cNvPr>
            <p:cNvSpPr txBox="1"/>
            <p:nvPr/>
          </p:nvSpPr>
          <p:spPr>
            <a:xfrm>
              <a:off x="10338849" y="5401445"/>
              <a:ext cx="914400" cy="307525"/>
            </a:xfrm>
            <a:prstGeom prst="rect">
              <a:avLst/>
            </a:prstGeom>
            <a:noFill/>
          </p:spPr>
          <p:txBody>
            <a:bodyPr wrap="none" lIns="0" tIns="0" rIns="0" bIns="0" rtlCol="0">
              <a:noAutofit/>
            </a:bodyPr>
            <a:lstStyle/>
            <a:p>
              <a:pPr algn="ctr">
                <a:lnSpc>
                  <a:spcPct val="110000"/>
                </a:lnSpc>
                <a:spcBef>
                  <a:spcPts val="600"/>
                </a:spcBef>
              </a:pPr>
              <a:r>
                <a:rPr lang="en-US" sz="1200" dirty="0">
                  <a:ea typeface="Human Sans" charset="0"/>
                  <a:cs typeface="Human Sans" charset="0"/>
                </a:rPr>
                <a:t>Pavel - DevOps</a:t>
              </a:r>
            </a:p>
          </p:txBody>
        </p:sp>
      </p:grpSp>
    </p:spTree>
    <p:extLst>
      <p:ext uri="{BB962C8B-B14F-4D97-AF65-F5344CB8AC3E}">
        <p14:creationId xmlns:p14="http://schemas.microsoft.com/office/powerpoint/2010/main" val="2890595070"/>
      </p:ext>
    </p:extLst>
  </p:cSld>
  <p:clrMapOvr>
    <a:masterClrMapping/>
  </p:clrMapOvr>
  <p:transition spd="slow">
    <p:push dir="u"/>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3E7B12-94E5-1E8A-9A20-C930CC8426EB}"/>
              </a:ext>
            </a:extLst>
          </p:cNvPr>
          <p:cNvSpPr>
            <a:spLocks noGrp="1"/>
          </p:cNvSpPr>
          <p:nvPr>
            <p:ph type="title"/>
          </p:nvPr>
        </p:nvSpPr>
        <p:spPr>
          <a:xfrm>
            <a:off x="639073" y="1424520"/>
            <a:ext cx="5333999" cy="3447098"/>
          </a:xfrm>
        </p:spPr>
        <p:txBody>
          <a:bodyPr/>
          <a:lstStyle/>
          <a:p>
            <a:r>
              <a:rPr lang="en-US" sz="3200" dirty="0"/>
              <a:t>The client demands the incorporation of a high-priority task mid-sprint, causing disagreement among team members.</a:t>
            </a:r>
            <a:br>
              <a:rPr lang="en-US" sz="3200" dirty="0"/>
            </a:br>
            <a:r>
              <a:rPr lang="en-US" sz="3200" dirty="0">
                <a:solidFill>
                  <a:schemeClr val="accent6"/>
                </a:solidFill>
                <a:latin typeface="Calibri" panose="020F0502020204030204" pitchFamily="34" charset="0"/>
                <a:cs typeface="Calibri" panose="020F0502020204030204" pitchFamily="34" charset="0"/>
              </a:rPr>
              <a:t>How do you assess and communicate your decision?</a:t>
            </a:r>
          </a:p>
        </p:txBody>
      </p:sp>
      <p:sp>
        <p:nvSpPr>
          <p:cNvPr id="8" name="Text Placeholder 7">
            <a:extLst>
              <a:ext uri="{FF2B5EF4-FFF2-40B4-BE49-F238E27FC236}">
                <a16:creationId xmlns:a16="http://schemas.microsoft.com/office/drawing/2014/main" id="{A33CA039-DE3C-5D85-0DB8-D98A38BFDC35}"/>
              </a:ext>
            </a:extLst>
          </p:cNvPr>
          <p:cNvSpPr>
            <a:spLocks noGrp="1"/>
          </p:cNvSpPr>
          <p:nvPr>
            <p:ph type="body" sz="quarter" idx="28"/>
          </p:nvPr>
        </p:nvSpPr>
        <p:spPr>
          <a:xfrm>
            <a:off x="627063" y="419100"/>
            <a:ext cx="3725862" cy="397732"/>
          </a:xfrm>
        </p:spPr>
        <p:txBody>
          <a:bodyPr>
            <a:normAutofit/>
          </a:bodyPr>
          <a:lstStyle/>
          <a:p>
            <a:r>
              <a:rPr lang="en-US" dirty="0"/>
              <a:t>Team Leadership workshop: USE-cases</a:t>
            </a:r>
          </a:p>
        </p:txBody>
      </p:sp>
      <p:sp>
        <p:nvSpPr>
          <p:cNvPr id="10" name="Text Placeholder 9">
            <a:extLst>
              <a:ext uri="{FF2B5EF4-FFF2-40B4-BE49-F238E27FC236}">
                <a16:creationId xmlns:a16="http://schemas.microsoft.com/office/drawing/2014/main" id="{1F88C411-8C59-AFA3-5C10-11E75FDF9817}"/>
              </a:ext>
            </a:extLst>
          </p:cNvPr>
          <p:cNvSpPr>
            <a:spLocks noGrp="1"/>
          </p:cNvSpPr>
          <p:nvPr>
            <p:ph type="body" sz="quarter" idx="25"/>
          </p:nvPr>
        </p:nvSpPr>
        <p:spPr>
          <a:xfrm>
            <a:off x="627063" y="722842"/>
            <a:ext cx="5333999" cy="397731"/>
          </a:xfrm>
        </p:spPr>
        <p:txBody>
          <a:bodyPr/>
          <a:lstStyle/>
          <a:p>
            <a:r>
              <a:rPr lang="en-US" dirty="0"/>
              <a:t>Case 7: Sprint Interruption by Client Request</a:t>
            </a:r>
          </a:p>
        </p:txBody>
      </p:sp>
      <p:grpSp>
        <p:nvGrpSpPr>
          <p:cNvPr id="32" name="Group 31">
            <a:extLst>
              <a:ext uri="{FF2B5EF4-FFF2-40B4-BE49-F238E27FC236}">
                <a16:creationId xmlns:a16="http://schemas.microsoft.com/office/drawing/2014/main" id="{38CAE5AD-B9D9-1BE3-D8DA-9F3BAC97EFE3}"/>
              </a:ext>
            </a:extLst>
          </p:cNvPr>
          <p:cNvGrpSpPr/>
          <p:nvPr/>
        </p:nvGrpSpPr>
        <p:grpSpPr>
          <a:xfrm>
            <a:off x="7031633" y="5174495"/>
            <a:ext cx="914400" cy="1507452"/>
            <a:chOff x="7954394" y="5075784"/>
            <a:chExt cx="914400" cy="1507452"/>
          </a:xfrm>
        </p:grpSpPr>
        <p:pic>
          <p:nvPicPr>
            <p:cNvPr id="33" name="Picture 32" descr="Icon&#10;&#10;Description automatically generated">
              <a:extLst>
                <a:ext uri="{FF2B5EF4-FFF2-40B4-BE49-F238E27FC236}">
                  <a16:creationId xmlns:a16="http://schemas.microsoft.com/office/drawing/2014/main" id="{2F838510-22B0-4FBB-C199-A585524A88F1}"/>
                </a:ext>
              </a:extLst>
            </p:cNvPr>
            <p:cNvPicPr>
              <a:picLocks noChangeAspect="1"/>
            </p:cNvPicPr>
            <p:nvPr/>
          </p:nvPicPr>
          <p:blipFill>
            <a:blip r:embed="rId3"/>
            <a:stretch>
              <a:fillRect/>
            </a:stretch>
          </p:blipFill>
          <p:spPr>
            <a:xfrm>
              <a:off x="7974887" y="5075784"/>
              <a:ext cx="862741" cy="1133067"/>
            </a:xfrm>
            <a:prstGeom prst="rect">
              <a:avLst/>
            </a:prstGeom>
          </p:spPr>
        </p:pic>
        <p:sp>
          <p:nvSpPr>
            <p:cNvPr id="34" name="TextBox 33">
              <a:extLst>
                <a:ext uri="{FF2B5EF4-FFF2-40B4-BE49-F238E27FC236}">
                  <a16:creationId xmlns:a16="http://schemas.microsoft.com/office/drawing/2014/main" id="{587F560B-62C0-B867-EC11-79B4C360893D}"/>
                </a:ext>
              </a:extLst>
            </p:cNvPr>
            <p:cNvSpPr txBox="1"/>
            <p:nvPr/>
          </p:nvSpPr>
          <p:spPr>
            <a:xfrm>
              <a:off x="7954394" y="6275711"/>
              <a:ext cx="914400" cy="307525"/>
            </a:xfrm>
            <a:prstGeom prst="rect">
              <a:avLst/>
            </a:prstGeom>
            <a:noFill/>
          </p:spPr>
          <p:txBody>
            <a:bodyPr wrap="none" lIns="0" tIns="0" rIns="0" bIns="0" rtlCol="0">
              <a:noAutofit/>
            </a:bodyPr>
            <a:lstStyle/>
            <a:p>
              <a:pPr algn="ctr">
                <a:lnSpc>
                  <a:spcPct val="110000"/>
                </a:lnSpc>
                <a:spcBef>
                  <a:spcPts val="600"/>
                </a:spcBef>
              </a:pPr>
              <a:r>
                <a:rPr lang="en-US" sz="1200" dirty="0">
                  <a:ea typeface="Human Sans" charset="0"/>
                  <a:cs typeface="Human Sans" charset="0"/>
                </a:rPr>
                <a:t>You</a:t>
              </a:r>
            </a:p>
          </p:txBody>
        </p:sp>
      </p:grpSp>
      <p:sp>
        <p:nvSpPr>
          <p:cNvPr id="35" name="Speech Bubble: Rectangle 34">
            <a:extLst>
              <a:ext uri="{FF2B5EF4-FFF2-40B4-BE49-F238E27FC236}">
                <a16:creationId xmlns:a16="http://schemas.microsoft.com/office/drawing/2014/main" id="{5A3D9C85-096D-77E0-F8FF-1459C0ADD876}"/>
              </a:ext>
            </a:extLst>
          </p:cNvPr>
          <p:cNvSpPr/>
          <p:nvPr/>
        </p:nvSpPr>
        <p:spPr bwMode="auto">
          <a:xfrm>
            <a:off x="7697873" y="4555837"/>
            <a:ext cx="396301" cy="551798"/>
          </a:xfrm>
          <a:prstGeom prst="wedgeRectCallout">
            <a:avLst/>
          </a:prstGeom>
          <a:ln/>
        </p:spPr>
        <p:style>
          <a:lnRef idx="2">
            <a:schemeClr val="dk1"/>
          </a:lnRef>
          <a:fillRef idx="1">
            <a:schemeClr val="lt1"/>
          </a:fillRef>
          <a:effectRef idx="0">
            <a:schemeClr val="dk1"/>
          </a:effectRef>
          <a:fontRef idx="minor">
            <a:schemeClr val="dk1"/>
          </a:fontRef>
        </p:style>
        <p:txBody>
          <a:bodyPr wrap="none" rtlCol="0" anchor="ctr"/>
          <a:lstStyle/>
          <a:p>
            <a:pPr algn="ctr"/>
            <a:r>
              <a:rPr lang="en-US" sz="2000" dirty="0">
                <a:ln w="0"/>
                <a:solidFill>
                  <a:schemeClr val="tx1"/>
                </a:solidFill>
                <a:effectLst>
                  <a:outerShdw blurRad="38100" dist="19050" dir="2700000" algn="tl" rotWithShape="0">
                    <a:schemeClr val="dk1">
                      <a:alpha val="40000"/>
                    </a:schemeClr>
                  </a:outerShdw>
                </a:effectLst>
                <a:latin typeface="Calibri Light" panose="020F0302020204030204" pitchFamily="34" charset="0"/>
                <a:ea typeface="Human Sans ExtraLight" charset="0"/>
                <a:cs typeface="Human Sans ExtraLight" charset="0"/>
              </a:rPr>
              <a:t>?</a:t>
            </a:r>
            <a:endParaRPr lang="en-US" sz="2000" dirty="0">
              <a:solidFill>
                <a:schemeClr val="bg1"/>
              </a:solidFill>
              <a:latin typeface="Calibri Light" panose="020F0302020204030204" pitchFamily="34" charset="0"/>
              <a:ea typeface="Human Sans ExtraLight" charset="0"/>
              <a:cs typeface="Human Sans ExtraLight" charset="0"/>
            </a:endParaRPr>
          </a:p>
        </p:txBody>
      </p:sp>
      <p:grpSp>
        <p:nvGrpSpPr>
          <p:cNvPr id="4" name="Group 3">
            <a:extLst>
              <a:ext uri="{FF2B5EF4-FFF2-40B4-BE49-F238E27FC236}">
                <a16:creationId xmlns:a16="http://schemas.microsoft.com/office/drawing/2014/main" id="{BB4845E9-5781-3F39-B75A-F8107484E395}"/>
              </a:ext>
            </a:extLst>
          </p:cNvPr>
          <p:cNvGrpSpPr/>
          <p:nvPr/>
        </p:nvGrpSpPr>
        <p:grpSpPr>
          <a:xfrm>
            <a:off x="8827288" y="550438"/>
            <a:ext cx="923632" cy="1258357"/>
            <a:chOff x="9278671" y="722843"/>
            <a:chExt cx="923632" cy="1258357"/>
          </a:xfrm>
        </p:grpSpPr>
        <p:pic>
          <p:nvPicPr>
            <p:cNvPr id="5" name="Picture 4" descr="Icon&#10;&#10;Description automatically generated">
              <a:extLst>
                <a:ext uri="{FF2B5EF4-FFF2-40B4-BE49-F238E27FC236}">
                  <a16:creationId xmlns:a16="http://schemas.microsoft.com/office/drawing/2014/main" id="{551DFBEF-7F97-AFC6-553C-1B3BBF9FFF2B}"/>
                </a:ext>
              </a:extLst>
            </p:cNvPr>
            <p:cNvPicPr>
              <a:picLocks noChangeAspect="1"/>
            </p:cNvPicPr>
            <p:nvPr/>
          </p:nvPicPr>
          <p:blipFill>
            <a:blip r:embed="rId4"/>
            <a:stretch>
              <a:fillRect/>
            </a:stretch>
          </p:blipFill>
          <p:spPr>
            <a:xfrm>
              <a:off x="9278671" y="722843"/>
              <a:ext cx="862741" cy="862741"/>
            </a:xfrm>
            <a:prstGeom prst="rect">
              <a:avLst/>
            </a:prstGeom>
          </p:spPr>
        </p:pic>
        <p:sp>
          <p:nvSpPr>
            <p:cNvPr id="6" name="TextBox 5">
              <a:extLst>
                <a:ext uri="{FF2B5EF4-FFF2-40B4-BE49-F238E27FC236}">
                  <a16:creationId xmlns:a16="http://schemas.microsoft.com/office/drawing/2014/main" id="{787D0E6B-D589-01B3-A6E4-63C68B64DD65}"/>
                </a:ext>
              </a:extLst>
            </p:cNvPr>
            <p:cNvSpPr txBox="1"/>
            <p:nvPr/>
          </p:nvSpPr>
          <p:spPr>
            <a:xfrm>
              <a:off x="9287903" y="1673675"/>
              <a:ext cx="914400" cy="307525"/>
            </a:xfrm>
            <a:prstGeom prst="rect">
              <a:avLst/>
            </a:prstGeom>
            <a:noFill/>
          </p:spPr>
          <p:txBody>
            <a:bodyPr wrap="none" lIns="0" tIns="0" rIns="0" bIns="0" rtlCol="0">
              <a:noAutofit/>
            </a:bodyPr>
            <a:lstStyle/>
            <a:p>
              <a:pPr algn="ctr">
                <a:lnSpc>
                  <a:spcPct val="110000"/>
                </a:lnSpc>
                <a:spcBef>
                  <a:spcPts val="600"/>
                </a:spcBef>
              </a:pPr>
              <a:r>
                <a:rPr lang="en-US" sz="1200" dirty="0">
                  <a:ea typeface="Human Sans" charset="0"/>
                  <a:cs typeface="Human Sans" charset="0"/>
                </a:rPr>
                <a:t>Dean - SM</a:t>
              </a:r>
            </a:p>
          </p:txBody>
        </p:sp>
      </p:grpSp>
      <p:grpSp>
        <p:nvGrpSpPr>
          <p:cNvPr id="7" name="Group 6">
            <a:extLst>
              <a:ext uri="{FF2B5EF4-FFF2-40B4-BE49-F238E27FC236}">
                <a16:creationId xmlns:a16="http://schemas.microsoft.com/office/drawing/2014/main" id="{84309EC9-FF7E-8DB6-3B0A-F24E5005367D}"/>
              </a:ext>
            </a:extLst>
          </p:cNvPr>
          <p:cNvGrpSpPr/>
          <p:nvPr/>
        </p:nvGrpSpPr>
        <p:grpSpPr>
          <a:xfrm>
            <a:off x="7748640" y="1590899"/>
            <a:ext cx="914400" cy="1280310"/>
            <a:chOff x="7949057" y="1717959"/>
            <a:chExt cx="914400" cy="1280310"/>
          </a:xfrm>
        </p:grpSpPr>
        <p:pic>
          <p:nvPicPr>
            <p:cNvPr id="9" name="Picture 8" descr="Icon, circle&#10;&#10;Description automatically generated">
              <a:extLst>
                <a:ext uri="{FF2B5EF4-FFF2-40B4-BE49-F238E27FC236}">
                  <a16:creationId xmlns:a16="http://schemas.microsoft.com/office/drawing/2014/main" id="{38E0BDAB-5373-19C6-6F91-35D85857A5DD}"/>
                </a:ext>
              </a:extLst>
            </p:cNvPr>
            <p:cNvPicPr>
              <a:picLocks noChangeAspect="1"/>
            </p:cNvPicPr>
            <p:nvPr/>
          </p:nvPicPr>
          <p:blipFill>
            <a:blip r:embed="rId5"/>
            <a:stretch>
              <a:fillRect/>
            </a:stretch>
          </p:blipFill>
          <p:spPr>
            <a:xfrm>
              <a:off x="7974889" y="1717959"/>
              <a:ext cx="862741" cy="862741"/>
            </a:xfrm>
            <a:prstGeom prst="rect">
              <a:avLst/>
            </a:prstGeom>
          </p:spPr>
        </p:pic>
        <p:sp>
          <p:nvSpPr>
            <p:cNvPr id="36" name="TextBox 35">
              <a:extLst>
                <a:ext uri="{FF2B5EF4-FFF2-40B4-BE49-F238E27FC236}">
                  <a16:creationId xmlns:a16="http://schemas.microsoft.com/office/drawing/2014/main" id="{EF22CD6A-7350-B784-9FA5-1629B4C3CE31}"/>
                </a:ext>
              </a:extLst>
            </p:cNvPr>
            <p:cNvSpPr txBox="1"/>
            <p:nvPr/>
          </p:nvSpPr>
          <p:spPr>
            <a:xfrm>
              <a:off x="7949057" y="2690744"/>
              <a:ext cx="914400" cy="307525"/>
            </a:xfrm>
            <a:prstGeom prst="rect">
              <a:avLst/>
            </a:prstGeom>
            <a:noFill/>
          </p:spPr>
          <p:txBody>
            <a:bodyPr wrap="none" lIns="0" tIns="0" rIns="0" bIns="0" rtlCol="0">
              <a:noAutofit/>
            </a:bodyPr>
            <a:lstStyle/>
            <a:p>
              <a:pPr algn="ctr">
                <a:lnSpc>
                  <a:spcPct val="110000"/>
                </a:lnSpc>
                <a:spcBef>
                  <a:spcPts val="600"/>
                </a:spcBef>
              </a:pPr>
              <a:r>
                <a:rPr lang="en-US" sz="1200" dirty="0">
                  <a:ea typeface="Human Sans" charset="0"/>
                  <a:cs typeface="Human Sans" charset="0"/>
                </a:rPr>
                <a:t>Adam – SD</a:t>
              </a:r>
            </a:p>
          </p:txBody>
        </p:sp>
      </p:grpSp>
      <p:grpSp>
        <p:nvGrpSpPr>
          <p:cNvPr id="37" name="Group 36">
            <a:extLst>
              <a:ext uri="{FF2B5EF4-FFF2-40B4-BE49-F238E27FC236}">
                <a16:creationId xmlns:a16="http://schemas.microsoft.com/office/drawing/2014/main" id="{15401A2B-13DF-F884-07EA-990F72A86F8E}"/>
              </a:ext>
            </a:extLst>
          </p:cNvPr>
          <p:cNvGrpSpPr/>
          <p:nvPr/>
        </p:nvGrpSpPr>
        <p:grpSpPr>
          <a:xfrm>
            <a:off x="9940995" y="1630369"/>
            <a:ext cx="926780" cy="1257253"/>
            <a:chOff x="10327938" y="1717960"/>
            <a:chExt cx="926780" cy="1257253"/>
          </a:xfrm>
        </p:grpSpPr>
        <p:pic>
          <p:nvPicPr>
            <p:cNvPr id="38" name="Picture 37" descr="Icon&#10;&#10;Description automatically generated">
              <a:extLst>
                <a:ext uri="{FF2B5EF4-FFF2-40B4-BE49-F238E27FC236}">
                  <a16:creationId xmlns:a16="http://schemas.microsoft.com/office/drawing/2014/main" id="{18881A4B-8FB3-CD52-49B2-C568CC61DE34}"/>
                </a:ext>
              </a:extLst>
            </p:cNvPr>
            <p:cNvPicPr>
              <a:picLocks noChangeAspect="1"/>
            </p:cNvPicPr>
            <p:nvPr/>
          </p:nvPicPr>
          <p:blipFill>
            <a:blip r:embed="rId6"/>
            <a:stretch>
              <a:fillRect/>
            </a:stretch>
          </p:blipFill>
          <p:spPr>
            <a:xfrm>
              <a:off x="10327938" y="1717960"/>
              <a:ext cx="862741" cy="862741"/>
            </a:xfrm>
            <a:prstGeom prst="rect">
              <a:avLst/>
            </a:prstGeom>
          </p:spPr>
        </p:pic>
        <p:sp>
          <p:nvSpPr>
            <p:cNvPr id="39" name="TextBox 38">
              <a:extLst>
                <a:ext uri="{FF2B5EF4-FFF2-40B4-BE49-F238E27FC236}">
                  <a16:creationId xmlns:a16="http://schemas.microsoft.com/office/drawing/2014/main" id="{123AC138-EB9B-5AF0-1D25-C569E570C2DA}"/>
                </a:ext>
              </a:extLst>
            </p:cNvPr>
            <p:cNvSpPr txBox="1"/>
            <p:nvPr/>
          </p:nvSpPr>
          <p:spPr>
            <a:xfrm>
              <a:off x="10340318" y="2667688"/>
              <a:ext cx="914400" cy="307525"/>
            </a:xfrm>
            <a:prstGeom prst="rect">
              <a:avLst/>
            </a:prstGeom>
            <a:noFill/>
          </p:spPr>
          <p:txBody>
            <a:bodyPr wrap="none" lIns="0" tIns="0" rIns="0" bIns="0" rtlCol="0">
              <a:noAutofit/>
            </a:bodyPr>
            <a:lstStyle/>
            <a:p>
              <a:pPr algn="ctr">
                <a:lnSpc>
                  <a:spcPct val="110000"/>
                </a:lnSpc>
                <a:spcBef>
                  <a:spcPts val="600"/>
                </a:spcBef>
              </a:pPr>
              <a:r>
                <a:rPr lang="en-US" sz="1200" dirty="0">
                  <a:ea typeface="Human Sans" charset="0"/>
                  <a:cs typeface="Human Sans" charset="0"/>
                </a:rPr>
                <a:t>Mary – PO/BA</a:t>
              </a:r>
            </a:p>
          </p:txBody>
        </p:sp>
      </p:grpSp>
      <p:grpSp>
        <p:nvGrpSpPr>
          <p:cNvPr id="40" name="Group 39">
            <a:extLst>
              <a:ext uri="{FF2B5EF4-FFF2-40B4-BE49-F238E27FC236}">
                <a16:creationId xmlns:a16="http://schemas.microsoft.com/office/drawing/2014/main" id="{B0B1EFE6-25B8-46DF-22EF-47268626D5DA}"/>
              </a:ext>
            </a:extLst>
          </p:cNvPr>
          <p:cNvGrpSpPr/>
          <p:nvPr/>
        </p:nvGrpSpPr>
        <p:grpSpPr>
          <a:xfrm>
            <a:off x="7610190" y="2962921"/>
            <a:ext cx="933043" cy="1261978"/>
            <a:chOff x="7810607" y="3089981"/>
            <a:chExt cx="933043" cy="1261978"/>
          </a:xfrm>
        </p:grpSpPr>
        <p:pic>
          <p:nvPicPr>
            <p:cNvPr id="41" name="Picture 40" descr="Icon&#10;&#10;Description automatically generated">
              <a:extLst>
                <a:ext uri="{FF2B5EF4-FFF2-40B4-BE49-F238E27FC236}">
                  <a16:creationId xmlns:a16="http://schemas.microsoft.com/office/drawing/2014/main" id="{5D679CD3-BC09-9870-C144-64E4120FF3EE}"/>
                </a:ext>
              </a:extLst>
            </p:cNvPr>
            <p:cNvPicPr>
              <a:picLocks noChangeAspect="1"/>
            </p:cNvPicPr>
            <p:nvPr/>
          </p:nvPicPr>
          <p:blipFill>
            <a:blip r:embed="rId7"/>
            <a:stretch>
              <a:fillRect/>
            </a:stretch>
          </p:blipFill>
          <p:spPr>
            <a:xfrm>
              <a:off x="7810607" y="3089981"/>
              <a:ext cx="862741" cy="862741"/>
            </a:xfrm>
            <a:prstGeom prst="rect">
              <a:avLst/>
            </a:prstGeom>
          </p:spPr>
        </p:pic>
        <p:sp>
          <p:nvSpPr>
            <p:cNvPr id="42" name="TextBox 41">
              <a:extLst>
                <a:ext uri="{FF2B5EF4-FFF2-40B4-BE49-F238E27FC236}">
                  <a16:creationId xmlns:a16="http://schemas.microsoft.com/office/drawing/2014/main" id="{C888D0DC-3138-63C0-086D-2383C730CE89}"/>
                </a:ext>
              </a:extLst>
            </p:cNvPr>
            <p:cNvSpPr txBox="1"/>
            <p:nvPr/>
          </p:nvSpPr>
          <p:spPr>
            <a:xfrm>
              <a:off x="7829250" y="4044434"/>
              <a:ext cx="914400" cy="307525"/>
            </a:xfrm>
            <a:prstGeom prst="rect">
              <a:avLst/>
            </a:prstGeom>
            <a:noFill/>
          </p:spPr>
          <p:txBody>
            <a:bodyPr wrap="none" lIns="0" tIns="0" rIns="0" bIns="0" rtlCol="0">
              <a:noAutofit/>
            </a:bodyPr>
            <a:lstStyle/>
            <a:p>
              <a:pPr algn="ctr">
                <a:lnSpc>
                  <a:spcPct val="110000"/>
                </a:lnSpc>
                <a:spcBef>
                  <a:spcPts val="600"/>
                </a:spcBef>
              </a:pPr>
              <a:r>
                <a:rPr lang="en-US" sz="1200" dirty="0">
                  <a:ea typeface="Human Sans" charset="0"/>
                  <a:cs typeface="Human Sans" charset="0"/>
                </a:rPr>
                <a:t>Bob – MD</a:t>
              </a:r>
            </a:p>
          </p:txBody>
        </p:sp>
      </p:grpSp>
      <p:grpSp>
        <p:nvGrpSpPr>
          <p:cNvPr id="43" name="Group 42">
            <a:extLst>
              <a:ext uri="{FF2B5EF4-FFF2-40B4-BE49-F238E27FC236}">
                <a16:creationId xmlns:a16="http://schemas.microsoft.com/office/drawing/2014/main" id="{D57BE348-96F4-A86B-766A-69EE3A26BD5F}"/>
              </a:ext>
            </a:extLst>
          </p:cNvPr>
          <p:cNvGrpSpPr/>
          <p:nvPr/>
        </p:nvGrpSpPr>
        <p:grpSpPr>
          <a:xfrm>
            <a:off x="8656115" y="2962922"/>
            <a:ext cx="914400" cy="1265709"/>
            <a:chOff x="8856532" y="3089982"/>
            <a:chExt cx="914400" cy="1265709"/>
          </a:xfrm>
        </p:grpSpPr>
        <p:pic>
          <p:nvPicPr>
            <p:cNvPr id="44" name="Picture 43" descr="Icon&#10;&#10;Description automatically generated">
              <a:extLst>
                <a:ext uri="{FF2B5EF4-FFF2-40B4-BE49-F238E27FC236}">
                  <a16:creationId xmlns:a16="http://schemas.microsoft.com/office/drawing/2014/main" id="{74801FF4-2909-3002-3F91-24C62642132B}"/>
                </a:ext>
              </a:extLst>
            </p:cNvPr>
            <p:cNvPicPr>
              <a:picLocks noChangeAspect="1"/>
            </p:cNvPicPr>
            <p:nvPr/>
          </p:nvPicPr>
          <p:blipFill>
            <a:blip r:embed="rId8"/>
            <a:stretch>
              <a:fillRect/>
            </a:stretch>
          </p:blipFill>
          <p:spPr>
            <a:xfrm>
              <a:off x="8882362" y="3089982"/>
              <a:ext cx="862741" cy="862741"/>
            </a:xfrm>
            <a:prstGeom prst="rect">
              <a:avLst/>
            </a:prstGeom>
          </p:spPr>
        </p:pic>
        <p:sp>
          <p:nvSpPr>
            <p:cNvPr id="45" name="TextBox 44">
              <a:extLst>
                <a:ext uri="{FF2B5EF4-FFF2-40B4-BE49-F238E27FC236}">
                  <a16:creationId xmlns:a16="http://schemas.microsoft.com/office/drawing/2014/main" id="{B85FC62E-3972-030F-18E0-640C16D623C7}"/>
                </a:ext>
              </a:extLst>
            </p:cNvPr>
            <p:cNvSpPr txBox="1"/>
            <p:nvPr/>
          </p:nvSpPr>
          <p:spPr>
            <a:xfrm>
              <a:off x="8856532" y="4048166"/>
              <a:ext cx="914400" cy="307525"/>
            </a:xfrm>
            <a:prstGeom prst="rect">
              <a:avLst/>
            </a:prstGeom>
            <a:noFill/>
          </p:spPr>
          <p:txBody>
            <a:bodyPr wrap="none" lIns="0" tIns="0" rIns="0" bIns="0" rtlCol="0">
              <a:noAutofit/>
            </a:bodyPr>
            <a:lstStyle/>
            <a:p>
              <a:pPr algn="ctr">
                <a:lnSpc>
                  <a:spcPct val="110000"/>
                </a:lnSpc>
                <a:spcBef>
                  <a:spcPts val="600"/>
                </a:spcBef>
              </a:pPr>
              <a:r>
                <a:rPr lang="en-US" sz="1200" dirty="0">
                  <a:ea typeface="Human Sans" charset="0"/>
                  <a:cs typeface="Human Sans" charset="0"/>
                </a:rPr>
                <a:t>Eva - JD</a:t>
              </a:r>
            </a:p>
          </p:txBody>
        </p:sp>
      </p:grpSp>
      <p:grpSp>
        <p:nvGrpSpPr>
          <p:cNvPr id="46" name="Group 45">
            <a:extLst>
              <a:ext uri="{FF2B5EF4-FFF2-40B4-BE49-F238E27FC236}">
                <a16:creationId xmlns:a16="http://schemas.microsoft.com/office/drawing/2014/main" id="{3EA658B8-54F8-A019-9430-44555FE20C4C}"/>
              </a:ext>
            </a:extLst>
          </p:cNvPr>
          <p:cNvGrpSpPr/>
          <p:nvPr/>
        </p:nvGrpSpPr>
        <p:grpSpPr>
          <a:xfrm>
            <a:off x="9915165" y="2962922"/>
            <a:ext cx="914400" cy="1285035"/>
            <a:chOff x="10115582" y="3089982"/>
            <a:chExt cx="914400" cy="1285035"/>
          </a:xfrm>
        </p:grpSpPr>
        <p:pic>
          <p:nvPicPr>
            <p:cNvPr id="47" name="Picture 46" descr="Icon&#10;&#10;Description automatically generated">
              <a:extLst>
                <a:ext uri="{FF2B5EF4-FFF2-40B4-BE49-F238E27FC236}">
                  <a16:creationId xmlns:a16="http://schemas.microsoft.com/office/drawing/2014/main" id="{7F723980-9F86-DB0F-2C39-652042288F24}"/>
                </a:ext>
              </a:extLst>
            </p:cNvPr>
            <p:cNvPicPr>
              <a:picLocks noChangeAspect="1"/>
            </p:cNvPicPr>
            <p:nvPr/>
          </p:nvPicPr>
          <p:blipFill>
            <a:blip r:embed="rId9"/>
            <a:stretch>
              <a:fillRect/>
            </a:stretch>
          </p:blipFill>
          <p:spPr>
            <a:xfrm>
              <a:off x="10141412" y="3089982"/>
              <a:ext cx="862741" cy="862741"/>
            </a:xfrm>
            <a:prstGeom prst="rect">
              <a:avLst/>
            </a:prstGeom>
          </p:spPr>
        </p:pic>
        <p:sp>
          <p:nvSpPr>
            <p:cNvPr id="48" name="TextBox 47">
              <a:extLst>
                <a:ext uri="{FF2B5EF4-FFF2-40B4-BE49-F238E27FC236}">
                  <a16:creationId xmlns:a16="http://schemas.microsoft.com/office/drawing/2014/main" id="{A41BCC08-3034-1F8B-3F21-EECBD65EB641}"/>
                </a:ext>
              </a:extLst>
            </p:cNvPr>
            <p:cNvSpPr txBox="1"/>
            <p:nvPr/>
          </p:nvSpPr>
          <p:spPr>
            <a:xfrm>
              <a:off x="10115582" y="4067492"/>
              <a:ext cx="914400" cy="307525"/>
            </a:xfrm>
            <a:prstGeom prst="rect">
              <a:avLst/>
            </a:prstGeom>
            <a:noFill/>
          </p:spPr>
          <p:txBody>
            <a:bodyPr wrap="none" lIns="0" tIns="0" rIns="0" bIns="0" rtlCol="0">
              <a:noAutofit/>
            </a:bodyPr>
            <a:lstStyle/>
            <a:p>
              <a:pPr algn="ctr">
                <a:lnSpc>
                  <a:spcPct val="110000"/>
                </a:lnSpc>
                <a:spcBef>
                  <a:spcPts val="600"/>
                </a:spcBef>
              </a:pPr>
              <a:r>
                <a:rPr lang="en-US" sz="1200" dirty="0">
                  <a:ea typeface="Human Sans" charset="0"/>
                  <a:cs typeface="Human Sans" charset="0"/>
                </a:rPr>
                <a:t>Diana - QA</a:t>
              </a:r>
            </a:p>
          </p:txBody>
        </p:sp>
      </p:grpSp>
      <p:grpSp>
        <p:nvGrpSpPr>
          <p:cNvPr id="49" name="Group 48">
            <a:extLst>
              <a:ext uri="{FF2B5EF4-FFF2-40B4-BE49-F238E27FC236}">
                <a16:creationId xmlns:a16="http://schemas.microsoft.com/office/drawing/2014/main" id="{2328E9C9-E83C-362D-F6D2-A69E23B0BBA1}"/>
              </a:ext>
            </a:extLst>
          </p:cNvPr>
          <p:cNvGrpSpPr/>
          <p:nvPr/>
        </p:nvGrpSpPr>
        <p:grpSpPr>
          <a:xfrm>
            <a:off x="9953375" y="4368223"/>
            <a:ext cx="914400" cy="1246962"/>
            <a:chOff x="10338849" y="4462008"/>
            <a:chExt cx="914400" cy="1246962"/>
          </a:xfrm>
        </p:grpSpPr>
        <p:pic>
          <p:nvPicPr>
            <p:cNvPr id="50" name="Picture 49" descr="Icon&#10;&#10;Description automatically generated">
              <a:extLst>
                <a:ext uri="{FF2B5EF4-FFF2-40B4-BE49-F238E27FC236}">
                  <a16:creationId xmlns:a16="http://schemas.microsoft.com/office/drawing/2014/main" id="{7664D971-33C2-298C-5CDD-B8E9723F4675}"/>
                </a:ext>
              </a:extLst>
            </p:cNvPr>
            <p:cNvPicPr>
              <a:picLocks noChangeAspect="1"/>
            </p:cNvPicPr>
            <p:nvPr/>
          </p:nvPicPr>
          <p:blipFill>
            <a:blip r:embed="rId10"/>
            <a:stretch>
              <a:fillRect/>
            </a:stretch>
          </p:blipFill>
          <p:spPr>
            <a:xfrm>
              <a:off x="10364679" y="4462008"/>
              <a:ext cx="862741" cy="862741"/>
            </a:xfrm>
            <a:prstGeom prst="rect">
              <a:avLst/>
            </a:prstGeom>
          </p:spPr>
        </p:pic>
        <p:sp>
          <p:nvSpPr>
            <p:cNvPr id="51" name="TextBox 50">
              <a:extLst>
                <a:ext uri="{FF2B5EF4-FFF2-40B4-BE49-F238E27FC236}">
                  <a16:creationId xmlns:a16="http://schemas.microsoft.com/office/drawing/2014/main" id="{FE7FEC11-0F04-314D-D4CF-BB326136E17C}"/>
                </a:ext>
              </a:extLst>
            </p:cNvPr>
            <p:cNvSpPr txBox="1"/>
            <p:nvPr/>
          </p:nvSpPr>
          <p:spPr>
            <a:xfrm>
              <a:off x="10338849" y="5401445"/>
              <a:ext cx="914400" cy="307525"/>
            </a:xfrm>
            <a:prstGeom prst="rect">
              <a:avLst/>
            </a:prstGeom>
            <a:noFill/>
          </p:spPr>
          <p:txBody>
            <a:bodyPr wrap="none" lIns="0" tIns="0" rIns="0" bIns="0" rtlCol="0">
              <a:noAutofit/>
            </a:bodyPr>
            <a:lstStyle/>
            <a:p>
              <a:pPr algn="ctr">
                <a:lnSpc>
                  <a:spcPct val="110000"/>
                </a:lnSpc>
                <a:spcBef>
                  <a:spcPts val="600"/>
                </a:spcBef>
              </a:pPr>
              <a:r>
                <a:rPr lang="en-US" sz="1200" dirty="0">
                  <a:ea typeface="Human Sans" charset="0"/>
                  <a:cs typeface="Human Sans" charset="0"/>
                </a:rPr>
                <a:t>Pavel - DevOps</a:t>
              </a:r>
            </a:p>
          </p:txBody>
        </p:sp>
      </p:grpSp>
    </p:spTree>
    <p:extLst>
      <p:ext uri="{BB962C8B-B14F-4D97-AF65-F5344CB8AC3E}">
        <p14:creationId xmlns:p14="http://schemas.microsoft.com/office/powerpoint/2010/main" val="3169304169"/>
      </p:ext>
    </p:extLst>
  </p:cSld>
  <p:clrMapOvr>
    <a:masterClrMapping/>
  </p:clrMapOvr>
  <p:transition spd="slow">
    <p:push dir="u"/>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3E7B12-94E5-1E8A-9A20-C930CC8426EB}"/>
              </a:ext>
            </a:extLst>
          </p:cNvPr>
          <p:cNvSpPr>
            <a:spLocks noGrp="1"/>
          </p:cNvSpPr>
          <p:nvPr>
            <p:ph type="title"/>
          </p:nvPr>
        </p:nvSpPr>
        <p:spPr>
          <a:xfrm>
            <a:off x="639073" y="1424520"/>
            <a:ext cx="5333999" cy="2954655"/>
          </a:xfrm>
        </p:spPr>
        <p:txBody>
          <a:bodyPr/>
          <a:lstStyle/>
          <a:p>
            <a:r>
              <a:rPr lang="en-US" sz="3200" dirty="0"/>
              <a:t>User story contains several tasks, one of which has tiny functionality but at the same time require large efforts. </a:t>
            </a:r>
            <a:br>
              <a:rPr lang="en-US" sz="3200" dirty="0"/>
            </a:br>
            <a:r>
              <a:rPr lang="en-US" sz="3200" dirty="0">
                <a:solidFill>
                  <a:schemeClr val="accent6"/>
                </a:solidFill>
                <a:latin typeface="Calibri" panose="020F0502020204030204" pitchFamily="34" charset="0"/>
                <a:cs typeface="Calibri" panose="020F0502020204030204" pitchFamily="34" charset="0"/>
              </a:rPr>
              <a:t>How will you communicate it with PO / customer?</a:t>
            </a:r>
          </a:p>
        </p:txBody>
      </p:sp>
      <p:sp>
        <p:nvSpPr>
          <p:cNvPr id="8" name="Text Placeholder 7">
            <a:extLst>
              <a:ext uri="{FF2B5EF4-FFF2-40B4-BE49-F238E27FC236}">
                <a16:creationId xmlns:a16="http://schemas.microsoft.com/office/drawing/2014/main" id="{A33CA039-DE3C-5D85-0DB8-D98A38BFDC35}"/>
              </a:ext>
            </a:extLst>
          </p:cNvPr>
          <p:cNvSpPr>
            <a:spLocks noGrp="1"/>
          </p:cNvSpPr>
          <p:nvPr>
            <p:ph type="body" sz="quarter" idx="28"/>
          </p:nvPr>
        </p:nvSpPr>
        <p:spPr>
          <a:xfrm>
            <a:off x="627063" y="419100"/>
            <a:ext cx="3725862" cy="397732"/>
          </a:xfrm>
        </p:spPr>
        <p:txBody>
          <a:bodyPr>
            <a:normAutofit/>
          </a:bodyPr>
          <a:lstStyle/>
          <a:p>
            <a:r>
              <a:rPr lang="en-US" dirty="0"/>
              <a:t>Team Leadership workshop: USE-cases</a:t>
            </a:r>
          </a:p>
        </p:txBody>
      </p:sp>
      <p:sp>
        <p:nvSpPr>
          <p:cNvPr id="10" name="Text Placeholder 9">
            <a:extLst>
              <a:ext uri="{FF2B5EF4-FFF2-40B4-BE49-F238E27FC236}">
                <a16:creationId xmlns:a16="http://schemas.microsoft.com/office/drawing/2014/main" id="{1F88C411-8C59-AFA3-5C10-11E75FDF9817}"/>
              </a:ext>
            </a:extLst>
          </p:cNvPr>
          <p:cNvSpPr>
            <a:spLocks noGrp="1"/>
          </p:cNvSpPr>
          <p:nvPr>
            <p:ph type="body" sz="quarter" idx="25"/>
          </p:nvPr>
        </p:nvSpPr>
        <p:spPr>
          <a:xfrm>
            <a:off x="627063" y="722842"/>
            <a:ext cx="4959821" cy="397731"/>
          </a:xfrm>
        </p:spPr>
        <p:txBody>
          <a:bodyPr/>
          <a:lstStyle/>
          <a:p>
            <a:r>
              <a:rPr lang="en-US" dirty="0"/>
              <a:t>Case 8: Effort vs. Impact Communication</a:t>
            </a:r>
          </a:p>
        </p:txBody>
      </p:sp>
      <p:grpSp>
        <p:nvGrpSpPr>
          <p:cNvPr id="32" name="Group 31">
            <a:extLst>
              <a:ext uri="{FF2B5EF4-FFF2-40B4-BE49-F238E27FC236}">
                <a16:creationId xmlns:a16="http://schemas.microsoft.com/office/drawing/2014/main" id="{38CAE5AD-B9D9-1BE3-D8DA-9F3BAC97EFE3}"/>
              </a:ext>
            </a:extLst>
          </p:cNvPr>
          <p:cNvGrpSpPr/>
          <p:nvPr/>
        </p:nvGrpSpPr>
        <p:grpSpPr>
          <a:xfrm>
            <a:off x="7031633" y="5174495"/>
            <a:ext cx="914400" cy="1507452"/>
            <a:chOff x="7954394" y="5075784"/>
            <a:chExt cx="914400" cy="1507452"/>
          </a:xfrm>
        </p:grpSpPr>
        <p:pic>
          <p:nvPicPr>
            <p:cNvPr id="33" name="Picture 32" descr="Icon&#10;&#10;Description automatically generated">
              <a:extLst>
                <a:ext uri="{FF2B5EF4-FFF2-40B4-BE49-F238E27FC236}">
                  <a16:creationId xmlns:a16="http://schemas.microsoft.com/office/drawing/2014/main" id="{2F838510-22B0-4FBB-C199-A585524A88F1}"/>
                </a:ext>
              </a:extLst>
            </p:cNvPr>
            <p:cNvPicPr>
              <a:picLocks noChangeAspect="1"/>
            </p:cNvPicPr>
            <p:nvPr/>
          </p:nvPicPr>
          <p:blipFill>
            <a:blip r:embed="rId3"/>
            <a:stretch>
              <a:fillRect/>
            </a:stretch>
          </p:blipFill>
          <p:spPr>
            <a:xfrm>
              <a:off x="7974887" y="5075784"/>
              <a:ext cx="862741" cy="1133067"/>
            </a:xfrm>
            <a:prstGeom prst="rect">
              <a:avLst/>
            </a:prstGeom>
          </p:spPr>
        </p:pic>
        <p:sp>
          <p:nvSpPr>
            <p:cNvPr id="34" name="TextBox 33">
              <a:extLst>
                <a:ext uri="{FF2B5EF4-FFF2-40B4-BE49-F238E27FC236}">
                  <a16:creationId xmlns:a16="http://schemas.microsoft.com/office/drawing/2014/main" id="{587F560B-62C0-B867-EC11-79B4C360893D}"/>
                </a:ext>
              </a:extLst>
            </p:cNvPr>
            <p:cNvSpPr txBox="1"/>
            <p:nvPr/>
          </p:nvSpPr>
          <p:spPr>
            <a:xfrm>
              <a:off x="7954394" y="6275711"/>
              <a:ext cx="914400" cy="307525"/>
            </a:xfrm>
            <a:prstGeom prst="rect">
              <a:avLst/>
            </a:prstGeom>
            <a:noFill/>
          </p:spPr>
          <p:txBody>
            <a:bodyPr wrap="none" lIns="0" tIns="0" rIns="0" bIns="0" rtlCol="0">
              <a:noAutofit/>
            </a:bodyPr>
            <a:lstStyle/>
            <a:p>
              <a:pPr algn="ctr">
                <a:lnSpc>
                  <a:spcPct val="110000"/>
                </a:lnSpc>
                <a:spcBef>
                  <a:spcPts val="600"/>
                </a:spcBef>
              </a:pPr>
              <a:r>
                <a:rPr lang="en-US" sz="1200" dirty="0">
                  <a:ea typeface="Human Sans" charset="0"/>
                  <a:cs typeface="Human Sans" charset="0"/>
                </a:rPr>
                <a:t>You</a:t>
              </a:r>
            </a:p>
          </p:txBody>
        </p:sp>
      </p:grpSp>
      <p:sp>
        <p:nvSpPr>
          <p:cNvPr id="35" name="Speech Bubble: Rectangle 34">
            <a:extLst>
              <a:ext uri="{FF2B5EF4-FFF2-40B4-BE49-F238E27FC236}">
                <a16:creationId xmlns:a16="http://schemas.microsoft.com/office/drawing/2014/main" id="{5A3D9C85-096D-77E0-F8FF-1459C0ADD876}"/>
              </a:ext>
            </a:extLst>
          </p:cNvPr>
          <p:cNvSpPr/>
          <p:nvPr/>
        </p:nvSpPr>
        <p:spPr bwMode="auto">
          <a:xfrm>
            <a:off x="7697873" y="4555837"/>
            <a:ext cx="396301" cy="551798"/>
          </a:xfrm>
          <a:prstGeom prst="wedgeRectCallout">
            <a:avLst/>
          </a:prstGeom>
          <a:ln/>
        </p:spPr>
        <p:style>
          <a:lnRef idx="2">
            <a:schemeClr val="dk1"/>
          </a:lnRef>
          <a:fillRef idx="1">
            <a:schemeClr val="lt1"/>
          </a:fillRef>
          <a:effectRef idx="0">
            <a:schemeClr val="dk1"/>
          </a:effectRef>
          <a:fontRef idx="minor">
            <a:schemeClr val="dk1"/>
          </a:fontRef>
        </p:style>
        <p:txBody>
          <a:bodyPr wrap="none" rtlCol="0" anchor="ctr"/>
          <a:lstStyle/>
          <a:p>
            <a:pPr algn="ctr"/>
            <a:r>
              <a:rPr lang="en-US" sz="2000" dirty="0">
                <a:ln w="0"/>
                <a:solidFill>
                  <a:schemeClr val="tx1"/>
                </a:solidFill>
                <a:effectLst>
                  <a:outerShdw blurRad="38100" dist="19050" dir="2700000" algn="tl" rotWithShape="0">
                    <a:schemeClr val="dk1">
                      <a:alpha val="40000"/>
                    </a:schemeClr>
                  </a:outerShdw>
                </a:effectLst>
                <a:latin typeface="Calibri Light" panose="020F0302020204030204" pitchFamily="34" charset="0"/>
                <a:ea typeface="Human Sans ExtraLight" charset="0"/>
                <a:cs typeface="Human Sans ExtraLight" charset="0"/>
              </a:rPr>
              <a:t>?</a:t>
            </a:r>
            <a:endParaRPr lang="en-US" sz="2000" dirty="0">
              <a:solidFill>
                <a:schemeClr val="bg1"/>
              </a:solidFill>
              <a:latin typeface="Calibri Light" panose="020F0302020204030204" pitchFamily="34" charset="0"/>
              <a:ea typeface="Human Sans ExtraLight" charset="0"/>
              <a:cs typeface="Human Sans ExtraLight" charset="0"/>
            </a:endParaRPr>
          </a:p>
        </p:txBody>
      </p:sp>
      <p:grpSp>
        <p:nvGrpSpPr>
          <p:cNvPr id="4" name="Group 3">
            <a:extLst>
              <a:ext uri="{FF2B5EF4-FFF2-40B4-BE49-F238E27FC236}">
                <a16:creationId xmlns:a16="http://schemas.microsoft.com/office/drawing/2014/main" id="{BB4845E9-5781-3F39-B75A-F8107484E395}"/>
              </a:ext>
            </a:extLst>
          </p:cNvPr>
          <p:cNvGrpSpPr/>
          <p:nvPr/>
        </p:nvGrpSpPr>
        <p:grpSpPr>
          <a:xfrm>
            <a:off x="8827288" y="550438"/>
            <a:ext cx="923632" cy="1258357"/>
            <a:chOff x="9278671" y="722843"/>
            <a:chExt cx="923632" cy="1258357"/>
          </a:xfrm>
        </p:grpSpPr>
        <p:pic>
          <p:nvPicPr>
            <p:cNvPr id="5" name="Picture 4" descr="Icon&#10;&#10;Description automatically generated">
              <a:extLst>
                <a:ext uri="{FF2B5EF4-FFF2-40B4-BE49-F238E27FC236}">
                  <a16:creationId xmlns:a16="http://schemas.microsoft.com/office/drawing/2014/main" id="{551DFBEF-7F97-AFC6-553C-1B3BBF9FFF2B}"/>
                </a:ext>
              </a:extLst>
            </p:cNvPr>
            <p:cNvPicPr>
              <a:picLocks noChangeAspect="1"/>
            </p:cNvPicPr>
            <p:nvPr/>
          </p:nvPicPr>
          <p:blipFill>
            <a:blip r:embed="rId4"/>
            <a:stretch>
              <a:fillRect/>
            </a:stretch>
          </p:blipFill>
          <p:spPr>
            <a:xfrm>
              <a:off x="9278671" y="722843"/>
              <a:ext cx="862741" cy="862741"/>
            </a:xfrm>
            <a:prstGeom prst="rect">
              <a:avLst/>
            </a:prstGeom>
          </p:spPr>
        </p:pic>
        <p:sp>
          <p:nvSpPr>
            <p:cNvPr id="6" name="TextBox 5">
              <a:extLst>
                <a:ext uri="{FF2B5EF4-FFF2-40B4-BE49-F238E27FC236}">
                  <a16:creationId xmlns:a16="http://schemas.microsoft.com/office/drawing/2014/main" id="{787D0E6B-D589-01B3-A6E4-63C68B64DD65}"/>
                </a:ext>
              </a:extLst>
            </p:cNvPr>
            <p:cNvSpPr txBox="1"/>
            <p:nvPr/>
          </p:nvSpPr>
          <p:spPr>
            <a:xfrm>
              <a:off x="9287903" y="1673675"/>
              <a:ext cx="914400" cy="307525"/>
            </a:xfrm>
            <a:prstGeom prst="rect">
              <a:avLst/>
            </a:prstGeom>
            <a:noFill/>
          </p:spPr>
          <p:txBody>
            <a:bodyPr wrap="none" lIns="0" tIns="0" rIns="0" bIns="0" rtlCol="0">
              <a:noAutofit/>
            </a:bodyPr>
            <a:lstStyle/>
            <a:p>
              <a:pPr algn="ctr">
                <a:lnSpc>
                  <a:spcPct val="110000"/>
                </a:lnSpc>
                <a:spcBef>
                  <a:spcPts val="600"/>
                </a:spcBef>
              </a:pPr>
              <a:r>
                <a:rPr lang="en-US" sz="1200" dirty="0">
                  <a:ea typeface="Human Sans" charset="0"/>
                  <a:cs typeface="Human Sans" charset="0"/>
                </a:rPr>
                <a:t>Dean - SM</a:t>
              </a:r>
            </a:p>
          </p:txBody>
        </p:sp>
      </p:grpSp>
      <p:grpSp>
        <p:nvGrpSpPr>
          <p:cNvPr id="7" name="Group 6">
            <a:extLst>
              <a:ext uri="{FF2B5EF4-FFF2-40B4-BE49-F238E27FC236}">
                <a16:creationId xmlns:a16="http://schemas.microsoft.com/office/drawing/2014/main" id="{84309EC9-FF7E-8DB6-3B0A-F24E5005367D}"/>
              </a:ext>
            </a:extLst>
          </p:cNvPr>
          <p:cNvGrpSpPr/>
          <p:nvPr/>
        </p:nvGrpSpPr>
        <p:grpSpPr>
          <a:xfrm>
            <a:off x="7748640" y="1590899"/>
            <a:ext cx="914400" cy="1280310"/>
            <a:chOff x="7949057" y="1717959"/>
            <a:chExt cx="914400" cy="1280310"/>
          </a:xfrm>
        </p:grpSpPr>
        <p:pic>
          <p:nvPicPr>
            <p:cNvPr id="9" name="Picture 8" descr="Icon, circle&#10;&#10;Description automatically generated">
              <a:extLst>
                <a:ext uri="{FF2B5EF4-FFF2-40B4-BE49-F238E27FC236}">
                  <a16:creationId xmlns:a16="http://schemas.microsoft.com/office/drawing/2014/main" id="{38E0BDAB-5373-19C6-6F91-35D85857A5DD}"/>
                </a:ext>
              </a:extLst>
            </p:cNvPr>
            <p:cNvPicPr>
              <a:picLocks noChangeAspect="1"/>
            </p:cNvPicPr>
            <p:nvPr/>
          </p:nvPicPr>
          <p:blipFill>
            <a:blip r:embed="rId5"/>
            <a:stretch>
              <a:fillRect/>
            </a:stretch>
          </p:blipFill>
          <p:spPr>
            <a:xfrm>
              <a:off x="7974889" y="1717959"/>
              <a:ext cx="862741" cy="862741"/>
            </a:xfrm>
            <a:prstGeom prst="rect">
              <a:avLst/>
            </a:prstGeom>
          </p:spPr>
        </p:pic>
        <p:sp>
          <p:nvSpPr>
            <p:cNvPr id="36" name="TextBox 35">
              <a:extLst>
                <a:ext uri="{FF2B5EF4-FFF2-40B4-BE49-F238E27FC236}">
                  <a16:creationId xmlns:a16="http://schemas.microsoft.com/office/drawing/2014/main" id="{EF22CD6A-7350-B784-9FA5-1629B4C3CE31}"/>
                </a:ext>
              </a:extLst>
            </p:cNvPr>
            <p:cNvSpPr txBox="1"/>
            <p:nvPr/>
          </p:nvSpPr>
          <p:spPr>
            <a:xfrm>
              <a:off x="7949057" y="2690744"/>
              <a:ext cx="914400" cy="307525"/>
            </a:xfrm>
            <a:prstGeom prst="rect">
              <a:avLst/>
            </a:prstGeom>
            <a:noFill/>
          </p:spPr>
          <p:txBody>
            <a:bodyPr wrap="none" lIns="0" tIns="0" rIns="0" bIns="0" rtlCol="0">
              <a:noAutofit/>
            </a:bodyPr>
            <a:lstStyle/>
            <a:p>
              <a:pPr algn="ctr">
                <a:lnSpc>
                  <a:spcPct val="110000"/>
                </a:lnSpc>
                <a:spcBef>
                  <a:spcPts val="600"/>
                </a:spcBef>
              </a:pPr>
              <a:r>
                <a:rPr lang="en-US" sz="1200" dirty="0">
                  <a:ea typeface="Human Sans" charset="0"/>
                  <a:cs typeface="Human Sans" charset="0"/>
                </a:rPr>
                <a:t>Adam – SD</a:t>
              </a:r>
            </a:p>
          </p:txBody>
        </p:sp>
      </p:grpSp>
      <p:grpSp>
        <p:nvGrpSpPr>
          <p:cNvPr id="37" name="Group 36">
            <a:extLst>
              <a:ext uri="{FF2B5EF4-FFF2-40B4-BE49-F238E27FC236}">
                <a16:creationId xmlns:a16="http://schemas.microsoft.com/office/drawing/2014/main" id="{15401A2B-13DF-F884-07EA-990F72A86F8E}"/>
              </a:ext>
            </a:extLst>
          </p:cNvPr>
          <p:cNvGrpSpPr/>
          <p:nvPr/>
        </p:nvGrpSpPr>
        <p:grpSpPr>
          <a:xfrm>
            <a:off x="9940995" y="1630369"/>
            <a:ext cx="926780" cy="1257253"/>
            <a:chOff x="10327938" y="1717960"/>
            <a:chExt cx="926780" cy="1257253"/>
          </a:xfrm>
        </p:grpSpPr>
        <p:pic>
          <p:nvPicPr>
            <p:cNvPr id="38" name="Picture 37" descr="Icon&#10;&#10;Description automatically generated">
              <a:extLst>
                <a:ext uri="{FF2B5EF4-FFF2-40B4-BE49-F238E27FC236}">
                  <a16:creationId xmlns:a16="http://schemas.microsoft.com/office/drawing/2014/main" id="{18881A4B-8FB3-CD52-49B2-C568CC61DE34}"/>
                </a:ext>
              </a:extLst>
            </p:cNvPr>
            <p:cNvPicPr>
              <a:picLocks noChangeAspect="1"/>
            </p:cNvPicPr>
            <p:nvPr/>
          </p:nvPicPr>
          <p:blipFill>
            <a:blip r:embed="rId6"/>
            <a:stretch>
              <a:fillRect/>
            </a:stretch>
          </p:blipFill>
          <p:spPr>
            <a:xfrm>
              <a:off x="10327938" y="1717960"/>
              <a:ext cx="862741" cy="862741"/>
            </a:xfrm>
            <a:prstGeom prst="ellipse">
              <a:avLst/>
            </a:prstGeom>
            <a:ln w="63500" cap="rnd">
              <a:solidFill>
                <a:srgbClr val="FF0000"/>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sp>
          <p:nvSpPr>
            <p:cNvPr id="39" name="TextBox 38">
              <a:extLst>
                <a:ext uri="{FF2B5EF4-FFF2-40B4-BE49-F238E27FC236}">
                  <a16:creationId xmlns:a16="http://schemas.microsoft.com/office/drawing/2014/main" id="{123AC138-EB9B-5AF0-1D25-C569E570C2DA}"/>
                </a:ext>
              </a:extLst>
            </p:cNvPr>
            <p:cNvSpPr txBox="1"/>
            <p:nvPr/>
          </p:nvSpPr>
          <p:spPr>
            <a:xfrm>
              <a:off x="10340318" y="2667688"/>
              <a:ext cx="914400" cy="307525"/>
            </a:xfrm>
            <a:prstGeom prst="rect">
              <a:avLst/>
            </a:prstGeom>
            <a:noFill/>
            <a:ln>
              <a:solidFill>
                <a:srgbClr val="FF0000"/>
              </a:solidFill>
            </a:ln>
          </p:spPr>
          <p:txBody>
            <a:bodyPr wrap="none" lIns="0" tIns="0" rIns="0" bIns="0" rtlCol="0">
              <a:noAutofit/>
            </a:bodyPr>
            <a:lstStyle/>
            <a:p>
              <a:pPr algn="ctr">
                <a:lnSpc>
                  <a:spcPct val="110000"/>
                </a:lnSpc>
                <a:spcBef>
                  <a:spcPts val="600"/>
                </a:spcBef>
              </a:pPr>
              <a:r>
                <a:rPr lang="en-US" sz="1200" dirty="0">
                  <a:ea typeface="Human Sans" charset="0"/>
                  <a:cs typeface="Human Sans" charset="0"/>
                </a:rPr>
                <a:t>Mary – PO/BA</a:t>
              </a:r>
            </a:p>
          </p:txBody>
        </p:sp>
      </p:grpSp>
      <p:grpSp>
        <p:nvGrpSpPr>
          <p:cNvPr id="40" name="Group 39">
            <a:extLst>
              <a:ext uri="{FF2B5EF4-FFF2-40B4-BE49-F238E27FC236}">
                <a16:creationId xmlns:a16="http://schemas.microsoft.com/office/drawing/2014/main" id="{B0B1EFE6-25B8-46DF-22EF-47268626D5DA}"/>
              </a:ext>
            </a:extLst>
          </p:cNvPr>
          <p:cNvGrpSpPr/>
          <p:nvPr/>
        </p:nvGrpSpPr>
        <p:grpSpPr>
          <a:xfrm>
            <a:off x="7610190" y="2962921"/>
            <a:ext cx="933043" cy="1261978"/>
            <a:chOff x="7810607" y="3089981"/>
            <a:chExt cx="933043" cy="1261978"/>
          </a:xfrm>
        </p:grpSpPr>
        <p:pic>
          <p:nvPicPr>
            <p:cNvPr id="41" name="Picture 40" descr="Icon&#10;&#10;Description automatically generated">
              <a:extLst>
                <a:ext uri="{FF2B5EF4-FFF2-40B4-BE49-F238E27FC236}">
                  <a16:creationId xmlns:a16="http://schemas.microsoft.com/office/drawing/2014/main" id="{5D679CD3-BC09-9870-C144-64E4120FF3EE}"/>
                </a:ext>
              </a:extLst>
            </p:cNvPr>
            <p:cNvPicPr>
              <a:picLocks noChangeAspect="1"/>
            </p:cNvPicPr>
            <p:nvPr/>
          </p:nvPicPr>
          <p:blipFill>
            <a:blip r:embed="rId7"/>
            <a:stretch>
              <a:fillRect/>
            </a:stretch>
          </p:blipFill>
          <p:spPr>
            <a:xfrm>
              <a:off x="7810607" y="3089981"/>
              <a:ext cx="862741" cy="862741"/>
            </a:xfrm>
            <a:prstGeom prst="rect">
              <a:avLst/>
            </a:prstGeom>
          </p:spPr>
        </p:pic>
        <p:sp>
          <p:nvSpPr>
            <p:cNvPr id="42" name="TextBox 41">
              <a:extLst>
                <a:ext uri="{FF2B5EF4-FFF2-40B4-BE49-F238E27FC236}">
                  <a16:creationId xmlns:a16="http://schemas.microsoft.com/office/drawing/2014/main" id="{C888D0DC-3138-63C0-086D-2383C730CE89}"/>
                </a:ext>
              </a:extLst>
            </p:cNvPr>
            <p:cNvSpPr txBox="1"/>
            <p:nvPr/>
          </p:nvSpPr>
          <p:spPr>
            <a:xfrm>
              <a:off x="7829250" y="4044434"/>
              <a:ext cx="914400" cy="307525"/>
            </a:xfrm>
            <a:prstGeom prst="rect">
              <a:avLst/>
            </a:prstGeom>
            <a:noFill/>
          </p:spPr>
          <p:txBody>
            <a:bodyPr wrap="none" lIns="0" tIns="0" rIns="0" bIns="0" rtlCol="0">
              <a:noAutofit/>
            </a:bodyPr>
            <a:lstStyle/>
            <a:p>
              <a:pPr algn="ctr">
                <a:lnSpc>
                  <a:spcPct val="110000"/>
                </a:lnSpc>
                <a:spcBef>
                  <a:spcPts val="600"/>
                </a:spcBef>
              </a:pPr>
              <a:r>
                <a:rPr lang="en-US" sz="1200" dirty="0">
                  <a:ea typeface="Human Sans" charset="0"/>
                  <a:cs typeface="Human Sans" charset="0"/>
                </a:rPr>
                <a:t>Bob – MD</a:t>
              </a:r>
            </a:p>
          </p:txBody>
        </p:sp>
      </p:grpSp>
      <p:grpSp>
        <p:nvGrpSpPr>
          <p:cNvPr id="43" name="Group 42">
            <a:extLst>
              <a:ext uri="{FF2B5EF4-FFF2-40B4-BE49-F238E27FC236}">
                <a16:creationId xmlns:a16="http://schemas.microsoft.com/office/drawing/2014/main" id="{D57BE348-96F4-A86B-766A-69EE3A26BD5F}"/>
              </a:ext>
            </a:extLst>
          </p:cNvPr>
          <p:cNvGrpSpPr/>
          <p:nvPr/>
        </p:nvGrpSpPr>
        <p:grpSpPr>
          <a:xfrm>
            <a:off x="8656115" y="2962922"/>
            <a:ext cx="914400" cy="1265709"/>
            <a:chOff x="8856532" y="3089982"/>
            <a:chExt cx="914400" cy="1265709"/>
          </a:xfrm>
        </p:grpSpPr>
        <p:pic>
          <p:nvPicPr>
            <p:cNvPr id="44" name="Picture 43" descr="Icon&#10;&#10;Description automatically generated">
              <a:extLst>
                <a:ext uri="{FF2B5EF4-FFF2-40B4-BE49-F238E27FC236}">
                  <a16:creationId xmlns:a16="http://schemas.microsoft.com/office/drawing/2014/main" id="{74801FF4-2909-3002-3F91-24C62642132B}"/>
                </a:ext>
              </a:extLst>
            </p:cNvPr>
            <p:cNvPicPr>
              <a:picLocks noChangeAspect="1"/>
            </p:cNvPicPr>
            <p:nvPr/>
          </p:nvPicPr>
          <p:blipFill>
            <a:blip r:embed="rId8"/>
            <a:stretch>
              <a:fillRect/>
            </a:stretch>
          </p:blipFill>
          <p:spPr>
            <a:xfrm>
              <a:off x="8882362" y="3089982"/>
              <a:ext cx="862741" cy="862741"/>
            </a:xfrm>
            <a:prstGeom prst="rect">
              <a:avLst/>
            </a:prstGeom>
          </p:spPr>
        </p:pic>
        <p:sp>
          <p:nvSpPr>
            <p:cNvPr id="45" name="TextBox 44">
              <a:extLst>
                <a:ext uri="{FF2B5EF4-FFF2-40B4-BE49-F238E27FC236}">
                  <a16:creationId xmlns:a16="http://schemas.microsoft.com/office/drawing/2014/main" id="{B85FC62E-3972-030F-18E0-640C16D623C7}"/>
                </a:ext>
              </a:extLst>
            </p:cNvPr>
            <p:cNvSpPr txBox="1"/>
            <p:nvPr/>
          </p:nvSpPr>
          <p:spPr>
            <a:xfrm>
              <a:off x="8856532" y="4048166"/>
              <a:ext cx="914400" cy="307525"/>
            </a:xfrm>
            <a:prstGeom prst="rect">
              <a:avLst/>
            </a:prstGeom>
            <a:noFill/>
          </p:spPr>
          <p:txBody>
            <a:bodyPr wrap="none" lIns="0" tIns="0" rIns="0" bIns="0" rtlCol="0">
              <a:noAutofit/>
            </a:bodyPr>
            <a:lstStyle/>
            <a:p>
              <a:pPr algn="ctr">
                <a:lnSpc>
                  <a:spcPct val="110000"/>
                </a:lnSpc>
                <a:spcBef>
                  <a:spcPts val="600"/>
                </a:spcBef>
              </a:pPr>
              <a:r>
                <a:rPr lang="en-US" sz="1200" dirty="0">
                  <a:ea typeface="Human Sans" charset="0"/>
                  <a:cs typeface="Human Sans" charset="0"/>
                </a:rPr>
                <a:t>Eva - JD</a:t>
              </a:r>
            </a:p>
          </p:txBody>
        </p:sp>
      </p:grpSp>
      <p:grpSp>
        <p:nvGrpSpPr>
          <p:cNvPr id="46" name="Group 45">
            <a:extLst>
              <a:ext uri="{FF2B5EF4-FFF2-40B4-BE49-F238E27FC236}">
                <a16:creationId xmlns:a16="http://schemas.microsoft.com/office/drawing/2014/main" id="{3EA658B8-54F8-A019-9430-44555FE20C4C}"/>
              </a:ext>
            </a:extLst>
          </p:cNvPr>
          <p:cNvGrpSpPr/>
          <p:nvPr/>
        </p:nvGrpSpPr>
        <p:grpSpPr>
          <a:xfrm>
            <a:off x="9915165" y="2962922"/>
            <a:ext cx="914400" cy="1285035"/>
            <a:chOff x="10115582" y="3089982"/>
            <a:chExt cx="914400" cy="1285035"/>
          </a:xfrm>
        </p:grpSpPr>
        <p:pic>
          <p:nvPicPr>
            <p:cNvPr id="47" name="Picture 46" descr="Icon&#10;&#10;Description automatically generated">
              <a:extLst>
                <a:ext uri="{FF2B5EF4-FFF2-40B4-BE49-F238E27FC236}">
                  <a16:creationId xmlns:a16="http://schemas.microsoft.com/office/drawing/2014/main" id="{7F723980-9F86-DB0F-2C39-652042288F24}"/>
                </a:ext>
              </a:extLst>
            </p:cNvPr>
            <p:cNvPicPr>
              <a:picLocks noChangeAspect="1"/>
            </p:cNvPicPr>
            <p:nvPr/>
          </p:nvPicPr>
          <p:blipFill>
            <a:blip r:embed="rId9"/>
            <a:stretch>
              <a:fillRect/>
            </a:stretch>
          </p:blipFill>
          <p:spPr>
            <a:xfrm>
              <a:off x="10141412" y="3089982"/>
              <a:ext cx="862741" cy="862741"/>
            </a:xfrm>
            <a:prstGeom prst="rect">
              <a:avLst/>
            </a:prstGeom>
          </p:spPr>
        </p:pic>
        <p:sp>
          <p:nvSpPr>
            <p:cNvPr id="48" name="TextBox 47">
              <a:extLst>
                <a:ext uri="{FF2B5EF4-FFF2-40B4-BE49-F238E27FC236}">
                  <a16:creationId xmlns:a16="http://schemas.microsoft.com/office/drawing/2014/main" id="{A41BCC08-3034-1F8B-3F21-EECBD65EB641}"/>
                </a:ext>
              </a:extLst>
            </p:cNvPr>
            <p:cNvSpPr txBox="1"/>
            <p:nvPr/>
          </p:nvSpPr>
          <p:spPr>
            <a:xfrm>
              <a:off x="10115582" y="4067492"/>
              <a:ext cx="914400" cy="307525"/>
            </a:xfrm>
            <a:prstGeom prst="rect">
              <a:avLst/>
            </a:prstGeom>
            <a:noFill/>
          </p:spPr>
          <p:txBody>
            <a:bodyPr wrap="none" lIns="0" tIns="0" rIns="0" bIns="0" rtlCol="0">
              <a:noAutofit/>
            </a:bodyPr>
            <a:lstStyle/>
            <a:p>
              <a:pPr algn="ctr">
                <a:lnSpc>
                  <a:spcPct val="110000"/>
                </a:lnSpc>
                <a:spcBef>
                  <a:spcPts val="600"/>
                </a:spcBef>
              </a:pPr>
              <a:r>
                <a:rPr lang="en-US" sz="1200" dirty="0">
                  <a:ea typeface="Human Sans" charset="0"/>
                  <a:cs typeface="Human Sans" charset="0"/>
                </a:rPr>
                <a:t>Diana - QA</a:t>
              </a:r>
            </a:p>
          </p:txBody>
        </p:sp>
      </p:grpSp>
      <p:grpSp>
        <p:nvGrpSpPr>
          <p:cNvPr id="49" name="Group 48">
            <a:extLst>
              <a:ext uri="{FF2B5EF4-FFF2-40B4-BE49-F238E27FC236}">
                <a16:creationId xmlns:a16="http://schemas.microsoft.com/office/drawing/2014/main" id="{2328E9C9-E83C-362D-F6D2-A69E23B0BBA1}"/>
              </a:ext>
            </a:extLst>
          </p:cNvPr>
          <p:cNvGrpSpPr/>
          <p:nvPr/>
        </p:nvGrpSpPr>
        <p:grpSpPr>
          <a:xfrm>
            <a:off x="9953375" y="4368223"/>
            <a:ext cx="914400" cy="1246962"/>
            <a:chOff x="10338849" y="4462008"/>
            <a:chExt cx="914400" cy="1246962"/>
          </a:xfrm>
        </p:grpSpPr>
        <p:pic>
          <p:nvPicPr>
            <p:cNvPr id="50" name="Picture 49" descr="Icon&#10;&#10;Description automatically generated">
              <a:extLst>
                <a:ext uri="{FF2B5EF4-FFF2-40B4-BE49-F238E27FC236}">
                  <a16:creationId xmlns:a16="http://schemas.microsoft.com/office/drawing/2014/main" id="{7664D971-33C2-298C-5CDD-B8E9723F4675}"/>
                </a:ext>
              </a:extLst>
            </p:cNvPr>
            <p:cNvPicPr>
              <a:picLocks noChangeAspect="1"/>
            </p:cNvPicPr>
            <p:nvPr/>
          </p:nvPicPr>
          <p:blipFill>
            <a:blip r:embed="rId10"/>
            <a:stretch>
              <a:fillRect/>
            </a:stretch>
          </p:blipFill>
          <p:spPr>
            <a:xfrm>
              <a:off x="10364679" y="4462008"/>
              <a:ext cx="862741" cy="862741"/>
            </a:xfrm>
            <a:prstGeom prst="rect">
              <a:avLst/>
            </a:prstGeom>
          </p:spPr>
        </p:pic>
        <p:sp>
          <p:nvSpPr>
            <p:cNvPr id="51" name="TextBox 50">
              <a:extLst>
                <a:ext uri="{FF2B5EF4-FFF2-40B4-BE49-F238E27FC236}">
                  <a16:creationId xmlns:a16="http://schemas.microsoft.com/office/drawing/2014/main" id="{FE7FEC11-0F04-314D-D4CF-BB326136E17C}"/>
                </a:ext>
              </a:extLst>
            </p:cNvPr>
            <p:cNvSpPr txBox="1"/>
            <p:nvPr/>
          </p:nvSpPr>
          <p:spPr>
            <a:xfrm>
              <a:off x="10338849" y="5401445"/>
              <a:ext cx="914400" cy="307525"/>
            </a:xfrm>
            <a:prstGeom prst="rect">
              <a:avLst/>
            </a:prstGeom>
            <a:noFill/>
          </p:spPr>
          <p:txBody>
            <a:bodyPr wrap="none" lIns="0" tIns="0" rIns="0" bIns="0" rtlCol="0">
              <a:noAutofit/>
            </a:bodyPr>
            <a:lstStyle/>
            <a:p>
              <a:pPr algn="ctr">
                <a:lnSpc>
                  <a:spcPct val="110000"/>
                </a:lnSpc>
                <a:spcBef>
                  <a:spcPts val="600"/>
                </a:spcBef>
              </a:pPr>
              <a:r>
                <a:rPr lang="en-US" sz="1200" dirty="0">
                  <a:ea typeface="Human Sans" charset="0"/>
                  <a:cs typeface="Human Sans" charset="0"/>
                </a:rPr>
                <a:t>Pavel - DevOps</a:t>
              </a:r>
            </a:p>
          </p:txBody>
        </p:sp>
      </p:grpSp>
    </p:spTree>
    <p:extLst>
      <p:ext uri="{BB962C8B-B14F-4D97-AF65-F5344CB8AC3E}">
        <p14:creationId xmlns:p14="http://schemas.microsoft.com/office/powerpoint/2010/main" val="4245322407"/>
      </p:ext>
    </p:extLst>
  </p:cSld>
  <p:clrMapOvr>
    <a:masterClrMapping/>
  </p:clrMapOvr>
  <p:transition spd="slow">
    <p:push dir="u"/>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3E7B12-94E5-1E8A-9A20-C930CC8426EB}"/>
              </a:ext>
            </a:extLst>
          </p:cNvPr>
          <p:cNvSpPr>
            <a:spLocks noGrp="1"/>
          </p:cNvSpPr>
          <p:nvPr>
            <p:ph type="title"/>
          </p:nvPr>
        </p:nvSpPr>
        <p:spPr>
          <a:xfrm>
            <a:off x="639073" y="1424520"/>
            <a:ext cx="5333999" cy="1969770"/>
          </a:xfrm>
        </p:spPr>
        <p:txBody>
          <a:bodyPr/>
          <a:lstStyle/>
          <a:p>
            <a:r>
              <a:rPr lang="en-US" sz="3200" dirty="0"/>
              <a:t>Business Analyst creates contradiction requirements unclear for developers. </a:t>
            </a:r>
            <a:br>
              <a:rPr lang="en-US" sz="3200" dirty="0"/>
            </a:br>
            <a:r>
              <a:rPr lang="en-US" sz="3200" dirty="0">
                <a:solidFill>
                  <a:schemeClr val="accent6"/>
                </a:solidFill>
                <a:latin typeface="Calibri" panose="020F0502020204030204" pitchFamily="34" charset="0"/>
                <a:cs typeface="Calibri" panose="020F0502020204030204" pitchFamily="34" charset="0"/>
              </a:rPr>
              <a:t>What will be your actions?</a:t>
            </a:r>
          </a:p>
        </p:txBody>
      </p:sp>
      <p:sp>
        <p:nvSpPr>
          <p:cNvPr id="8" name="Text Placeholder 7">
            <a:extLst>
              <a:ext uri="{FF2B5EF4-FFF2-40B4-BE49-F238E27FC236}">
                <a16:creationId xmlns:a16="http://schemas.microsoft.com/office/drawing/2014/main" id="{A33CA039-DE3C-5D85-0DB8-D98A38BFDC35}"/>
              </a:ext>
            </a:extLst>
          </p:cNvPr>
          <p:cNvSpPr>
            <a:spLocks noGrp="1"/>
          </p:cNvSpPr>
          <p:nvPr>
            <p:ph type="body" sz="quarter" idx="28"/>
          </p:nvPr>
        </p:nvSpPr>
        <p:spPr>
          <a:xfrm>
            <a:off x="627063" y="419100"/>
            <a:ext cx="3725862" cy="397732"/>
          </a:xfrm>
        </p:spPr>
        <p:txBody>
          <a:bodyPr>
            <a:normAutofit/>
          </a:bodyPr>
          <a:lstStyle/>
          <a:p>
            <a:r>
              <a:rPr lang="en-US" dirty="0"/>
              <a:t>Team Leadership workshop: USE-cases</a:t>
            </a:r>
          </a:p>
        </p:txBody>
      </p:sp>
      <p:sp>
        <p:nvSpPr>
          <p:cNvPr id="10" name="Text Placeholder 9">
            <a:extLst>
              <a:ext uri="{FF2B5EF4-FFF2-40B4-BE49-F238E27FC236}">
                <a16:creationId xmlns:a16="http://schemas.microsoft.com/office/drawing/2014/main" id="{1F88C411-8C59-AFA3-5C10-11E75FDF9817}"/>
              </a:ext>
            </a:extLst>
          </p:cNvPr>
          <p:cNvSpPr>
            <a:spLocks noGrp="1"/>
          </p:cNvSpPr>
          <p:nvPr>
            <p:ph type="body" sz="quarter" idx="25"/>
          </p:nvPr>
        </p:nvSpPr>
        <p:spPr>
          <a:xfrm>
            <a:off x="627063" y="722842"/>
            <a:ext cx="4646395" cy="397731"/>
          </a:xfrm>
        </p:spPr>
        <p:txBody>
          <a:bodyPr/>
          <a:lstStyle/>
          <a:p>
            <a:r>
              <a:rPr lang="en-US" dirty="0"/>
              <a:t>Case 9: Unclear requirements</a:t>
            </a:r>
          </a:p>
        </p:txBody>
      </p:sp>
      <p:grpSp>
        <p:nvGrpSpPr>
          <p:cNvPr id="32" name="Group 31">
            <a:extLst>
              <a:ext uri="{FF2B5EF4-FFF2-40B4-BE49-F238E27FC236}">
                <a16:creationId xmlns:a16="http://schemas.microsoft.com/office/drawing/2014/main" id="{38CAE5AD-B9D9-1BE3-D8DA-9F3BAC97EFE3}"/>
              </a:ext>
            </a:extLst>
          </p:cNvPr>
          <p:cNvGrpSpPr/>
          <p:nvPr/>
        </p:nvGrpSpPr>
        <p:grpSpPr>
          <a:xfrm>
            <a:off x="7031633" y="5174495"/>
            <a:ext cx="914400" cy="1507452"/>
            <a:chOff x="7954394" y="5075784"/>
            <a:chExt cx="914400" cy="1507452"/>
          </a:xfrm>
        </p:grpSpPr>
        <p:pic>
          <p:nvPicPr>
            <p:cNvPr id="33" name="Picture 32" descr="Icon&#10;&#10;Description automatically generated">
              <a:extLst>
                <a:ext uri="{FF2B5EF4-FFF2-40B4-BE49-F238E27FC236}">
                  <a16:creationId xmlns:a16="http://schemas.microsoft.com/office/drawing/2014/main" id="{2F838510-22B0-4FBB-C199-A585524A88F1}"/>
                </a:ext>
              </a:extLst>
            </p:cNvPr>
            <p:cNvPicPr>
              <a:picLocks noChangeAspect="1"/>
            </p:cNvPicPr>
            <p:nvPr/>
          </p:nvPicPr>
          <p:blipFill>
            <a:blip r:embed="rId3"/>
            <a:stretch>
              <a:fillRect/>
            </a:stretch>
          </p:blipFill>
          <p:spPr>
            <a:xfrm>
              <a:off x="7974887" y="5075784"/>
              <a:ext cx="862741" cy="1133067"/>
            </a:xfrm>
            <a:prstGeom prst="rect">
              <a:avLst/>
            </a:prstGeom>
          </p:spPr>
        </p:pic>
        <p:sp>
          <p:nvSpPr>
            <p:cNvPr id="34" name="TextBox 33">
              <a:extLst>
                <a:ext uri="{FF2B5EF4-FFF2-40B4-BE49-F238E27FC236}">
                  <a16:creationId xmlns:a16="http://schemas.microsoft.com/office/drawing/2014/main" id="{587F560B-62C0-B867-EC11-79B4C360893D}"/>
                </a:ext>
              </a:extLst>
            </p:cNvPr>
            <p:cNvSpPr txBox="1"/>
            <p:nvPr/>
          </p:nvSpPr>
          <p:spPr>
            <a:xfrm>
              <a:off x="7954394" y="6275711"/>
              <a:ext cx="914400" cy="307525"/>
            </a:xfrm>
            <a:prstGeom prst="rect">
              <a:avLst/>
            </a:prstGeom>
            <a:noFill/>
          </p:spPr>
          <p:txBody>
            <a:bodyPr wrap="none" lIns="0" tIns="0" rIns="0" bIns="0" rtlCol="0">
              <a:noAutofit/>
            </a:bodyPr>
            <a:lstStyle/>
            <a:p>
              <a:pPr algn="ctr">
                <a:lnSpc>
                  <a:spcPct val="110000"/>
                </a:lnSpc>
                <a:spcBef>
                  <a:spcPts val="600"/>
                </a:spcBef>
              </a:pPr>
              <a:r>
                <a:rPr lang="en-US" sz="1200" dirty="0">
                  <a:ea typeface="Human Sans" charset="0"/>
                  <a:cs typeface="Human Sans" charset="0"/>
                </a:rPr>
                <a:t>You</a:t>
              </a:r>
            </a:p>
          </p:txBody>
        </p:sp>
      </p:grpSp>
      <p:sp>
        <p:nvSpPr>
          <p:cNvPr id="35" name="Speech Bubble: Rectangle 34">
            <a:extLst>
              <a:ext uri="{FF2B5EF4-FFF2-40B4-BE49-F238E27FC236}">
                <a16:creationId xmlns:a16="http://schemas.microsoft.com/office/drawing/2014/main" id="{5A3D9C85-096D-77E0-F8FF-1459C0ADD876}"/>
              </a:ext>
            </a:extLst>
          </p:cNvPr>
          <p:cNvSpPr/>
          <p:nvPr/>
        </p:nvSpPr>
        <p:spPr bwMode="auto">
          <a:xfrm>
            <a:off x="7697873" y="4555837"/>
            <a:ext cx="396301" cy="551798"/>
          </a:xfrm>
          <a:prstGeom prst="wedgeRectCallout">
            <a:avLst/>
          </a:prstGeom>
          <a:ln/>
        </p:spPr>
        <p:style>
          <a:lnRef idx="2">
            <a:schemeClr val="dk1"/>
          </a:lnRef>
          <a:fillRef idx="1">
            <a:schemeClr val="lt1"/>
          </a:fillRef>
          <a:effectRef idx="0">
            <a:schemeClr val="dk1"/>
          </a:effectRef>
          <a:fontRef idx="minor">
            <a:schemeClr val="dk1"/>
          </a:fontRef>
        </p:style>
        <p:txBody>
          <a:bodyPr wrap="none" rtlCol="0" anchor="ctr"/>
          <a:lstStyle/>
          <a:p>
            <a:pPr algn="ctr"/>
            <a:r>
              <a:rPr lang="en-US" sz="2000" dirty="0">
                <a:ln w="0"/>
                <a:solidFill>
                  <a:schemeClr val="tx1"/>
                </a:solidFill>
                <a:effectLst>
                  <a:outerShdw blurRad="38100" dist="19050" dir="2700000" algn="tl" rotWithShape="0">
                    <a:schemeClr val="dk1">
                      <a:alpha val="40000"/>
                    </a:schemeClr>
                  </a:outerShdw>
                </a:effectLst>
                <a:latin typeface="Calibri Light" panose="020F0302020204030204" pitchFamily="34" charset="0"/>
                <a:ea typeface="Human Sans ExtraLight" charset="0"/>
                <a:cs typeface="Human Sans ExtraLight" charset="0"/>
              </a:rPr>
              <a:t>?</a:t>
            </a:r>
            <a:endParaRPr lang="en-US" sz="2000" dirty="0">
              <a:solidFill>
                <a:schemeClr val="bg1"/>
              </a:solidFill>
              <a:latin typeface="Calibri Light" panose="020F0302020204030204" pitchFamily="34" charset="0"/>
              <a:ea typeface="Human Sans ExtraLight" charset="0"/>
              <a:cs typeface="Human Sans ExtraLight" charset="0"/>
            </a:endParaRPr>
          </a:p>
        </p:txBody>
      </p:sp>
      <p:grpSp>
        <p:nvGrpSpPr>
          <p:cNvPr id="4" name="Group 3">
            <a:extLst>
              <a:ext uri="{FF2B5EF4-FFF2-40B4-BE49-F238E27FC236}">
                <a16:creationId xmlns:a16="http://schemas.microsoft.com/office/drawing/2014/main" id="{BB4845E9-5781-3F39-B75A-F8107484E395}"/>
              </a:ext>
            </a:extLst>
          </p:cNvPr>
          <p:cNvGrpSpPr/>
          <p:nvPr/>
        </p:nvGrpSpPr>
        <p:grpSpPr>
          <a:xfrm>
            <a:off x="8827288" y="550438"/>
            <a:ext cx="923632" cy="1258357"/>
            <a:chOff x="9278671" y="722843"/>
            <a:chExt cx="923632" cy="1258357"/>
          </a:xfrm>
        </p:grpSpPr>
        <p:pic>
          <p:nvPicPr>
            <p:cNvPr id="5" name="Picture 4" descr="Icon&#10;&#10;Description automatically generated">
              <a:extLst>
                <a:ext uri="{FF2B5EF4-FFF2-40B4-BE49-F238E27FC236}">
                  <a16:creationId xmlns:a16="http://schemas.microsoft.com/office/drawing/2014/main" id="{551DFBEF-7F97-AFC6-553C-1B3BBF9FFF2B}"/>
                </a:ext>
              </a:extLst>
            </p:cNvPr>
            <p:cNvPicPr>
              <a:picLocks noChangeAspect="1"/>
            </p:cNvPicPr>
            <p:nvPr/>
          </p:nvPicPr>
          <p:blipFill>
            <a:blip r:embed="rId4"/>
            <a:stretch>
              <a:fillRect/>
            </a:stretch>
          </p:blipFill>
          <p:spPr>
            <a:xfrm>
              <a:off x="9278671" y="722843"/>
              <a:ext cx="862741" cy="862741"/>
            </a:xfrm>
            <a:prstGeom prst="rect">
              <a:avLst/>
            </a:prstGeom>
          </p:spPr>
        </p:pic>
        <p:sp>
          <p:nvSpPr>
            <p:cNvPr id="6" name="TextBox 5">
              <a:extLst>
                <a:ext uri="{FF2B5EF4-FFF2-40B4-BE49-F238E27FC236}">
                  <a16:creationId xmlns:a16="http://schemas.microsoft.com/office/drawing/2014/main" id="{787D0E6B-D589-01B3-A6E4-63C68B64DD65}"/>
                </a:ext>
              </a:extLst>
            </p:cNvPr>
            <p:cNvSpPr txBox="1"/>
            <p:nvPr/>
          </p:nvSpPr>
          <p:spPr>
            <a:xfrm>
              <a:off x="9287903" y="1673675"/>
              <a:ext cx="914400" cy="307525"/>
            </a:xfrm>
            <a:prstGeom prst="rect">
              <a:avLst/>
            </a:prstGeom>
            <a:noFill/>
          </p:spPr>
          <p:txBody>
            <a:bodyPr wrap="none" lIns="0" tIns="0" rIns="0" bIns="0" rtlCol="0">
              <a:noAutofit/>
            </a:bodyPr>
            <a:lstStyle/>
            <a:p>
              <a:pPr algn="ctr">
                <a:lnSpc>
                  <a:spcPct val="110000"/>
                </a:lnSpc>
                <a:spcBef>
                  <a:spcPts val="600"/>
                </a:spcBef>
              </a:pPr>
              <a:r>
                <a:rPr lang="en-US" sz="1200" dirty="0">
                  <a:ea typeface="Human Sans" charset="0"/>
                  <a:cs typeface="Human Sans" charset="0"/>
                </a:rPr>
                <a:t>Dean - SM</a:t>
              </a:r>
            </a:p>
          </p:txBody>
        </p:sp>
      </p:grpSp>
      <p:grpSp>
        <p:nvGrpSpPr>
          <p:cNvPr id="7" name="Group 6">
            <a:extLst>
              <a:ext uri="{FF2B5EF4-FFF2-40B4-BE49-F238E27FC236}">
                <a16:creationId xmlns:a16="http://schemas.microsoft.com/office/drawing/2014/main" id="{84309EC9-FF7E-8DB6-3B0A-F24E5005367D}"/>
              </a:ext>
            </a:extLst>
          </p:cNvPr>
          <p:cNvGrpSpPr/>
          <p:nvPr/>
        </p:nvGrpSpPr>
        <p:grpSpPr>
          <a:xfrm>
            <a:off x="7748640" y="1590899"/>
            <a:ext cx="914400" cy="1280310"/>
            <a:chOff x="7949057" y="1717959"/>
            <a:chExt cx="914400" cy="1280310"/>
          </a:xfrm>
        </p:grpSpPr>
        <p:pic>
          <p:nvPicPr>
            <p:cNvPr id="9" name="Picture 8" descr="Icon, circle&#10;&#10;Description automatically generated">
              <a:extLst>
                <a:ext uri="{FF2B5EF4-FFF2-40B4-BE49-F238E27FC236}">
                  <a16:creationId xmlns:a16="http://schemas.microsoft.com/office/drawing/2014/main" id="{38E0BDAB-5373-19C6-6F91-35D85857A5DD}"/>
                </a:ext>
              </a:extLst>
            </p:cNvPr>
            <p:cNvPicPr>
              <a:picLocks noChangeAspect="1"/>
            </p:cNvPicPr>
            <p:nvPr/>
          </p:nvPicPr>
          <p:blipFill>
            <a:blip r:embed="rId5"/>
            <a:stretch>
              <a:fillRect/>
            </a:stretch>
          </p:blipFill>
          <p:spPr>
            <a:xfrm>
              <a:off x="7974889" y="1717959"/>
              <a:ext cx="862741" cy="862741"/>
            </a:xfrm>
            <a:prstGeom prst="rect">
              <a:avLst/>
            </a:prstGeom>
          </p:spPr>
        </p:pic>
        <p:sp>
          <p:nvSpPr>
            <p:cNvPr id="36" name="TextBox 35">
              <a:extLst>
                <a:ext uri="{FF2B5EF4-FFF2-40B4-BE49-F238E27FC236}">
                  <a16:creationId xmlns:a16="http://schemas.microsoft.com/office/drawing/2014/main" id="{EF22CD6A-7350-B784-9FA5-1629B4C3CE31}"/>
                </a:ext>
              </a:extLst>
            </p:cNvPr>
            <p:cNvSpPr txBox="1"/>
            <p:nvPr/>
          </p:nvSpPr>
          <p:spPr>
            <a:xfrm>
              <a:off x="7949057" y="2690744"/>
              <a:ext cx="914400" cy="307525"/>
            </a:xfrm>
            <a:prstGeom prst="rect">
              <a:avLst/>
            </a:prstGeom>
            <a:noFill/>
          </p:spPr>
          <p:txBody>
            <a:bodyPr wrap="none" lIns="0" tIns="0" rIns="0" bIns="0" rtlCol="0">
              <a:noAutofit/>
            </a:bodyPr>
            <a:lstStyle/>
            <a:p>
              <a:pPr algn="ctr">
                <a:lnSpc>
                  <a:spcPct val="110000"/>
                </a:lnSpc>
                <a:spcBef>
                  <a:spcPts val="600"/>
                </a:spcBef>
              </a:pPr>
              <a:r>
                <a:rPr lang="en-US" sz="1200" dirty="0">
                  <a:ea typeface="Human Sans" charset="0"/>
                  <a:cs typeface="Human Sans" charset="0"/>
                </a:rPr>
                <a:t>Adam – SD</a:t>
              </a:r>
            </a:p>
          </p:txBody>
        </p:sp>
      </p:grpSp>
      <p:grpSp>
        <p:nvGrpSpPr>
          <p:cNvPr id="37" name="Group 36">
            <a:extLst>
              <a:ext uri="{FF2B5EF4-FFF2-40B4-BE49-F238E27FC236}">
                <a16:creationId xmlns:a16="http://schemas.microsoft.com/office/drawing/2014/main" id="{15401A2B-13DF-F884-07EA-990F72A86F8E}"/>
              </a:ext>
            </a:extLst>
          </p:cNvPr>
          <p:cNvGrpSpPr/>
          <p:nvPr/>
        </p:nvGrpSpPr>
        <p:grpSpPr>
          <a:xfrm>
            <a:off x="9940995" y="1630369"/>
            <a:ext cx="926780" cy="1257253"/>
            <a:chOff x="10327938" y="1717960"/>
            <a:chExt cx="926780" cy="1257253"/>
          </a:xfrm>
        </p:grpSpPr>
        <p:pic>
          <p:nvPicPr>
            <p:cNvPr id="38" name="Picture 37" descr="Icon&#10;&#10;Description automatically generated">
              <a:extLst>
                <a:ext uri="{FF2B5EF4-FFF2-40B4-BE49-F238E27FC236}">
                  <a16:creationId xmlns:a16="http://schemas.microsoft.com/office/drawing/2014/main" id="{18881A4B-8FB3-CD52-49B2-C568CC61DE34}"/>
                </a:ext>
              </a:extLst>
            </p:cNvPr>
            <p:cNvPicPr>
              <a:picLocks noChangeAspect="1"/>
            </p:cNvPicPr>
            <p:nvPr/>
          </p:nvPicPr>
          <p:blipFill>
            <a:blip r:embed="rId6"/>
            <a:stretch>
              <a:fillRect/>
            </a:stretch>
          </p:blipFill>
          <p:spPr>
            <a:xfrm>
              <a:off x="10327938" y="1717960"/>
              <a:ext cx="862741" cy="862741"/>
            </a:xfrm>
            <a:prstGeom prst="ellipse">
              <a:avLst/>
            </a:prstGeom>
            <a:ln w="63500" cap="rnd">
              <a:solidFill>
                <a:srgbClr val="FF0000"/>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sp>
          <p:nvSpPr>
            <p:cNvPr id="39" name="TextBox 38">
              <a:extLst>
                <a:ext uri="{FF2B5EF4-FFF2-40B4-BE49-F238E27FC236}">
                  <a16:creationId xmlns:a16="http://schemas.microsoft.com/office/drawing/2014/main" id="{123AC138-EB9B-5AF0-1D25-C569E570C2DA}"/>
                </a:ext>
              </a:extLst>
            </p:cNvPr>
            <p:cNvSpPr txBox="1"/>
            <p:nvPr/>
          </p:nvSpPr>
          <p:spPr>
            <a:xfrm>
              <a:off x="10340318" y="2667688"/>
              <a:ext cx="914400" cy="307525"/>
            </a:xfrm>
            <a:prstGeom prst="rect">
              <a:avLst/>
            </a:prstGeom>
            <a:noFill/>
            <a:ln>
              <a:solidFill>
                <a:srgbClr val="FF0000"/>
              </a:solidFill>
            </a:ln>
          </p:spPr>
          <p:txBody>
            <a:bodyPr wrap="none" lIns="0" tIns="0" rIns="0" bIns="0" rtlCol="0">
              <a:noAutofit/>
            </a:bodyPr>
            <a:lstStyle/>
            <a:p>
              <a:pPr algn="ctr">
                <a:lnSpc>
                  <a:spcPct val="110000"/>
                </a:lnSpc>
                <a:spcBef>
                  <a:spcPts val="600"/>
                </a:spcBef>
              </a:pPr>
              <a:r>
                <a:rPr lang="en-US" sz="1200" dirty="0">
                  <a:ea typeface="Human Sans" charset="0"/>
                  <a:cs typeface="Human Sans" charset="0"/>
                </a:rPr>
                <a:t>Mary – PO/BA</a:t>
              </a:r>
            </a:p>
          </p:txBody>
        </p:sp>
      </p:grpSp>
      <p:grpSp>
        <p:nvGrpSpPr>
          <p:cNvPr id="40" name="Group 39">
            <a:extLst>
              <a:ext uri="{FF2B5EF4-FFF2-40B4-BE49-F238E27FC236}">
                <a16:creationId xmlns:a16="http://schemas.microsoft.com/office/drawing/2014/main" id="{B0B1EFE6-25B8-46DF-22EF-47268626D5DA}"/>
              </a:ext>
            </a:extLst>
          </p:cNvPr>
          <p:cNvGrpSpPr/>
          <p:nvPr/>
        </p:nvGrpSpPr>
        <p:grpSpPr>
          <a:xfrm>
            <a:off x="7610190" y="2962921"/>
            <a:ext cx="933043" cy="1261978"/>
            <a:chOff x="7810607" y="3089981"/>
            <a:chExt cx="933043" cy="1261978"/>
          </a:xfrm>
        </p:grpSpPr>
        <p:pic>
          <p:nvPicPr>
            <p:cNvPr id="41" name="Picture 40" descr="Icon&#10;&#10;Description automatically generated">
              <a:extLst>
                <a:ext uri="{FF2B5EF4-FFF2-40B4-BE49-F238E27FC236}">
                  <a16:creationId xmlns:a16="http://schemas.microsoft.com/office/drawing/2014/main" id="{5D679CD3-BC09-9870-C144-64E4120FF3EE}"/>
                </a:ext>
              </a:extLst>
            </p:cNvPr>
            <p:cNvPicPr>
              <a:picLocks noChangeAspect="1"/>
            </p:cNvPicPr>
            <p:nvPr/>
          </p:nvPicPr>
          <p:blipFill>
            <a:blip r:embed="rId7"/>
            <a:stretch>
              <a:fillRect/>
            </a:stretch>
          </p:blipFill>
          <p:spPr>
            <a:xfrm>
              <a:off x="7810607" y="3089981"/>
              <a:ext cx="862741" cy="862741"/>
            </a:xfrm>
            <a:prstGeom prst="rect">
              <a:avLst/>
            </a:prstGeom>
          </p:spPr>
        </p:pic>
        <p:sp>
          <p:nvSpPr>
            <p:cNvPr id="42" name="TextBox 41">
              <a:extLst>
                <a:ext uri="{FF2B5EF4-FFF2-40B4-BE49-F238E27FC236}">
                  <a16:creationId xmlns:a16="http://schemas.microsoft.com/office/drawing/2014/main" id="{C888D0DC-3138-63C0-086D-2383C730CE89}"/>
                </a:ext>
              </a:extLst>
            </p:cNvPr>
            <p:cNvSpPr txBox="1"/>
            <p:nvPr/>
          </p:nvSpPr>
          <p:spPr>
            <a:xfrm>
              <a:off x="7829250" y="4044434"/>
              <a:ext cx="914400" cy="307525"/>
            </a:xfrm>
            <a:prstGeom prst="rect">
              <a:avLst/>
            </a:prstGeom>
            <a:noFill/>
          </p:spPr>
          <p:txBody>
            <a:bodyPr wrap="none" lIns="0" tIns="0" rIns="0" bIns="0" rtlCol="0">
              <a:noAutofit/>
            </a:bodyPr>
            <a:lstStyle/>
            <a:p>
              <a:pPr algn="ctr">
                <a:lnSpc>
                  <a:spcPct val="110000"/>
                </a:lnSpc>
                <a:spcBef>
                  <a:spcPts val="600"/>
                </a:spcBef>
              </a:pPr>
              <a:r>
                <a:rPr lang="en-US" sz="1200" dirty="0">
                  <a:ea typeface="Human Sans" charset="0"/>
                  <a:cs typeface="Human Sans" charset="0"/>
                </a:rPr>
                <a:t>Bob – MD</a:t>
              </a:r>
            </a:p>
          </p:txBody>
        </p:sp>
      </p:grpSp>
      <p:grpSp>
        <p:nvGrpSpPr>
          <p:cNvPr id="43" name="Group 42">
            <a:extLst>
              <a:ext uri="{FF2B5EF4-FFF2-40B4-BE49-F238E27FC236}">
                <a16:creationId xmlns:a16="http://schemas.microsoft.com/office/drawing/2014/main" id="{D57BE348-96F4-A86B-766A-69EE3A26BD5F}"/>
              </a:ext>
            </a:extLst>
          </p:cNvPr>
          <p:cNvGrpSpPr/>
          <p:nvPr/>
        </p:nvGrpSpPr>
        <p:grpSpPr>
          <a:xfrm>
            <a:off x="8656115" y="2962922"/>
            <a:ext cx="914400" cy="1265709"/>
            <a:chOff x="8856532" y="3089982"/>
            <a:chExt cx="914400" cy="1265709"/>
          </a:xfrm>
        </p:grpSpPr>
        <p:pic>
          <p:nvPicPr>
            <p:cNvPr id="44" name="Picture 43" descr="Icon&#10;&#10;Description automatically generated">
              <a:extLst>
                <a:ext uri="{FF2B5EF4-FFF2-40B4-BE49-F238E27FC236}">
                  <a16:creationId xmlns:a16="http://schemas.microsoft.com/office/drawing/2014/main" id="{74801FF4-2909-3002-3F91-24C62642132B}"/>
                </a:ext>
              </a:extLst>
            </p:cNvPr>
            <p:cNvPicPr>
              <a:picLocks noChangeAspect="1"/>
            </p:cNvPicPr>
            <p:nvPr/>
          </p:nvPicPr>
          <p:blipFill>
            <a:blip r:embed="rId8"/>
            <a:stretch>
              <a:fillRect/>
            </a:stretch>
          </p:blipFill>
          <p:spPr>
            <a:xfrm>
              <a:off x="8882362" y="3089982"/>
              <a:ext cx="862741" cy="862741"/>
            </a:xfrm>
            <a:prstGeom prst="rect">
              <a:avLst/>
            </a:prstGeom>
          </p:spPr>
        </p:pic>
        <p:sp>
          <p:nvSpPr>
            <p:cNvPr id="45" name="TextBox 44">
              <a:extLst>
                <a:ext uri="{FF2B5EF4-FFF2-40B4-BE49-F238E27FC236}">
                  <a16:creationId xmlns:a16="http://schemas.microsoft.com/office/drawing/2014/main" id="{B85FC62E-3972-030F-18E0-640C16D623C7}"/>
                </a:ext>
              </a:extLst>
            </p:cNvPr>
            <p:cNvSpPr txBox="1"/>
            <p:nvPr/>
          </p:nvSpPr>
          <p:spPr>
            <a:xfrm>
              <a:off x="8856532" y="4048166"/>
              <a:ext cx="914400" cy="307525"/>
            </a:xfrm>
            <a:prstGeom prst="rect">
              <a:avLst/>
            </a:prstGeom>
            <a:noFill/>
          </p:spPr>
          <p:txBody>
            <a:bodyPr wrap="none" lIns="0" tIns="0" rIns="0" bIns="0" rtlCol="0">
              <a:noAutofit/>
            </a:bodyPr>
            <a:lstStyle/>
            <a:p>
              <a:pPr algn="ctr">
                <a:lnSpc>
                  <a:spcPct val="110000"/>
                </a:lnSpc>
                <a:spcBef>
                  <a:spcPts val="600"/>
                </a:spcBef>
              </a:pPr>
              <a:r>
                <a:rPr lang="en-US" sz="1200" dirty="0">
                  <a:ea typeface="Human Sans" charset="0"/>
                  <a:cs typeface="Human Sans" charset="0"/>
                </a:rPr>
                <a:t>Eva - JD</a:t>
              </a:r>
            </a:p>
          </p:txBody>
        </p:sp>
      </p:grpSp>
      <p:grpSp>
        <p:nvGrpSpPr>
          <p:cNvPr id="46" name="Group 45">
            <a:extLst>
              <a:ext uri="{FF2B5EF4-FFF2-40B4-BE49-F238E27FC236}">
                <a16:creationId xmlns:a16="http://schemas.microsoft.com/office/drawing/2014/main" id="{3EA658B8-54F8-A019-9430-44555FE20C4C}"/>
              </a:ext>
            </a:extLst>
          </p:cNvPr>
          <p:cNvGrpSpPr/>
          <p:nvPr/>
        </p:nvGrpSpPr>
        <p:grpSpPr>
          <a:xfrm>
            <a:off x="9915165" y="2962922"/>
            <a:ext cx="914400" cy="1285035"/>
            <a:chOff x="10115582" y="3089982"/>
            <a:chExt cx="914400" cy="1285035"/>
          </a:xfrm>
        </p:grpSpPr>
        <p:pic>
          <p:nvPicPr>
            <p:cNvPr id="47" name="Picture 46" descr="Icon&#10;&#10;Description automatically generated">
              <a:extLst>
                <a:ext uri="{FF2B5EF4-FFF2-40B4-BE49-F238E27FC236}">
                  <a16:creationId xmlns:a16="http://schemas.microsoft.com/office/drawing/2014/main" id="{7F723980-9F86-DB0F-2C39-652042288F24}"/>
                </a:ext>
              </a:extLst>
            </p:cNvPr>
            <p:cNvPicPr>
              <a:picLocks noChangeAspect="1"/>
            </p:cNvPicPr>
            <p:nvPr/>
          </p:nvPicPr>
          <p:blipFill>
            <a:blip r:embed="rId9"/>
            <a:stretch>
              <a:fillRect/>
            </a:stretch>
          </p:blipFill>
          <p:spPr>
            <a:xfrm>
              <a:off x="10141412" y="3089982"/>
              <a:ext cx="862741" cy="862741"/>
            </a:xfrm>
            <a:prstGeom prst="rect">
              <a:avLst/>
            </a:prstGeom>
          </p:spPr>
        </p:pic>
        <p:sp>
          <p:nvSpPr>
            <p:cNvPr id="48" name="TextBox 47">
              <a:extLst>
                <a:ext uri="{FF2B5EF4-FFF2-40B4-BE49-F238E27FC236}">
                  <a16:creationId xmlns:a16="http://schemas.microsoft.com/office/drawing/2014/main" id="{A41BCC08-3034-1F8B-3F21-EECBD65EB641}"/>
                </a:ext>
              </a:extLst>
            </p:cNvPr>
            <p:cNvSpPr txBox="1"/>
            <p:nvPr/>
          </p:nvSpPr>
          <p:spPr>
            <a:xfrm>
              <a:off x="10115582" y="4067492"/>
              <a:ext cx="914400" cy="307525"/>
            </a:xfrm>
            <a:prstGeom prst="rect">
              <a:avLst/>
            </a:prstGeom>
            <a:noFill/>
          </p:spPr>
          <p:txBody>
            <a:bodyPr wrap="none" lIns="0" tIns="0" rIns="0" bIns="0" rtlCol="0">
              <a:noAutofit/>
            </a:bodyPr>
            <a:lstStyle/>
            <a:p>
              <a:pPr algn="ctr">
                <a:lnSpc>
                  <a:spcPct val="110000"/>
                </a:lnSpc>
                <a:spcBef>
                  <a:spcPts val="600"/>
                </a:spcBef>
              </a:pPr>
              <a:r>
                <a:rPr lang="en-US" sz="1200" dirty="0">
                  <a:ea typeface="Human Sans" charset="0"/>
                  <a:cs typeface="Human Sans" charset="0"/>
                </a:rPr>
                <a:t>Diana - QA</a:t>
              </a:r>
            </a:p>
          </p:txBody>
        </p:sp>
      </p:grpSp>
      <p:grpSp>
        <p:nvGrpSpPr>
          <p:cNvPr id="49" name="Group 48">
            <a:extLst>
              <a:ext uri="{FF2B5EF4-FFF2-40B4-BE49-F238E27FC236}">
                <a16:creationId xmlns:a16="http://schemas.microsoft.com/office/drawing/2014/main" id="{2328E9C9-E83C-362D-F6D2-A69E23B0BBA1}"/>
              </a:ext>
            </a:extLst>
          </p:cNvPr>
          <p:cNvGrpSpPr/>
          <p:nvPr/>
        </p:nvGrpSpPr>
        <p:grpSpPr>
          <a:xfrm>
            <a:off x="9953375" y="4368223"/>
            <a:ext cx="914400" cy="1246962"/>
            <a:chOff x="10338849" y="4462008"/>
            <a:chExt cx="914400" cy="1246962"/>
          </a:xfrm>
        </p:grpSpPr>
        <p:pic>
          <p:nvPicPr>
            <p:cNvPr id="50" name="Picture 49" descr="Icon&#10;&#10;Description automatically generated">
              <a:extLst>
                <a:ext uri="{FF2B5EF4-FFF2-40B4-BE49-F238E27FC236}">
                  <a16:creationId xmlns:a16="http://schemas.microsoft.com/office/drawing/2014/main" id="{7664D971-33C2-298C-5CDD-B8E9723F4675}"/>
                </a:ext>
              </a:extLst>
            </p:cNvPr>
            <p:cNvPicPr>
              <a:picLocks noChangeAspect="1"/>
            </p:cNvPicPr>
            <p:nvPr/>
          </p:nvPicPr>
          <p:blipFill>
            <a:blip r:embed="rId10"/>
            <a:stretch>
              <a:fillRect/>
            </a:stretch>
          </p:blipFill>
          <p:spPr>
            <a:xfrm>
              <a:off x="10364679" y="4462008"/>
              <a:ext cx="862741" cy="862741"/>
            </a:xfrm>
            <a:prstGeom prst="rect">
              <a:avLst/>
            </a:prstGeom>
          </p:spPr>
        </p:pic>
        <p:sp>
          <p:nvSpPr>
            <p:cNvPr id="51" name="TextBox 50">
              <a:extLst>
                <a:ext uri="{FF2B5EF4-FFF2-40B4-BE49-F238E27FC236}">
                  <a16:creationId xmlns:a16="http://schemas.microsoft.com/office/drawing/2014/main" id="{FE7FEC11-0F04-314D-D4CF-BB326136E17C}"/>
                </a:ext>
              </a:extLst>
            </p:cNvPr>
            <p:cNvSpPr txBox="1"/>
            <p:nvPr/>
          </p:nvSpPr>
          <p:spPr>
            <a:xfrm>
              <a:off x="10338849" y="5401445"/>
              <a:ext cx="914400" cy="307525"/>
            </a:xfrm>
            <a:prstGeom prst="rect">
              <a:avLst/>
            </a:prstGeom>
            <a:noFill/>
          </p:spPr>
          <p:txBody>
            <a:bodyPr wrap="none" lIns="0" tIns="0" rIns="0" bIns="0" rtlCol="0">
              <a:noAutofit/>
            </a:bodyPr>
            <a:lstStyle/>
            <a:p>
              <a:pPr algn="ctr">
                <a:lnSpc>
                  <a:spcPct val="110000"/>
                </a:lnSpc>
                <a:spcBef>
                  <a:spcPts val="600"/>
                </a:spcBef>
              </a:pPr>
              <a:r>
                <a:rPr lang="en-US" sz="1200" dirty="0">
                  <a:ea typeface="Human Sans" charset="0"/>
                  <a:cs typeface="Human Sans" charset="0"/>
                </a:rPr>
                <a:t>Pavel - DevOps</a:t>
              </a:r>
            </a:p>
          </p:txBody>
        </p:sp>
      </p:grpSp>
    </p:spTree>
    <p:extLst>
      <p:ext uri="{BB962C8B-B14F-4D97-AF65-F5344CB8AC3E}">
        <p14:creationId xmlns:p14="http://schemas.microsoft.com/office/powerpoint/2010/main" val="2343442935"/>
      </p:ext>
    </p:extLst>
  </p:cSld>
  <p:clrMapOvr>
    <a:masterClrMapping/>
  </p:clrMapOvr>
  <p:transition spd="slow">
    <p:push dir="u"/>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76E64E2-F737-93FF-43E1-1E69ECA48EB6}"/>
              </a:ext>
            </a:extLst>
          </p:cNvPr>
          <p:cNvSpPr>
            <a:spLocks noGrp="1"/>
          </p:cNvSpPr>
          <p:nvPr>
            <p:ph type="title"/>
          </p:nvPr>
        </p:nvSpPr>
        <p:spPr/>
        <p:txBody>
          <a:bodyPr/>
          <a:lstStyle/>
          <a:p>
            <a:r>
              <a:rPr lang="en-US" sz="4800" dirty="0"/>
              <a:t>Speaker: Uladzimir Litvinau</a:t>
            </a:r>
            <a:br>
              <a:rPr lang="en-US" sz="4800" dirty="0"/>
            </a:br>
            <a:r>
              <a:rPr lang="en-US" sz="4800" dirty="0">
                <a:solidFill>
                  <a:schemeClr val="accent6"/>
                </a:solidFill>
                <a:latin typeface="Calibri" panose="020F0502020204030204" pitchFamily="34" charset="0"/>
                <a:cs typeface="Calibri" panose="020F0502020204030204" pitchFamily="34" charset="0"/>
              </a:rPr>
              <a:t>Software Engineering Team Leader</a:t>
            </a:r>
            <a:br>
              <a:rPr lang="en-US" sz="4800" dirty="0">
                <a:solidFill>
                  <a:schemeClr val="accent6"/>
                </a:solidFill>
                <a:latin typeface="Calibri" panose="020F0502020204030204" pitchFamily="34" charset="0"/>
                <a:cs typeface="Calibri" panose="020F0502020204030204" pitchFamily="34" charset="0"/>
              </a:rPr>
            </a:br>
            <a:endParaRPr lang="en-US" sz="4800" dirty="0">
              <a:solidFill>
                <a:schemeClr val="accent6"/>
              </a:solidFill>
              <a:latin typeface="Calibri" panose="020F0502020204030204" pitchFamily="34" charset="0"/>
              <a:cs typeface="Calibri" panose="020F0502020204030204" pitchFamily="34" charset="0"/>
            </a:endParaRPr>
          </a:p>
        </p:txBody>
      </p:sp>
      <p:sp>
        <p:nvSpPr>
          <p:cNvPr id="6" name="Text Placeholder 5">
            <a:extLst>
              <a:ext uri="{FF2B5EF4-FFF2-40B4-BE49-F238E27FC236}">
                <a16:creationId xmlns:a16="http://schemas.microsoft.com/office/drawing/2014/main" id="{F3E76246-A561-5017-E88E-7DD4D2BF4C7E}"/>
              </a:ext>
            </a:extLst>
          </p:cNvPr>
          <p:cNvSpPr>
            <a:spLocks noGrp="1"/>
          </p:cNvSpPr>
          <p:nvPr>
            <p:ph type="body" sz="quarter" idx="11"/>
          </p:nvPr>
        </p:nvSpPr>
        <p:spPr/>
        <p:txBody>
          <a:bodyPr/>
          <a:lstStyle/>
          <a:p>
            <a:r>
              <a:rPr lang="en-US">
                <a:solidFill>
                  <a:schemeClr val="accent6"/>
                </a:solidFill>
              </a:rPr>
              <a:t>01</a:t>
            </a:r>
          </a:p>
        </p:txBody>
      </p:sp>
      <p:sp>
        <p:nvSpPr>
          <p:cNvPr id="7" name="Text Placeholder 6">
            <a:extLst>
              <a:ext uri="{FF2B5EF4-FFF2-40B4-BE49-F238E27FC236}">
                <a16:creationId xmlns:a16="http://schemas.microsoft.com/office/drawing/2014/main" id="{29E0C092-AE0B-0448-668B-0D2D276D31C0}"/>
              </a:ext>
            </a:extLst>
          </p:cNvPr>
          <p:cNvSpPr>
            <a:spLocks noGrp="1"/>
          </p:cNvSpPr>
          <p:nvPr>
            <p:ph type="body" sz="quarter" idx="16"/>
          </p:nvPr>
        </p:nvSpPr>
        <p:spPr>
          <a:xfrm>
            <a:off x="1285240" y="3680245"/>
            <a:ext cx="4757677" cy="2343975"/>
          </a:xfrm>
        </p:spPr>
        <p:txBody>
          <a:bodyPr/>
          <a:lstStyle/>
          <a:p>
            <a:r>
              <a:rPr lang="en-US" b="1" dirty="0"/>
              <a:t>Experience: </a:t>
            </a:r>
          </a:p>
          <a:p>
            <a:pPr marL="285750" indent="-285750">
              <a:buFont typeface="Arial" panose="020B0604020202020204" pitchFamily="34" charset="0"/>
              <a:buChar char="•"/>
            </a:pPr>
            <a:r>
              <a:rPr lang="en-US" dirty="0"/>
              <a:t>Head of Java Department in xxx company (150+) </a:t>
            </a:r>
          </a:p>
          <a:p>
            <a:pPr marL="285750" indent="-285750">
              <a:buFont typeface="Arial" panose="020B0604020202020204" pitchFamily="34" charset="0"/>
              <a:buChar char="•"/>
            </a:pPr>
            <a:r>
              <a:rPr lang="en-US" dirty="0"/>
              <a:t>BE Guild Lead on WALG-CORE project in EPAM (600+)</a:t>
            </a:r>
          </a:p>
          <a:p>
            <a:r>
              <a:rPr lang="en-US" b="1" dirty="0"/>
              <a:t>Primary Skills:</a:t>
            </a:r>
          </a:p>
          <a:p>
            <a:pPr marL="285750" indent="-285750">
              <a:buFont typeface="Arial" panose="020B0604020202020204" pitchFamily="34" charset="0"/>
              <a:buChar char="•"/>
            </a:pPr>
            <a:r>
              <a:rPr lang="en-US" dirty="0">
                <a:latin typeface="Calibri Light"/>
                <a:ea typeface="Source Sans Pro"/>
                <a:cs typeface="Calibri Light"/>
              </a:rPr>
              <a:t>Java (13 years)</a:t>
            </a:r>
          </a:p>
          <a:p>
            <a:pPr marL="285750" indent="-285750">
              <a:buFont typeface="Arial" panose="020B0604020202020204" pitchFamily="34" charset="0"/>
              <a:buChar char="•"/>
            </a:pPr>
            <a:r>
              <a:rPr lang="en-US" dirty="0">
                <a:latin typeface="Calibri Light"/>
                <a:ea typeface="Source Sans Pro"/>
                <a:cs typeface="Calibri Light"/>
              </a:rPr>
              <a:t>Leading (10+ years)</a:t>
            </a:r>
          </a:p>
          <a:p>
            <a:endParaRPr lang="en-US" dirty="0"/>
          </a:p>
        </p:txBody>
      </p:sp>
      <p:pic>
        <p:nvPicPr>
          <p:cNvPr id="5" name="Picture 4" descr="A person wearing glasses&#10;&#10;Description automatically generated with medium confidence">
            <a:extLst>
              <a:ext uri="{FF2B5EF4-FFF2-40B4-BE49-F238E27FC236}">
                <a16:creationId xmlns:a16="http://schemas.microsoft.com/office/drawing/2014/main" id="{BFCF8843-56F7-7277-43DB-926E22D73A71}"/>
              </a:ext>
            </a:extLst>
          </p:cNvPr>
          <p:cNvPicPr>
            <a:picLocks noChangeAspect="1"/>
          </p:cNvPicPr>
          <p:nvPr/>
        </p:nvPicPr>
        <p:blipFill>
          <a:blip r:embed="rId3" cstate="print">
            <a:extLst>
              <a:ext uri="{BEBA8EAE-BF5A-486C-A8C5-ECC9F3942E4B}">
                <a14:imgProps xmlns:a14="http://schemas.microsoft.com/office/drawing/2010/main">
                  <a14:imgLayer r:embed="rId4">
                    <a14:imgEffect>
                      <a14:sharpenSoften amount="5000"/>
                    </a14:imgEffect>
                  </a14:imgLayer>
                </a14:imgProps>
              </a:ext>
              <a:ext uri="{28A0092B-C50C-407E-A947-70E740481C1C}">
                <a14:useLocalDpi xmlns:a14="http://schemas.microsoft.com/office/drawing/2010/main" val="0"/>
              </a:ext>
            </a:extLst>
          </a:blip>
          <a:stretch>
            <a:fillRect/>
          </a:stretch>
        </p:blipFill>
        <p:spPr>
          <a:xfrm>
            <a:off x="9149139" y="3680245"/>
            <a:ext cx="1737301" cy="1746522"/>
          </a:xfrm>
          <a:prstGeom prst="ellipse">
            <a:avLst/>
          </a:prstGeom>
          <a:ln>
            <a:noFill/>
          </a:ln>
          <a:effectLst/>
        </p:spPr>
      </p:pic>
    </p:spTree>
    <p:extLst>
      <p:ext uri="{BB962C8B-B14F-4D97-AF65-F5344CB8AC3E}">
        <p14:creationId xmlns:p14="http://schemas.microsoft.com/office/powerpoint/2010/main" val="718389635"/>
      </p:ext>
    </p:extLst>
  </p:cSld>
  <p:clrMapOvr>
    <a:masterClrMapping/>
  </p:clrMapOvr>
  <p:transition spd="slow">
    <p:push dir="u"/>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3E7B12-94E5-1E8A-9A20-C930CC8426EB}"/>
              </a:ext>
            </a:extLst>
          </p:cNvPr>
          <p:cNvSpPr>
            <a:spLocks noGrp="1"/>
          </p:cNvSpPr>
          <p:nvPr>
            <p:ph type="title"/>
          </p:nvPr>
        </p:nvSpPr>
        <p:spPr>
          <a:xfrm>
            <a:off x="639073" y="1424520"/>
            <a:ext cx="5333999" cy="2954655"/>
          </a:xfrm>
        </p:spPr>
        <p:txBody>
          <a:bodyPr/>
          <a:lstStyle/>
          <a:p>
            <a:r>
              <a:rPr lang="en-US" sz="3200" dirty="0"/>
              <a:t>A team member expresses interest in becoming a team lead.</a:t>
            </a:r>
            <a:br>
              <a:rPr lang="en-US" sz="3200" dirty="0"/>
            </a:br>
            <a:r>
              <a:rPr lang="en-US" sz="3200" dirty="0">
                <a:solidFill>
                  <a:schemeClr val="accent6"/>
                </a:solidFill>
                <a:latin typeface="Calibri" panose="020F0502020204030204" pitchFamily="34" charset="0"/>
                <a:cs typeface="Calibri" panose="020F0502020204030204" pitchFamily="34" charset="0"/>
              </a:rPr>
              <a:t>How will you mentor and prepare them for leadership responsibilities?</a:t>
            </a:r>
          </a:p>
        </p:txBody>
      </p:sp>
      <p:sp>
        <p:nvSpPr>
          <p:cNvPr id="8" name="Text Placeholder 7">
            <a:extLst>
              <a:ext uri="{FF2B5EF4-FFF2-40B4-BE49-F238E27FC236}">
                <a16:creationId xmlns:a16="http://schemas.microsoft.com/office/drawing/2014/main" id="{A33CA039-DE3C-5D85-0DB8-D98A38BFDC35}"/>
              </a:ext>
            </a:extLst>
          </p:cNvPr>
          <p:cNvSpPr>
            <a:spLocks noGrp="1"/>
          </p:cNvSpPr>
          <p:nvPr>
            <p:ph type="body" sz="quarter" idx="28"/>
          </p:nvPr>
        </p:nvSpPr>
        <p:spPr>
          <a:xfrm>
            <a:off x="627063" y="419100"/>
            <a:ext cx="3725862" cy="397732"/>
          </a:xfrm>
        </p:spPr>
        <p:txBody>
          <a:bodyPr>
            <a:normAutofit/>
          </a:bodyPr>
          <a:lstStyle/>
          <a:p>
            <a:r>
              <a:rPr lang="en-US" dirty="0"/>
              <a:t>Team Leadership workshop: USE-cases</a:t>
            </a:r>
          </a:p>
        </p:txBody>
      </p:sp>
      <p:sp>
        <p:nvSpPr>
          <p:cNvPr id="10" name="Text Placeholder 9">
            <a:extLst>
              <a:ext uri="{FF2B5EF4-FFF2-40B4-BE49-F238E27FC236}">
                <a16:creationId xmlns:a16="http://schemas.microsoft.com/office/drawing/2014/main" id="{1F88C411-8C59-AFA3-5C10-11E75FDF9817}"/>
              </a:ext>
            </a:extLst>
          </p:cNvPr>
          <p:cNvSpPr>
            <a:spLocks noGrp="1"/>
          </p:cNvSpPr>
          <p:nvPr>
            <p:ph type="body" sz="quarter" idx="25"/>
          </p:nvPr>
        </p:nvSpPr>
        <p:spPr>
          <a:xfrm>
            <a:off x="627063" y="722842"/>
            <a:ext cx="5251223" cy="397731"/>
          </a:xfrm>
        </p:spPr>
        <p:txBody>
          <a:bodyPr/>
          <a:lstStyle/>
          <a:p>
            <a:r>
              <a:rPr lang="en-US" dirty="0"/>
              <a:t>Case 10: Aspiring Team Leader Development</a:t>
            </a:r>
          </a:p>
        </p:txBody>
      </p:sp>
      <p:grpSp>
        <p:nvGrpSpPr>
          <p:cNvPr id="32" name="Group 31">
            <a:extLst>
              <a:ext uri="{FF2B5EF4-FFF2-40B4-BE49-F238E27FC236}">
                <a16:creationId xmlns:a16="http://schemas.microsoft.com/office/drawing/2014/main" id="{38CAE5AD-B9D9-1BE3-D8DA-9F3BAC97EFE3}"/>
              </a:ext>
            </a:extLst>
          </p:cNvPr>
          <p:cNvGrpSpPr/>
          <p:nvPr/>
        </p:nvGrpSpPr>
        <p:grpSpPr>
          <a:xfrm>
            <a:off x="7031633" y="5174495"/>
            <a:ext cx="914400" cy="1507452"/>
            <a:chOff x="7954394" y="5075784"/>
            <a:chExt cx="914400" cy="1507452"/>
          </a:xfrm>
        </p:grpSpPr>
        <p:pic>
          <p:nvPicPr>
            <p:cNvPr id="33" name="Picture 32" descr="Icon&#10;&#10;Description automatically generated">
              <a:extLst>
                <a:ext uri="{FF2B5EF4-FFF2-40B4-BE49-F238E27FC236}">
                  <a16:creationId xmlns:a16="http://schemas.microsoft.com/office/drawing/2014/main" id="{2F838510-22B0-4FBB-C199-A585524A88F1}"/>
                </a:ext>
              </a:extLst>
            </p:cNvPr>
            <p:cNvPicPr>
              <a:picLocks noChangeAspect="1"/>
            </p:cNvPicPr>
            <p:nvPr/>
          </p:nvPicPr>
          <p:blipFill>
            <a:blip r:embed="rId3"/>
            <a:stretch>
              <a:fillRect/>
            </a:stretch>
          </p:blipFill>
          <p:spPr>
            <a:xfrm>
              <a:off x="7974887" y="5075784"/>
              <a:ext cx="862741" cy="1133067"/>
            </a:xfrm>
            <a:prstGeom prst="rect">
              <a:avLst/>
            </a:prstGeom>
          </p:spPr>
        </p:pic>
        <p:sp>
          <p:nvSpPr>
            <p:cNvPr id="34" name="TextBox 33">
              <a:extLst>
                <a:ext uri="{FF2B5EF4-FFF2-40B4-BE49-F238E27FC236}">
                  <a16:creationId xmlns:a16="http://schemas.microsoft.com/office/drawing/2014/main" id="{587F560B-62C0-B867-EC11-79B4C360893D}"/>
                </a:ext>
              </a:extLst>
            </p:cNvPr>
            <p:cNvSpPr txBox="1"/>
            <p:nvPr/>
          </p:nvSpPr>
          <p:spPr>
            <a:xfrm>
              <a:off x="7954394" y="6275711"/>
              <a:ext cx="914400" cy="307525"/>
            </a:xfrm>
            <a:prstGeom prst="rect">
              <a:avLst/>
            </a:prstGeom>
            <a:noFill/>
          </p:spPr>
          <p:txBody>
            <a:bodyPr wrap="none" lIns="0" tIns="0" rIns="0" bIns="0" rtlCol="0">
              <a:noAutofit/>
            </a:bodyPr>
            <a:lstStyle/>
            <a:p>
              <a:pPr algn="ctr">
                <a:lnSpc>
                  <a:spcPct val="110000"/>
                </a:lnSpc>
                <a:spcBef>
                  <a:spcPts val="600"/>
                </a:spcBef>
              </a:pPr>
              <a:r>
                <a:rPr lang="en-US" sz="1200" dirty="0">
                  <a:ea typeface="Human Sans" charset="0"/>
                  <a:cs typeface="Human Sans" charset="0"/>
                </a:rPr>
                <a:t>You</a:t>
              </a:r>
            </a:p>
          </p:txBody>
        </p:sp>
      </p:grpSp>
      <p:sp>
        <p:nvSpPr>
          <p:cNvPr id="35" name="Speech Bubble: Rectangle 34">
            <a:extLst>
              <a:ext uri="{FF2B5EF4-FFF2-40B4-BE49-F238E27FC236}">
                <a16:creationId xmlns:a16="http://schemas.microsoft.com/office/drawing/2014/main" id="{5A3D9C85-096D-77E0-F8FF-1459C0ADD876}"/>
              </a:ext>
            </a:extLst>
          </p:cNvPr>
          <p:cNvSpPr/>
          <p:nvPr/>
        </p:nvSpPr>
        <p:spPr bwMode="auto">
          <a:xfrm>
            <a:off x="7697873" y="4555837"/>
            <a:ext cx="396301" cy="551798"/>
          </a:xfrm>
          <a:prstGeom prst="wedgeRectCallout">
            <a:avLst/>
          </a:prstGeom>
          <a:ln/>
        </p:spPr>
        <p:style>
          <a:lnRef idx="2">
            <a:schemeClr val="dk1"/>
          </a:lnRef>
          <a:fillRef idx="1">
            <a:schemeClr val="lt1"/>
          </a:fillRef>
          <a:effectRef idx="0">
            <a:schemeClr val="dk1"/>
          </a:effectRef>
          <a:fontRef idx="minor">
            <a:schemeClr val="dk1"/>
          </a:fontRef>
        </p:style>
        <p:txBody>
          <a:bodyPr wrap="none" rtlCol="0" anchor="ctr"/>
          <a:lstStyle/>
          <a:p>
            <a:pPr algn="ctr"/>
            <a:r>
              <a:rPr lang="en-US" sz="2000" dirty="0">
                <a:ln w="0"/>
                <a:solidFill>
                  <a:schemeClr val="tx1"/>
                </a:solidFill>
                <a:effectLst>
                  <a:outerShdw blurRad="38100" dist="19050" dir="2700000" algn="tl" rotWithShape="0">
                    <a:schemeClr val="dk1">
                      <a:alpha val="40000"/>
                    </a:schemeClr>
                  </a:outerShdw>
                </a:effectLst>
                <a:latin typeface="Calibri Light" panose="020F0302020204030204" pitchFamily="34" charset="0"/>
                <a:ea typeface="Human Sans ExtraLight" charset="0"/>
                <a:cs typeface="Human Sans ExtraLight" charset="0"/>
              </a:rPr>
              <a:t>?</a:t>
            </a:r>
            <a:endParaRPr lang="en-US" sz="2000" dirty="0">
              <a:solidFill>
                <a:schemeClr val="bg1"/>
              </a:solidFill>
              <a:latin typeface="Calibri Light" panose="020F0302020204030204" pitchFamily="34" charset="0"/>
              <a:ea typeface="Human Sans ExtraLight" charset="0"/>
              <a:cs typeface="Human Sans ExtraLight" charset="0"/>
            </a:endParaRPr>
          </a:p>
        </p:txBody>
      </p:sp>
      <p:grpSp>
        <p:nvGrpSpPr>
          <p:cNvPr id="4" name="Group 3">
            <a:extLst>
              <a:ext uri="{FF2B5EF4-FFF2-40B4-BE49-F238E27FC236}">
                <a16:creationId xmlns:a16="http://schemas.microsoft.com/office/drawing/2014/main" id="{BB4845E9-5781-3F39-B75A-F8107484E395}"/>
              </a:ext>
            </a:extLst>
          </p:cNvPr>
          <p:cNvGrpSpPr/>
          <p:nvPr/>
        </p:nvGrpSpPr>
        <p:grpSpPr>
          <a:xfrm>
            <a:off x="8827288" y="550438"/>
            <a:ext cx="923632" cy="1258357"/>
            <a:chOff x="9278671" y="722843"/>
            <a:chExt cx="923632" cy="1258357"/>
          </a:xfrm>
        </p:grpSpPr>
        <p:pic>
          <p:nvPicPr>
            <p:cNvPr id="5" name="Picture 4" descr="Icon&#10;&#10;Description automatically generated">
              <a:extLst>
                <a:ext uri="{FF2B5EF4-FFF2-40B4-BE49-F238E27FC236}">
                  <a16:creationId xmlns:a16="http://schemas.microsoft.com/office/drawing/2014/main" id="{551DFBEF-7F97-AFC6-553C-1B3BBF9FFF2B}"/>
                </a:ext>
              </a:extLst>
            </p:cNvPr>
            <p:cNvPicPr>
              <a:picLocks noChangeAspect="1"/>
            </p:cNvPicPr>
            <p:nvPr/>
          </p:nvPicPr>
          <p:blipFill>
            <a:blip r:embed="rId4"/>
            <a:stretch>
              <a:fillRect/>
            </a:stretch>
          </p:blipFill>
          <p:spPr>
            <a:xfrm>
              <a:off x="9278671" y="722843"/>
              <a:ext cx="862741" cy="862741"/>
            </a:xfrm>
            <a:prstGeom prst="rect">
              <a:avLst/>
            </a:prstGeom>
          </p:spPr>
        </p:pic>
        <p:sp>
          <p:nvSpPr>
            <p:cNvPr id="6" name="TextBox 5">
              <a:extLst>
                <a:ext uri="{FF2B5EF4-FFF2-40B4-BE49-F238E27FC236}">
                  <a16:creationId xmlns:a16="http://schemas.microsoft.com/office/drawing/2014/main" id="{787D0E6B-D589-01B3-A6E4-63C68B64DD65}"/>
                </a:ext>
              </a:extLst>
            </p:cNvPr>
            <p:cNvSpPr txBox="1"/>
            <p:nvPr/>
          </p:nvSpPr>
          <p:spPr>
            <a:xfrm>
              <a:off x="9287903" y="1673675"/>
              <a:ext cx="914400" cy="307525"/>
            </a:xfrm>
            <a:prstGeom prst="rect">
              <a:avLst/>
            </a:prstGeom>
            <a:noFill/>
          </p:spPr>
          <p:txBody>
            <a:bodyPr wrap="none" lIns="0" tIns="0" rIns="0" bIns="0" rtlCol="0">
              <a:noAutofit/>
            </a:bodyPr>
            <a:lstStyle/>
            <a:p>
              <a:pPr algn="ctr">
                <a:lnSpc>
                  <a:spcPct val="110000"/>
                </a:lnSpc>
                <a:spcBef>
                  <a:spcPts val="600"/>
                </a:spcBef>
              </a:pPr>
              <a:r>
                <a:rPr lang="en-US" sz="1200" dirty="0">
                  <a:ea typeface="Human Sans" charset="0"/>
                  <a:cs typeface="Human Sans" charset="0"/>
                </a:rPr>
                <a:t>Dean - SM</a:t>
              </a:r>
            </a:p>
          </p:txBody>
        </p:sp>
      </p:grpSp>
      <p:grpSp>
        <p:nvGrpSpPr>
          <p:cNvPr id="7" name="Group 6">
            <a:extLst>
              <a:ext uri="{FF2B5EF4-FFF2-40B4-BE49-F238E27FC236}">
                <a16:creationId xmlns:a16="http://schemas.microsoft.com/office/drawing/2014/main" id="{84309EC9-FF7E-8DB6-3B0A-F24E5005367D}"/>
              </a:ext>
            </a:extLst>
          </p:cNvPr>
          <p:cNvGrpSpPr/>
          <p:nvPr/>
        </p:nvGrpSpPr>
        <p:grpSpPr>
          <a:xfrm>
            <a:off x="7748640" y="1590899"/>
            <a:ext cx="914400" cy="1280310"/>
            <a:chOff x="7949057" y="1717959"/>
            <a:chExt cx="914400" cy="1280310"/>
          </a:xfrm>
        </p:grpSpPr>
        <p:pic>
          <p:nvPicPr>
            <p:cNvPr id="9" name="Picture 8" descr="Icon, circle&#10;&#10;Description automatically generated">
              <a:extLst>
                <a:ext uri="{FF2B5EF4-FFF2-40B4-BE49-F238E27FC236}">
                  <a16:creationId xmlns:a16="http://schemas.microsoft.com/office/drawing/2014/main" id="{38E0BDAB-5373-19C6-6F91-35D85857A5DD}"/>
                </a:ext>
              </a:extLst>
            </p:cNvPr>
            <p:cNvPicPr>
              <a:picLocks noChangeAspect="1"/>
            </p:cNvPicPr>
            <p:nvPr/>
          </p:nvPicPr>
          <p:blipFill>
            <a:blip r:embed="rId5"/>
            <a:stretch>
              <a:fillRect/>
            </a:stretch>
          </p:blipFill>
          <p:spPr>
            <a:xfrm>
              <a:off x="7974889" y="1717959"/>
              <a:ext cx="862741" cy="862741"/>
            </a:xfrm>
            <a:prstGeom prst="rect">
              <a:avLst/>
            </a:prstGeom>
          </p:spPr>
        </p:pic>
        <p:sp>
          <p:nvSpPr>
            <p:cNvPr id="36" name="TextBox 35">
              <a:extLst>
                <a:ext uri="{FF2B5EF4-FFF2-40B4-BE49-F238E27FC236}">
                  <a16:creationId xmlns:a16="http://schemas.microsoft.com/office/drawing/2014/main" id="{EF22CD6A-7350-B784-9FA5-1629B4C3CE31}"/>
                </a:ext>
              </a:extLst>
            </p:cNvPr>
            <p:cNvSpPr txBox="1"/>
            <p:nvPr/>
          </p:nvSpPr>
          <p:spPr>
            <a:xfrm>
              <a:off x="7949057" y="2690744"/>
              <a:ext cx="914400" cy="307525"/>
            </a:xfrm>
            <a:prstGeom prst="rect">
              <a:avLst/>
            </a:prstGeom>
            <a:noFill/>
          </p:spPr>
          <p:txBody>
            <a:bodyPr wrap="none" lIns="0" tIns="0" rIns="0" bIns="0" rtlCol="0">
              <a:noAutofit/>
            </a:bodyPr>
            <a:lstStyle/>
            <a:p>
              <a:pPr algn="ctr">
                <a:lnSpc>
                  <a:spcPct val="110000"/>
                </a:lnSpc>
                <a:spcBef>
                  <a:spcPts val="600"/>
                </a:spcBef>
              </a:pPr>
              <a:r>
                <a:rPr lang="en-US" sz="1200" dirty="0">
                  <a:ea typeface="Human Sans" charset="0"/>
                  <a:cs typeface="Human Sans" charset="0"/>
                </a:rPr>
                <a:t>Adam – SD</a:t>
              </a:r>
            </a:p>
          </p:txBody>
        </p:sp>
      </p:grpSp>
      <p:grpSp>
        <p:nvGrpSpPr>
          <p:cNvPr id="37" name="Group 36">
            <a:extLst>
              <a:ext uri="{FF2B5EF4-FFF2-40B4-BE49-F238E27FC236}">
                <a16:creationId xmlns:a16="http://schemas.microsoft.com/office/drawing/2014/main" id="{15401A2B-13DF-F884-07EA-990F72A86F8E}"/>
              </a:ext>
            </a:extLst>
          </p:cNvPr>
          <p:cNvGrpSpPr/>
          <p:nvPr/>
        </p:nvGrpSpPr>
        <p:grpSpPr>
          <a:xfrm>
            <a:off x="9940995" y="1630369"/>
            <a:ext cx="926780" cy="1257253"/>
            <a:chOff x="10327938" y="1717960"/>
            <a:chExt cx="926780" cy="1257253"/>
          </a:xfrm>
        </p:grpSpPr>
        <p:pic>
          <p:nvPicPr>
            <p:cNvPr id="38" name="Picture 37" descr="Icon&#10;&#10;Description automatically generated">
              <a:extLst>
                <a:ext uri="{FF2B5EF4-FFF2-40B4-BE49-F238E27FC236}">
                  <a16:creationId xmlns:a16="http://schemas.microsoft.com/office/drawing/2014/main" id="{18881A4B-8FB3-CD52-49B2-C568CC61DE34}"/>
                </a:ext>
              </a:extLst>
            </p:cNvPr>
            <p:cNvPicPr>
              <a:picLocks noChangeAspect="1"/>
            </p:cNvPicPr>
            <p:nvPr/>
          </p:nvPicPr>
          <p:blipFill>
            <a:blip r:embed="rId6"/>
            <a:stretch>
              <a:fillRect/>
            </a:stretch>
          </p:blipFill>
          <p:spPr>
            <a:xfrm>
              <a:off x="10327938" y="1717960"/>
              <a:ext cx="862741" cy="862741"/>
            </a:xfrm>
            <a:prstGeom prst="rect">
              <a:avLst/>
            </a:prstGeom>
          </p:spPr>
        </p:pic>
        <p:sp>
          <p:nvSpPr>
            <p:cNvPr id="39" name="TextBox 38">
              <a:extLst>
                <a:ext uri="{FF2B5EF4-FFF2-40B4-BE49-F238E27FC236}">
                  <a16:creationId xmlns:a16="http://schemas.microsoft.com/office/drawing/2014/main" id="{123AC138-EB9B-5AF0-1D25-C569E570C2DA}"/>
                </a:ext>
              </a:extLst>
            </p:cNvPr>
            <p:cNvSpPr txBox="1"/>
            <p:nvPr/>
          </p:nvSpPr>
          <p:spPr>
            <a:xfrm>
              <a:off x="10340318" y="2667688"/>
              <a:ext cx="914400" cy="307525"/>
            </a:xfrm>
            <a:prstGeom prst="rect">
              <a:avLst/>
            </a:prstGeom>
            <a:noFill/>
          </p:spPr>
          <p:txBody>
            <a:bodyPr wrap="none" lIns="0" tIns="0" rIns="0" bIns="0" rtlCol="0">
              <a:noAutofit/>
            </a:bodyPr>
            <a:lstStyle/>
            <a:p>
              <a:pPr algn="ctr">
                <a:lnSpc>
                  <a:spcPct val="110000"/>
                </a:lnSpc>
                <a:spcBef>
                  <a:spcPts val="600"/>
                </a:spcBef>
              </a:pPr>
              <a:r>
                <a:rPr lang="en-US" sz="1200" dirty="0">
                  <a:ea typeface="Human Sans" charset="0"/>
                  <a:cs typeface="Human Sans" charset="0"/>
                </a:rPr>
                <a:t>Mary – PO/BA</a:t>
              </a:r>
            </a:p>
          </p:txBody>
        </p:sp>
      </p:grpSp>
      <p:grpSp>
        <p:nvGrpSpPr>
          <p:cNvPr id="40" name="Group 39">
            <a:extLst>
              <a:ext uri="{FF2B5EF4-FFF2-40B4-BE49-F238E27FC236}">
                <a16:creationId xmlns:a16="http://schemas.microsoft.com/office/drawing/2014/main" id="{B0B1EFE6-25B8-46DF-22EF-47268626D5DA}"/>
              </a:ext>
            </a:extLst>
          </p:cNvPr>
          <p:cNvGrpSpPr/>
          <p:nvPr/>
        </p:nvGrpSpPr>
        <p:grpSpPr>
          <a:xfrm>
            <a:off x="7610190" y="2962921"/>
            <a:ext cx="933043" cy="1261978"/>
            <a:chOff x="7810607" y="3089981"/>
            <a:chExt cx="933043" cy="1261978"/>
          </a:xfrm>
        </p:grpSpPr>
        <p:pic>
          <p:nvPicPr>
            <p:cNvPr id="41" name="Picture 40" descr="Icon&#10;&#10;Description automatically generated">
              <a:extLst>
                <a:ext uri="{FF2B5EF4-FFF2-40B4-BE49-F238E27FC236}">
                  <a16:creationId xmlns:a16="http://schemas.microsoft.com/office/drawing/2014/main" id="{5D679CD3-BC09-9870-C144-64E4120FF3EE}"/>
                </a:ext>
              </a:extLst>
            </p:cNvPr>
            <p:cNvPicPr>
              <a:picLocks noChangeAspect="1"/>
            </p:cNvPicPr>
            <p:nvPr/>
          </p:nvPicPr>
          <p:blipFill>
            <a:blip r:embed="rId7"/>
            <a:stretch>
              <a:fillRect/>
            </a:stretch>
          </p:blipFill>
          <p:spPr>
            <a:xfrm>
              <a:off x="7810607" y="3089981"/>
              <a:ext cx="862741" cy="862741"/>
            </a:xfrm>
            <a:prstGeom prst="ellipse">
              <a:avLst/>
            </a:prstGeom>
            <a:ln w="63500" cap="rnd">
              <a:solidFill>
                <a:srgbClr val="FF0000"/>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sp>
          <p:nvSpPr>
            <p:cNvPr id="42" name="TextBox 41">
              <a:extLst>
                <a:ext uri="{FF2B5EF4-FFF2-40B4-BE49-F238E27FC236}">
                  <a16:creationId xmlns:a16="http://schemas.microsoft.com/office/drawing/2014/main" id="{C888D0DC-3138-63C0-086D-2383C730CE89}"/>
                </a:ext>
              </a:extLst>
            </p:cNvPr>
            <p:cNvSpPr txBox="1"/>
            <p:nvPr/>
          </p:nvSpPr>
          <p:spPr>
            <a:xfrm>
              <a:off x="7829250" y="4044434"/>
              <a:ext cx="914400" cy="307525"/>
            </a:xfrm>
            <a:prstGeom prst="rect">
              <a:avLst/>
            </a:prstGeom>
            <a:noFill/>
            <a:ln>
              <a:solidFill>
                <a:srgbClr val="FF0000"/>
              </a:solidFill>
            </a:ln>
          </p:spPr>
          <p:txBody>
            <a:bodyPr wrap="none" lIns="0" tIns="0" rIns="0" bIns="0" rtlCol="0">
              <a:noAutofit/>
            </a:bodyPr>
            <a:lstStyle/>
            <a:p>
              <a:pPr algn="ctr">
                <a:lnSpc>
                  <a:spcPct val="110000"/>
                </a:lnSpc>
                <a:spcBef>
                  <a:spcPts val="600"/>
                </a:spcBef>
              </a:pPr>
              <a:r>
                <a:rPr lang="en-US" sz="1200" dirty="0">
                  <a:ea typeface="Human Sans" charset="0"/>
                  <a:cs typeface="Human Sans" charset="0"/>
                </a:rPr>
                <a:t>Bob – MD</a:t>
              </a:r>
            </a:p>
          </p:txBody>
        </p:sp>
      </p:grpSp>
      <p:grpSp>
        <p:nvGrpSpPr>
          <p:cNvPr id="43" name="Group 42">
            <a:extLst>
              <a:ext uri="{FF2B5EF4-FFF2-40B4-BE49-F238E27FC236}">
                <a16:creationId xmlns:a16="http://schemas.microsoft.com/office/drawing/2014/main" id="{D57BE348-96F4-A86B-766A-69EE3A26BD5F}"/>
              </a:ext>
            </a:extLst>
          </p:cNvPr>
          <p:cNvGrpSpPr/>
          <p:nvPr/>
        </p:nvGrpSpPr>
        <p:grpSpPr>
          <a:xfrm>
            <a:off x="8656115" y="2962922"/>
            <a:ext cx="914400" cy="1265709"/>
            <a:chOff x="8856532" y="3089982"/>
            <a:chExt cx="914400" cy="1265709"/>
          </a:xfrm>
        </p:grpSpPr>
        <p:pic>
          <p:nvPicPr>
            <p:cNvPr id="44" name="Picture 43" descr="Icon&#10;&#10;Description automatically generated">
              <a:extLst>
                <a:ext uri="{FF2B5EF4-FFF2-40B4-BE49-F238E27FC236}">
                  <a16:creationId xmlns:a16="http://schemas.microsoft.com/office/drawing/2014/main" id="{74801FF4-2909-3002-3F91-24C62642132B}"/>
                </a:ext>
              </a:extLst>
            </p:cNvPr>
            <p:cNvPicPr>
              <a:picLocks noChangeAspect="1"/>
            </p:cNvPicPr>
            <p:nvPr/>
          </p:nvPicPr>
          <p:blipFill>
            <a:blip r:embed="rId8"/>
            <a:stretch>
              <a:fillRect/>
            </a:stretch>
          </p:blipFill>
          <p:spPr>
            <a:xfrm>
              <a:off x="8882362" y="3089982"/>
              <a:ext cx="862741" cy="862741"/>
            </a:xfrm>
            <a:prstGeom prst="ellipse">
              <a:avLst/>
            </a:prstGeom>
            <a:ln w="63500" cap="rnd">
              <a:solidFill>
                <a:srgbClr val="FF0000"/>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sp>
          <p:nvSpPr>
            <p:cNvPr id="45" name="TextBox 44">
              <a:extLst>
                <a:ext uri="{FF2B5EF4-FFF2-40B4-BE49-F238E27FC236}">
                  <a16:creationId xmlns:a16="http://schemas.microsoft.com/office/drawing/2014/main" id="{B85FC62E-3972-030F-18E0-640C16D623C7}"/>
                </a:ext>
              </a:extLst>
            </p:cNvPr>
            <p:cNvSpPr txBox="1"/>
            <p:nvPr/>
          </p:nvSpPr>
          <p:spPr>
            <a:xfrm>
              <a:off x="8856532" y="4048166"/>
              <a:ext cx="914400" cy="307525"/>
            </a:xfrm>
            <a:prstGeom prst="rect">
              <a:avLst/>
            </a:prstGeom>
            <a:noFill/>
            <a:ln>
              <a:solidFill>
                <a:srgbClr val="FF0000"/>
              </a:solidFill>
            </a:ln>
          </p:spPr>
          <p:txBody>
            <a:bodyPr wrap="none" lIns="0" tIns="0" rIns="0" bIns="0" rtlCol="0">
              <a:noAutofit/>
            </a:bodyPr>
            <a:lstStyle/>
            <a:p>
              <a:pPr algn="ctr">
                <a:lnSpc>
                  <a:spcPct val="110000"/>
                </a:lnSpc>
                <a:spcBef>
                  <a:spcPts val="600"/>
                </a:spcBef>
              </a:pPr>
              <a:r>
                <a:rPr lang="en-US" sz="1200" dirty="0">
                  <a:ea typeface="Human Sans" charset="0"/>
                  <a:cs typeface="Human Sans" charset="0"/>
                </a:rPr>
                <a:t>Eva - JD</a:t>
              </a:r>
            </a:p>
          </p:txBody>
        </p:sp>
      </p:grpSp>
      <p:grpSp>
        <p:nvGrpSpPr>
          <p:cNvPr id="46" name="Group 45">
            <a:extLst>
              <a:ext uri="{FF2B5EF4-FFF2-40B4-BE49-F238E27FC236}">
                <a16:creationId xmlns:a16="http://schemas.microsoft.com/office/drawing/2014/main" id="{3EA658B8-54F8-A019-9430-44555FE20C4C}"/>
              </a:ext>
            </a:extLst>
          </p:cNvPr>
          <p:cNvGrpSpPr/>
          <p:nvPr/>
        </p:nvGrpSpPr>
        <p:grpSpPr>
          <a:xfrm>
            <a:off x="9915165" y="2962922"/>
            <a:ext cx="914400" cy="1285035"/>
            <a:chOff x="10115582" y="3089982"/>
            <a:chExt cx="914400" cy="1285035"/>
          </a:xfrm>
        </p:grpSpPr>
        <p:pic>
          <p:nvPicPr>
            <p:cNvPr id="47" name="Picture 46" descr="Icon&#10;&#10;Description automatically generated">
              <a:extLst>
                <a:ext uri="{FF2B5EF4-FFF2-40B4-BE49-F238E27FC236}">
                  <a16:creationId xmlns:a16="http://schemas.microsoft.com/office/drawing/2014/main" id="{7F723980-9F86-DB0F-2C39-652042288F24}"/>
                </a:ext>
              </a:extLst>
            </p:cNvPr>
            <p:cNvPicPr>
              <a:picLocks noChangeAspect="1"/>
            </p:cNvPicPr>
            <p:nvPr/>
          </p:nvPicPr>
          <p:blipFill>
            <a:blip r:embed="rId9"/>
            <a:stretch>
              <a:fillRect/>
            </a:stretch>
          </p:blipFill>
          <p:spPr>
            <a:xfrm>
              <a:off x="10141412" y="3089982"/>
              <a:ext cx="862741" cy="862741"/>
            </a:xfrm>
            <a:prstGeom prst="rect">
              <a:avLst/>
            </a:prstGeom>
          </p:spPr>
        </p:pic>
        <p:sp>
          <p:nvSpPr>
            <p:cNvPr id="48" name="TextBox 47">
              <a:extLst>
                <a:ext uri="{FF2B5EF4-FFF2-40B4-BE49-F238E27FC236}">
                  <a16:creationId xmlns:a16="http://schemas.microsoft.com/office/drawing/2014/main" id="{A41BCC08-3034-1F8B-3F21-EECBD65EB641}"/>
                </a:ext>
              </a:extLst>
            </p:cNvPr>
            <p:cNvSpPr txBox="1"/>
            <p:nvPr/>
          </p:nvSpPr>
          <p:spPr>
            <a:xfrm>
              <a:off x="10115582" y="4067492"/>
              <a:ext cx="914400" cy="307525"/>
            </a:xfrm>
            <a:prstGeom prst="rect">
              <a:avLst/>
            </a:prstGeom>
            <a:noFill/>
          </p:spPr>
          <p:txBody>
            <a:bodyPr wrap="none" lIns="0" tIns="0" rIns="0" bIns="0" rtlCol="0">
              <a:noAutofit/>
            </a:bodyPr>
            <a:lstStyle/>
            <a:p>
              <a:pPr algn="ctr">
                <a:lnSpc>
                  <a:spcPct val="110000"/>
                </a:lnSpc>
                <a:spcBef>
                  <a:spcPts val="600"/>
                </a:spcBef>
              </a:pPr>
              <a:r>
                <a:rPr lang="en-US" sz="1200" dirty="0">
                  <a:ea typeface="Human Sans" charset="0"/>
                  <a:cs typeface="Human Sans" charset="0"/>
                </a:rPr>
                <a:t>Diana - QA</a:t>
              </a:r>
            </a:p>
          </p:txBody>
        </p:sp>
      </p:grpSp>
      <p:grpSp>
        <p:nvGrpSpPr>
          <p:cNvPr id="49" name="Group 48">
            <a:extLst>
              <a:ext uri="{FF2B5EF4-FFF2-40B4-BE49-F238E27FC236}">
                <a16:creationId xmlns:a16="http://schemas.microsoft.com/office/drawing/2014/main" id="{2328E9C9-E83C-362D-F6D2-A69E23B0BBA1}"/>
              </a:ext>
            </a:extLst>
          </p:cNvPr>
          <p:cNvGrpSpPr/>
          <p:nvPr/>
        </p:nvGrpSpPr>
        <p:grpSpPr>
          <a:xfrm>
            <a:off x="9953375" y="4368223"/>
            <a:ext cx="914400" cy="1246962"/>
            <a:chOff x="10338849" y="4462008"/>
            <a:chExt cx="914400" cy="1246962"/>
          </a:xfrm>
        </p:grpSpPr>
        <p:pic>
          <p:nvPicPr>
            <p:cNvPr id="50" name="Picture 49" descr="Icon&#10;&#10;Description automatically generated">
              <a:extLst>
                <a:ext uri="{FF2B5EF4-FFF2-40B4-BE49-F238E27FC236}">
                  <a16:creationId xmlns:a16="http://schemas.microsoft.com/office/drawing/2014/main" id="{7664D971-33C2-298C-5CDD-B8E9723F4675}"/>
                </a:ext>
              </a:extLst>
            </p:cNvPr>
            <p:cNvPicPr>
              <a:picLocks noChangeAspect="1"/>
            </p:cNvPicPr>
            <p:nvPr/>
          </p:nvPicPr>
          <p:blipFill>
            <a:blip r:embed="rId10"/>
            <a:stretch>
              <a:fillRect/>
            </a:stretch>
          </p:blipFill>
          <p:spPr>
            <a:xfrm>
              <a:off x="10364679" y="4462008"/>
              <a:ext cx="862741" cy="862741"/>
            </a:xfrm>
            <a:prstGeom prst="rect">
              <a:avLst/>
            </a:prstGeom>
          </p:spPr>
        </p:pic>
        <p:sp>
          <p:nvSpPr>
            <p:cNvPr id="51" name="TextBox 50">
              <a:extLst>
                <a:ext uri="{FF2B5EF4-FFF2-40B4-BE49-F238E27FC236}">
                  <a16:creationId xmlns:a16="http://schemas.microsoft.com/office/drawing/2014/main" id="{FE7FEC11-0F04-314D-D4CF-BB326136E17C}"/>
                </a:ext>
              </a:extLst>
            </p:cNvPr>
            <p:cNvSpPr txBox="1"/>
            <p:nvPr/>
          </p:nvSpPr>
          <p:spPr>
            <a:xfrm>
              <a:off x="10338849" y="5401445"/>
              <a:ext cx="914400" cy="307525"/>
            </a:xfrm>
            <a:prstGeom prst="rect">
              <a:avLst/>
            </a:prstGeom>
            <a:noFill/>
          </p:spPr>
          <p:txBody>
            <a:bodyPr wrap="none" lIns="0" tIns="0" rIns="0" bIns="0" rtlCol="0">
              <a:noAutofit/>
            </a:bodyPr>
            <a:lstStyle/>
            <a:p>
              <a:pPr algn="ctr">
                <a:lnSpc>
                  <a:spcPct val="110000"/>
                </a:lnSpc>
                <a:spcBef>
                  <a:spcPts val="600"/>
                </a:spcBef>
              </a:pPr>
              <a:r>
                <a:rPr lang="en-US" sz="1200" dirty="0">
                  <a:ea typeface="Human Sans" charset="0"/>
                  <a:cs typeface="Human Sans" charset="0"/>
                </a:rPr>
                <a:t>Pavel - DevOps</a:t>
              </a:r>
            </a:p>
          </p:txBody>
        </p:sp>
      </p:grpSp>
    </p:spTree>
    <p:extLst>
      <p:ext uri="{BB962C8B-B14F-4D97-AF65-F5344CB8AC3E}">
        <p14:creationId xmlns:p14="http://schemas.microsoft.com/office/powerpoint/2010/main" val="3805640432"/>
      </p:ext>
    </p:extLst>
  </p:cSld>
  <p:clrMapOvr>
    <a:masterClrMapping/>
  </p:clrMapOvr>
  <p:transition spd="slow">
    <p:push dir="u"/>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3E7B12-94E5-1E8A-9A20-C930CC8426EB}"/>
              </a:ext>
            </a:extLst>
          </p:cNvPr>
          <p:cNvSpPr>
            <a:spLocks noGrp="1"/>
          </p:cNvSpPr>
          <p:nvPr>
            <p:ph type="title"/>
          </p:nvPr>
        </p:nvSpPr>
        <p:spPr>
          <a:xfrm>
            <a:off x="639073" y="1424520"/>
            <a:ext cx="5333999" cy="2462213"/>
          </a:xfrm>
        </p:spPr>
        <p:txBody>
          <a:bodyPr/>
          <a:lstStyle/>
          <a:p>
            <a:r>
              <a:rPr lang="en-US" sz="3200" dirty="0"/>
              <a:t>Minutes before a crucial demo to the client, a key feature fails.</a:t>
            </a:r>
            <a:br>
              <a:rPr lang="en-US" sz="3200" dirty="0"/>
            </a:br>
            <a:r>
              <a:rPr lang="en-US" sz="3200" dirty="0">
                <a:solidFill>
                  <a:schemeClr val="accent6"/>
                </a:solidFill>
                <a:latin typeface="Calibri" panose="020F0502020204030204" pitchFamily="34" charset="0"/>
                <a:cs typeface="Calibri" panose="020F0502020204030204" pitchFamily="34" charset="0"/>
              </a:rPr>
              <a:t>What immediate actions do you take to salvage the presentation?</a:t>
            </a:r>
          </a:p>
        </p:txBody>
      </p:sp>
      <p:sp>
        <p:nvSpPr>
          <p:cNvPr id="8" name="Text Placeholder 7">
            <a:extLst>
              <a:ext uri="{FF2B5EF4-FFF2-40B4-BE49-F238E27FC236}">
                <a16:creationId xmlns:a16="http://schemas.microsoft.com/office/drawing/2014/main" id="{A33CA039-DE3C-5D85-0DB8-D98A38BFDC35}"/>
              </a:ext>
            </a:extLst>
          </p:cNvPr>
          <p:cNvSpPr>
            <a:spLocks noGrp="1"/>
          </p:cNvSpPr>
          <p:nvPr>
            <p:ph type="body" sz="quarter" idx="28"/>
          </p:nvPr>
        </p:nvSpPr>
        <p:spPr>
          <a:xfrm>
            <a:off x="627063" y="419100"/>
            <a:ext cx="3725862" cy="397732"/>
          </a:xfrm>
        </p:spPr>
        <p:txBody>
          <a:bodyPr>
            <a:normAutofit/>
          </a:bodyPr>
          <a:lstStyle/>
          <a:p>
            <a:r>
              <a:rPr lang="en-US" dirty="0"/>
              <a:t>Team Leadership workshop: USE-cases</a:t>
            </a:r>
          </a:p>
        </p:txBody>
      </p:sp>
      <p:sp>
        <p:nvSpPr>
          <p:cNvPr id="10" name="Text Placeholder 9">
            <a:extLst>
              <a:ext uri="{FF2B5EF4-FFF2-40B4-BE49-F238E27FC236}">
                <a16:creationId xmlns:a16="http://schemas.microsoft.com/office/drawing/2014/main" id="{1F88C411-8C59-AFA3-5C10-11E75FDF9817}"/>
              </a:ext>
            </a:extLst>
          </p:cNvPr>
          <p:cNvSpPr>
            <a:spLocks noGrp="1"/>
          </p:cNvSpPr>
          <p:nvPr>
            <p:ph type="body" sz="quarter" idx="25"/>
          </p:nvPr>
        </p:nvSpPr>
        <p:spPr>
          <a:xfrm>
            <a:off x="627063" y="722842"/>
            <a:ext cx="4646395" cy="397731"/>
          </a:xfrm>
        </p:spPr>
        <p:txBody>
          <a:bodyPr/>
          <a:lstStyle/>
          <a:p>
            <a:r>
              <a:rPr lang="en-US" dirty="0"/>
              <a:t>Case 11: Pre-Demo Crisis Management</a:t>
            </a:r>
          </a:p>
        </p:txBody>
      </p:sp>
      <p:grpSp>
        <p:nvGrpSpPr>
          <p:cNvPr id="32" name="Group 31">
            <a:extLst>
              <a:ext uri="{FF2B5EF4-FFF2-40B4-BE49-F238E27FC236}">
                <a16:creationId xmlns:a16="http://schemas.microsoft.com/office/drawing/2014/main" id="{38CAE5AD-B9D9-1BE3-D8DA-9F3BAC97EFE3}"/>
              </a:ext>
            </a:extLst>
          </p:cNvPr>
          <p:cNvGrpSpPr/>
          <p:nvPr/>
        </p:nvGrpSpPr>
        <p:grpSpPr>
          <a:xfrm>
            <a:off x="7031633" y="5174495"/>
            <a:ext cx="914400" cy="1507452"/>
            <a:chOff x="7954394" y="5075784"/>
            <a:chExt cx="914400" cy="1507452"/>
          </a:xfrm>
        </p:grpSpPr>
        <p:pic>
          <p:nvPicPr>
            <p:cNvPr id="33" name="Picture 32" descr="Icon&#10;&#10;Description automatically generated">
              <a:extLst>
                <a:ext uri="{FF2B5EF4-FFF2-40B4-BE49-F238E27FC236}">
                  <a16:creationId xmlns:a16="http://schemas.microsoft.com/office/drawing/2014/main" id="{2F838510-22B0-4FBB-C199-A585524A88F1}"/>
                </a:ext>
              </a:extLst>
            </p:cNvPr>
            <p:cNvPicPr>
              <a:picLocks noChangeAspect="1"/>
            </p:cNvPicPr>
            <p:nvPr/>
          </p:nvPicPr>
          <p:blipFill>
            <a:blip r:embed="rId3"/>
            <a:stretch>
              <a:fillRect/>
            </a:stretch>
          </p:blipFill>
          <p:spPr>
            <a:xfrm>
              <a:off x="7974887" y="5075784"/>
              <a:ext cx="862741" cy="1133067"/>
            </a:xfrm>
            <a:prstGeom prst="rect">
              <a:avLst/>
            </a:prstGeom>
          </p:spPr>
        </p:pic>
        <p:sp>
          <p:nvSpPr>
            <p:cNvPr id="34" name="TextBox 33">
              <a:extLst>
                <a:ext uri="{FF2B5EF4-FFF2-40B4-BE49-F238E27FC236}">
                  <a16:creationId xmlns:a16="http://schemas.microsoft.com/office/drawing/2014/main" id="{587F560B-62C0-B867-EC11-79B4C360893D}"/>
                </a:ext>
              </a:extLst>
            </p:cNvPr>
            <p:cNvSpPr txBox="1"/>
            <p:nvPr/>
          </p:nvSpPr>
          <p:spPr>
            <a:xfrm>
              <a:off x="7954394" y="6275711"/>
              <a:ext cx="914400" cy="307525"/>
            </a:xfrm>
            <a:prstGeom prst="rect">
              <a:avLst/>
            </a:prstGeom>
            <a:noFill/>
          </p:spPr>
          <p:txBody>
            <a:bodyPr wrap="none" lIns="0" tIns="0" rIns="0" bIns="0" rtlCol="0">
              <a:noAutofit/>
            </a:bodyPr>
            <a:lstStyle/>
            <a:p>
              <a:pPr algn="ctr">
                <a:lnSpc>
                  <a:spcPct val="110000"/>
                </a:lnSpc>
                <a:spcBef>
                  <a:spcPts val="600"/>
                </a:spcBef>
              </a:pPr>
              <a:r>
                <a:rPr lang="en-US" sz="1200" dirty="0">
                  <a:ea typeface="Human Sans" charset="0"/>
                  <a:cs typeface="Human Sans" charset="0"/>
                </a:rPr>
                <a:t>You</a:t>
              </a:r>
            </a:p>
          </p:txBody>
        </p:sp>
      </p:grpSp>
      <p:sp>
        <p:nvSpPr>
          <p:cNvPr id="35" name="Speech Bubble: Rectangle 34">
            <a:extLst>
              <a:ext uri="{FF2B5EF4-FFF2-40B4-BE49-F238E27FC236}">
                <a16:creationId xmlns:a16="http://schemas.microsoft.com/office/drawing/2014/main" id="{5A3D9C85-096D-77E0-F8FF-1459C0ADD876}"/>
              </a:ext>
            </a:extLst>
          </p:cNvPr>
          <p:cNvSpPr/>
          <p:nvPr/>
        </p:nvSpPr>
        <p:spPr bwMode="auto">
          <a:xfrm>
            <a:off x="7697873" y="4555837"/>
            <a:ext cx="396301" cy="551798"/>
          </a:xfrm>
          <a:prstGeom prst="wedgeRectCallout">
            <a:avLst/>
          </a:prstGeom>
          <a:ln/>
        </p:spPr>
        <p:style>
          <a:lnRef idx="2">
            <a:schemeClr val="dk1"/>
          </a:lnRef>
          <a:fillRef idx="1">
            <a:schemeClr val="lt1"/>
          </a:fillRef>
          <a:effectRef idx="0">
            <a:schemeClr val="dk1"/>
          </a:effectRef>
          <a:fontRef idx="minor">
            <a:schemeClr val="dk1"/>
          </a:fontRef>
        </p:style>
        <p:txBody>
          <a:bodyPr wrap="none" rtlCol="0" anchor="ctr"/>
          <a:lstStyle/>
          <a:p>
            <a:pPr algn="ctr"/>
            <a:r>
              <a:rPr lang="en-US" sz="2000" dirty="0">
                <a:ln w="0"/>
                <a:solidFill>
                  <a:schemeClr val="tx1"/>
                </a:solidFill>
                <a:effectLst>
                  <a:outerShdw blurRad="38100" dist="19050" dir="2700000" algn="tl" rotWithShape="0">
                    <a:schemeClr val="dk1">
                      <a:alpha val="40000"/>
                    </a:schemeClr>
                  </a:outerShdw>
                </a:effectLst>
                <a:latin typeface="Calibri Light" panose="020F0302020204030204" pitchFamily="34" charset="0"/>
                <a:ea typeface="Human Sans ExtraLight" charset="0"/>
                <a:cs typeface="Human Sans ExtraLight" charset="0"/>
              </a:rPr>
              <a:t>?</a:t>
            </a:r>
            <a:endParaRPr lang="en-US" sz="2000" dirty="0">
              <a:solidFill>
                <a:schemeClr val="bg1"/>
              </a:solidFill>
              <a:latin typeface="Calibri Light" panose="020F0302020204030204" pitchFamily="34" charset="0"/>
              <a:ea typeface="Human Sans ExtraLight" charset="0"/>
              <a:cs typeface="Human Sans ExtraLight" charset="0"/>
            </a:endParaRPr>
          </a:p>
        </p:txBody>
      </p:sp>
      <p:grpSp>
        <p:nvGrpSpPr>
          <p:cNvPr id="4" name="Group 3">
            <a:extLst>
              <a:ext uri="{FF2B5EF4-FFF2-40B4-BE49-F238E27FC236}">
                <a16:creationId xmlns:a16="http://schemas.microsoft.com/office/drawing/2014/main" id="{BB4845E9-5781-3F39-B75A-F8107484E395}"/>
              </a:ext>
            </a:extLst>
          </p:cNvPr>
          <p:cNvGrpSpPr/>
          <p:nvPr/>
        </p:nvGrpSpPr>
        <p:grpSpPr>
          <a:xfrm>
            <a:off x="8827288" y="550438"/>
            <a:ext cx="923632" cy="1258357"/>
            <a:chOff x="9278671" y="722843"/>
            <a:chExt cx="923632" cy="1258357"/>
          </a:xfrm>
        </p:grpSpPr>
        <p:pic>
          <p:nvPicPr>
            <p:cNvPr id="5" name="Picture 4" descr="Icon&#10;&#10;Description automatically generated">
              <a:extLst>
                <a:ext uri="{FF2B5EF4-FFF2-40B4-BE49-F238E27FC236}">
                  <a16:creationId xmlns:a16="http://schemas.microsoft.com/office/drawing/2014/main" id="{551DFBEF-7F97-AFC6-553C-1B3BBF9FFF2B}"/>
                </a:ext>
              </a:extLst>
            </p:cNvPr>
            <p:cNvPicPr>
              <a:picLocks noChangeAspect="1"/>
            </p:cNvPicPr>
            <p:nvPr/>
          </p:nvPicPr>
          <p:blipFill>
            <a:blip r:embed="rId4"/>
            <a:stretch>
              <a:fillRect/>
            </a:stretch>
          </p:blipFill>
          <p:spPr>
            <a:xfrm>
              <a:off x="9278671" y="722843"/>
              <a:ext cx="862741" cy="862741"/>
            </a:xfrm>
            <a:prstGeom prst="rect">
              <a:avLst/>
            </a:prstGeom>
          </p:spPr>
        </p:pic>
        <p:sp>
          <p:nvSpPr>
            <p:cNvPr id="6" name="TextBox 5">
              <a:extLst>
                <a:ext uri="{FF2B5EF4-FFF2-40B4-BE49-F238E27FC236}">
                  <a16:creationId xmlns:a16="http://schemas.microsoft.com/office/drawing/2014/main" id="{787D0E6B-D589-01B3-A6E4-63C68B64DD65}"/>
                </a:ext>
              </a:extLst>
            </p:cNvPr>
            <p:cNvSpPr txBox="1"/>
            <p:nvPr/>
          </p:nvSpPr>
          <p:spPr>
            <a:xfrm>
              <a:off x="9287903" y="1673675"/>
              <a:ext cx="914400" cy="307525"/>
            </a:xfrm>
            <a:prstGeom prst="rect">
              <a:avLst/>
            </a:prstGeom>
            <a:noFill/>
          </p:spPr>
          <p:txBody>
            <a:bodyPr wrap="none" lIns="0" tIns="0" rIns="0" bIns="0" rtlCol="0">
              <a:noAutofit/>
            </a:bodyPr>
            <a:lstStyle/>
            <a:p>
              <a:pPr algn="ctr">
                <a:lnSpc>
                  <a:spcPct val="110000"/>
                </a:lnSpc>
                <a:spcBef>
                  <a:spcPts val="600"/>
                </a:spcBef>
              </a:pPr>
              <a:r>
                <a:rPr lang="en-US" sz="1200" dirty="0">
                  <a:ea typeface="Human Sans" charset="0"/>
                  <a:cs typeface="Human Sans" charset="0"/>
                </a:rPr>
                <a:t>Dean - SM</a:t>
              </a:r>
            </a:p>
          </p:txBody>
        </p:sp>
      </p:grpSp>
      <p:grpSp>
        <p:nvGrpSpPr>
          <p:cNvPr id="7" name="Group 6">
            <a:extLst>
              <a:ext uri="{FF2B5EF4-FFF2-40B4-BE49-F238E27FC236}">
                <a16:creationId xmlns:a16="http://schemas.microsoft.com/office/drawing/2014/main" id="{84309EC9-FF7E-8DB6-3B0A-F24E5005367D}"/>
              </a:ext>
            </a:extLst>
          </p:cNvPr>
          <p:cNvGrpSpPr/>
          <p:nvPr/>
        </p:nvGrpSpPr>
        <p:grpSpPr>
          <a:xfrm>
            <a:off x="7748640" y="1590899"/>
            <a:ext cx="914400" cy="1280310"/>
            <a:chOff x="7949057" y="1717959"/>
            <a:chExt cx="914400" cy="1280310"/>
          </a:xfrm>
        </p:grpSpPr>
        <p:pic>
          <p:nvPicPr>
            <p:cNvPr id="9" name="Picture 8" descr="Icon, circle&#10;&#10;Description automatically generated">
              <a:extLst>
                <a:ext uri="{FF2B5EF4-FFF2-40B4-BE49-F238E27FC236}">
                  <a16:creationId xmlns:a16="http://schemas.microsoft.com/office/drawing/2014/main" id="{38E0BDAB-5373-19C6-6F91-35D85857A5DD}"/>
                </a:ext>
              </a:extLst>
            </p:cNvPr>
            <p:cNvPicPr>
              <a:picLocks noChangeAspect="1"/>
            </p:cNvPicPr>
            <p:nvPr/>
          </p:nvPicPr>
          <p:blipFill>
            <a:blip r:embed="rId5"/>
            <a:stretch>
              <a:fillRect/>
            </a:stretch>
          </p:blipFill>
          <p:spPr>
            <a:xfrm>
              <a:off x="7974889" y="1717959"/>
              <a:ext cx="862741" cy="862741"/>
            </a:xfrm>
            <a:prstGeom prst="rect">
              <a:avLst/>
            </a:prstGeom>
          </p:spPr>
        </p:pic>
        <p:sp>
          <p:nvSpPr>
            <p:cNvPr id="36" name="TextBox 35">
              <a:extLst>
                <a:ext uri="{FF2B5EF4-FFF2-40B4-BE49-F238E27FC236}">
                  <a16:creationId xmlns:a16="http://schemas.microsoft.com/office/drawing/2014/main" id="{EF22CD6A-7350-B784-9FA5-1629B4C3CE31}"/>
                </a:ext>
              </a:extLst>
            </p:cNvPr>
            <p:cNvSpPr txBox="1"/>
            <p:nvPr/>
          </p:nvSpPr>
          <p:spPr>
            <a:xfrm>
              <a:off x="7949057" y="2690744"/>
              <a:ext cx="914400" cy="307525"/>
            </a:xfrm>
            <a:prstGeom prst="rect">
              <a:avLst/>
            </a:prstGeom>
            <a:noFill/>
          </p:spPr>
          <p:txBody>
            <a:bodyPr wrap="none" lIns="0" tIns="0" rIns="0" bIns="0" rtlCol="0">
              <a:noAutofit/>
            </a:bodyPr>
            <a:lstStyle/>
            <a:p>
              <a:pPr algn="ctr">
                <a:lnSpc>
                  <a:spcPct val="110000"/>
                </a:lnSpc>
                <a:spcBef>
                  <a:spcPts val="600"/>
                </a:spcBef>
              </a:pPr>
              <a:r>
                <a:rPr lang="en-US" sz="1200" dirty="0">
                  <a:ea typeface="Human Sans" charset="0"/>
                  <a:cs typeface="Human Sans" charset="0"/>
                </a:rPr>
                <a:t>Adam – SD</a:t>
              </a:r>
            </a:p>
          </p:txBody>
        </p:sp>
      </p:grpSp>
      <p:grpSp>
        <p:nvGrpSpPr>
          <p:cNvPr id="37" name="Group 36">
            <a:extLst>
              <a:ext uri="{FF2B5EF4-FFF2-40B4-BE49-F238E27FC236}">
                <a16:creationId xmlns:a16="http://schemas.microsoft.com/office/drawing/2014/main" id="{15401A2B-13DF-F884-07EA-990F72A86F8E}"/>
              </a:ext>
            </a:extLst>
          </p:cNvPr>
          <p:cNvGrpSpPr/>
          <p:nvPr/>
        </p:nvGrpSpPr>
        <p:grpSpPr>
          <a:xfrm>
            <a:off x="9940995" y="1630369"/>
            <a:ext cx="926780" cy="1257253"/>
            <a:chOff x="10327938" y="1717960"/>
            <a:chExt cx="926780" cy="1257253"/>
          </a:xfrm>
        </p:grpSpPr>
        <p:pic>
          <p:nvPicPr>
            <p:cNvPr id="38" name="Picture 37" descr="Icon&#10;&#10;Description automatically generated">
              <a:extLst>
                <a:ext uri="{FF2B5EF4-FFF2-40B4-BE49-F238E27FC236}">
                  <a16:creationId xmlns:a16="http://schemas.microsoft.com/office/drawing/2014/main" id="{18881A4B-8FB3-CD52-49B2-C568CC61DE34}"/>
                </a:ext>
              </a:extLst>
            </p:cNvPr>
            <p:cNvPicPr>
              <a:picLocks noChangeAspect="1"/>
            </p:cNvPicPr>
            <p:nvPr/>
          </p:nvPicPr>
          <p:blipFill>
            <a:blip r:embed="rId6"/>
            <a:stretch>
              <a:fillRect/>
            </a:stretch>
          </p:blipFill>
          <p:spPr>
            <a:xfrm>
              <a:off x="10327938" y="1717960"/>
              <a:ext cx="862741" cy="862741"/>
            </a:xfrm>
            <a:prstGeom prst="rect">
              <a:avLst/>
            </a:prstGeom>
          </p:spPr>
        </p:pic>
        <p:sp>
          <p:nvSpPr>
            <p:cNvPr id="39" name="TextBox 38">
              <a:extLst>
                <a:ext uri="{FF2B5EF4-FFF2-40B4-BE49-F238E27FC236}">
                  <a16:creationId xmlns:a16="http://schemas.microsoft.com/office/drawing/2014/main" id="{123AC138-EB9B-5AF0-1D25-C569E570C2DA}"/>
                </a:ext>
              </a:extLst>
            </p:cNvPr>
            <p:cNvSpPr txBox="1"/>
            <p:nvPr/>
          </p:nvSpPr>
          <p:spPr>
            <a:xfrm>
              <a:off x="10340318" y="2667688"/>
              <a:ext cx="914400" cy="307525"/>
            </a:xfrm>
            <a:prstGeom prst="rect">
              <a:avLst/>
            </a:prstGeom>
            <a:noFill/>
          </p:spPr>
          <p:txBody>
            <a:bodyPr wrap="none" lIns="0" tIns="0" rIns="0" bIns="0" rtlCol="0">
              <a:noAutofit/>
            </a:bodyPr>
            <a:lstStyle/>
            <a:p>
              <a:pPr algn="ctr">
                <a:lnSpc>
                  <a:spcPct val="110000"/>
                </a:lnSpc>
                <a:spcBef>
                  <a:spcPts val="600"/>
                </a:spcBef>
              </a:pPr>
              <a:r>
                <a:rPr lang="en-US" sz="1200" dirty="0">
                  <a:ea typeface="Human Sans" charset="0"/>
                  <a:cs typeface="Human Sans" charset="0"/>
                </a:rPr>
                <a:t>Mary – PO/BA</a:t>
              </a:r>
            </a:p>
          </p:txBody>
        </p:sp>
      </p:grpSp>
      <p:grpSp>
        <p:nvGrpSpPr>
          <p:cNvPr id="40" name="Group 39">
            <a:extLst>
              <a:ext uri="{FF2B5EF4-FFF2-40B4-BE49-F238E27FC236}">
                <a16:creationId xmlns:a16="http://schemas.microsoft.com/office/drawing/2014/main" id="{B0B1EFE6-25B8-46DF-22EF-47268626D5DA}"/>
              </a:ext>
            </a:extLst>
          </p:cNvPr>
          <p:cNvGrpSpPr/>
          <p:nvPr/>
        </p:nvGrpSpPr>
        <p:grpSpPr>
          <a:xfrm>
            <a:off x="7610190" y="2962921"/>
            <a:ext cx="933043" cy="1261978"/>
            <a:chOff x="7810607" y="3089981"/>
            <a:chExt cx="933043" cy="1261978"/>
          </a:xfrm>
        </p:grpSpPr>
        <p:pic>
          <p:nvPicPr>
            <p:cNvPr id="41" name="Picture 40" descr="Icon&#10;&#10;Description automatically generated">
              <a:extLst>
                <a:ext uri="{FF2B5EF4-FFF2-40B4-BE49-F238E27FC236}">
                  <a16:creationId xmlns:a16="http://schemas.microsoft.com/office/drawing/2014/main" id="{5D679CD3-BC09-9870-C144-64E4120FF3EE}"/>
                </a:ext>
              </a:extLst>
            </p:cNvPr>
            <p:cNvPicPr>
              <a:picLocks noChangeAspect="1"/>
            </p:cNvPicPr>
            <p:nvPr/>
          </p:nvPicPr>
          <p:blipFill>
            <a:blip r:embed="rId7"/>
            <a:stretch>
              <a:fillRect/>
            </a:stretch>
          </p:blipFill>
          <p:spPr>
            <a:xfrm>
              <a:off x="7810607" y="3089981"/>
              <a:ext cx="862741" cy="862741"/>
            </a:xfrm>
            <a:prstGeom prst="rect">
              <a:avLst/>
            </a:prstGeom>
          </p:spPr>
        </p:pic>
        <p:sp>
          <p:nvSpPr>
            <p:cNvPr id="42" name="TextBox 41">
              <a:extLst>
                <a:ext uri="{FF2B5EF4-FFF2-40B4-BE49-F238E27FC236}">
                  <a16:creationId xmlns:a16="http://schemas.microsoft.com/office/drawing/2014/main" id="{C888D0DC-3138-63C0-086D-2383C730CE89}"/>
                </a:ext>
              </a:extLst>
            </p:cNvPr>
            <p:cNvSpPr txBox="1"/>
            <p:nvPr/>
          </p:nvSpPr>
          <p:spPr>
            <a:xfrm>
              <a:off x="7829250" y="4044434"/>
              <a:ext cx="914400" cy="307525"/>
            </a:xfrm>
            <a:prstGeom prst="rect">
              <a:avLst/>
            </a:prstGeom>
            <a:noFill/>
          </p:spPr>
          <p:txBody>
            <a:bodyPr wrap="none" lIns="0" tIns="0" rIns="0" bIns="0" rtlCol="0">
              <a:noAutofit/>
            </a:bodyPr>
            <a:lstStyle/>
            <a:p>
              <a:pPr algn="ctr">
                <a:lnSpc>
                  <a:spcPct val="110000"/>
                </a:lnSpc>
                <a:spcBef>
                  <a:spcPts val="600"/>
                </a:spcBef>
              </a:pPr>
              <a:r>
                <a:rPr lang="en-US" sz="1200" dirty="0">
                  <a:ea typeface="Human Sans" charset="0"/>
                  <a:cs typeface="Human Sans" charset="0"/>
                </a:rPr>
                <a:t>Bob – MD</a:t>
              </a:r>
            </a:p>
          </p:txBody>
        </p:sp>
      </p:grpSp>
      <p:grpSp>
        <p:nvGrpSpPr>
          <p:cNvPr id="43" name="Group 42">
            <a:extLst>
              <a:ext uri="{FF2B5EF4-FFF2-40B4-BE49-F238E27FC236}">
                <a16:creationId xmlns:a16="http://schemas.microsoft.com/office/drawing/2014/main" id="{D57BE348-96F4-A86B-766A-69EE3A26BD5F}"/>
              </a:ext>
            </a:extLst>
          </p:cNvPr>
          <p:cNvGrpSpPr/>
          <p:nvPr/>
        </p:nvGrpSpPr>
        <p:grpSpPr>
          <a:xfrm>
            <a:off x="8656115" y="2962922"/>
            <a:ext cx="914400" cy="1265709"/>
            <a:chOff x="8856532" y="3089982"/>
            <a:chExt cx="914400" cy="1265709"/>
          </a:xfrm>
        </p:grpSpPr>
        <p:pic>
          <p:nvPicPr>
            <p:cNvPr id="44" name="Picture 43" descr="Icon&#10;&#10;Description automatically generated">
              <a:extLst>
                <a:ext uri="{FF2B5EF4-FFF2-40B4-BE49-F238E27FC236}">
                  <a16:creationId xmlns:a16="http://schemas.microsoft.com/office/drawing/2014/main" id="{74801FF4-2909-3002-3F91-24C62642132B}"/>
                </a:ext>
              </a:extLst>
            </p:cNvPr>
            <p:cNvPicPr>
              <a:picLocks noChangeAspect="1"/>
            </p:cNvPicPr>
            <p:nvPr/>
          </p:nvPicPr>
          <p:blipFill>
            <a:blip r:embed="rId8"/>
            <a:stretch>
              <a:fillRect/>
            </a:stretch>
          </p:blipFill>
          <p:spPr>
            <a:xfrm>
              <a:off x="8882362" y="3089982"/>
              <a:ext cx="862741" cy="862741"/>
            </a:xfrm>
            <a:prstGeom prst="rect">
              <a:avLst/>
            </a:prstGeom>
          </p:spPr>
        </p:pic>
        <p:sp>
          <p:nvSpPr>
            <p:cNvPr id="45" name="TextBox 44">
              <a:extLst>
                <a:ext uri="{FF2B5EF4-FFF2-40B4-BE49-F238E27FC236}">
                  <a16:creationId xmlns:a16="http://schemas.microsoft.com/office/drawing/2014/main" id="{B85FC62E-3972-030F-18E0-640C16D623C7}"/>
                </a:ext>
              </a:extLst>
            </p:cNvPr>
            <p:cNvSpPr txBox="1"/>
            <p:nvPr/>
          </p:nvSpPr>
          <p:spPr>
            <a:xfrm>
              <a:off x="8856532" y="4048166"/>
              <a:ext cx="914400" cy="307525"/>
            </a:xfrm>
            <a:prstGeom prst="rect">
              <a:avLst/>
            </a:prstGeom>
            <a:noFill/>
          </p:spPr>
          <p:txBody>
            <a:bodyPr wrap="none" lIns="0" tIns="0" rIns="0" bIns="0" rtlCol="0">
              <a:noAutofit/>
            </a:bodyPr>
            <a:lstStyle/>
            <a:p>
              <a:pPr algn="ctr">
                <a:lnSpc>
                  <a:spcPct val="110000"/>
                </a:lnSpc>
                <a:spcBef>
                  <a:spcPts val="600"/>
                </a:spcBef>
              </a:pPr>
              <a:r>
                <a:rPr lang="en-US" sz="1200" dirty="0">
                  <a:ea typeface="Human Sans" charset="0"/>
                  <a:cs typeface="Human Sans" charset="0"/>
                </a:rPr>
                <a:t>Eva - JD</a:t>
              </a:r>
            </a:p>
          </p:txBody>
        </p:sp>
      </p:grpSp>
      <p:grpSp>
        <p:nvGrpSpPr>
          <p:cNvPr id="46" name="Group 45">
            <a:extLst>
              <a:ext uri="{FF2B5EF4-FFF2-40B4-BE49-F238E27FC236}">
                <a16:creationId xmlns:a16="http://schemas.microsoft.com/office/drawing/2014/main" id="{3EA658B8-54F8-A019-9430-44555FE20C4C}"/>
              </a:ext>
            </a:extLst>
          </p:cNvPr>
          <p:cNvGrpSpPr/>
          <p:nvPr/>
        </p:nvGrpSpPr>
        <p:grpSpPr>
          <a:xfrm>
            <a:off x="9915165" y="2962922"/>
            <a:ext cx="914400" cy="1285035"/>
            <a:chOff x="10115582" y="3089982"/>
            <a:chExt cx="914400" cy="1285035"/>
          </a:xfrm>
        </p:grpSpPr>
        <p:pic>
          <p:nvPicPr>
            <p:cNvPr id="47" name="Picture 46" descr="Icon&#10;&#10;Description automatically generated">
              <a:extLst>
                <a:ext uri="{FF2B5EF4-FFF2-40B4-BE49-F238E27FC236}">
                  <a16:creationId xmlns:a16="http://schemas.microsoft.com/office/drawing/2014/main" id="{7F723980-9F86-DB0F-2C39-652042288F24}"/>
                </a:ext>
              </a:extLst>
            </p:cNvPr>
            <p:cNvPicPr>
              <a:picLocks noChangeAspect="1"/>
            </p:cNvPicPr>
            <p:nvPr/>
          </p:nvPicPr>
          <p:blipFill>
            <a:blip r:embed="rId9"/>
            <a:stretch>
              <a:fillRect/>
            </a:stretch>
          </p:blipFill>
          <p:spPr>
            <a:xfrm>
              <a:off x="10141412" y="3089982"/>
              <a:ext cx="862741" cy="862741"/>
            </a:xfrm>
            <a:prstGeom prst="rect">
              <a:avLst/>
            </a:prstGeom>
          </p:spPr>
        </p:pic>
        <p:sp>
          <p:nvSpPr>
            <p:cNvPr id="48" name="TextBox 47">
              <a:extLst>
                <a:ext uri="{FF2B5EF4-FFF2-40B4-BE49-F238E27FC236}">
                  <a16:creationId xmlns:a16="http://schemas.microsoft.com/office/drawing/2014/main" id="{A41BCC08-3034-1F8B-3F21-EECBD65EB641}"/>
                </a:ext>
              </a:extLst>
            </p:cNvPr>
            <p:cNvSpPr txBox="1"/>
            <p:nvPr/>
          </p:nvSpPr>
          <p:spPr>
            <a:xfrm>
              <a:off x="10115582" y="4067492"/>
              <a:ext cx="914400" cy="307525"/>
            </a:xfrm>
            <a:prstGeom prst="rect">
              <a:avLst/>
            </a:prstGeom>
            <a:noFill/>
          </p:spPr>
          <p:txBody>
            <a:bodyPr wrap="none" lIns="0" tIns="0" rIns="0" bIns="0" rtlCol="0">
              <a:noAutofit/>
            </a:bodyPr>
            <a:lstStyle/>
            <a:p>
              <a:pPr algn="ctr">
                <a:lnSpc>
                  <a:spcPct val="110000"/>
                </a:lnSpc>
                <a:spcBef>
                  <a:spcPts val="600"/>
                </a:spcBef>
              </a:pPr>
              <a:r>
                <a:rPr lang="en-US" sz="1200" dirty="0">
                  <a:ea typeface="Human Sans" charset="0"/>
                  <a:cs typeface="Human Sans" charset="0"/>
                </a:rPr>
                <a:t>Diana - QA</a:t>
              </a:r>
            </a:p>
          </p:txBody>
        </p:sp>
      </p:grpSp>
      <p:grpSp>
        <p:nvGrpSpPr>
          <p:cNvPr id="49" name="Group 48">
            <a:extLst>
              <a:ext uri="{FF2B5EF4-FFF2-40B4-BE49-F238E27FC236}">
                <a16:creationId xmlns:a16="http://schemas.microsoft.com/office/drawing/2014/main" id="{2328E9C9-E83C-362D-F6D2-A69E23B0BBA1}"/>
              </a:ext>
            </a:extLst>
          </p:cNvPr>
          <p:cNvGrpSpPr/>
          <p:nvPr/>
        </p:nvGrpSpPr>
        <p:grpSpPr>
          <a:xfrm>
            <a:off x="9953375" y="4368223"/>
            <a:ext cx="914400" cy="1246962"/>
            <a:chOff x="10338849" y="4462008"/>
            <a:chExt cx="914400" cy="1246962"/>
          </a:xfrm>
        </p:grpSpPr>
        <p:pic>
          <p:nvPicPr>
            <p:cNvPr id="50" name="Picture 49" descr="Icon&#10;&#10;Description automatically generated">
              <a:extLst>
                <a:ext uri="{FF2B5EF4-FFF2-40B4-BE49-F238E27FC236}">
                  <a16:creationId xmlns:a16="http://schemas.microsoft.com/office/drawing/2014/main" id="{7664D971-33C2-298C-5CDD-B8E9723F4675}"/>
                </a:ext>
              </a:extLst>
            </p:cNvPr>
            <p:cNvPicPr>
              <a:picLocks noChangeAspect="1"/>
            </p:cNvPicPr>
            <p:nvPr/>
          </p:nvPicPr>
          <p:blipFill>
            <a:blip r:embed="rId10"/>
            <a:stretch>
              <a:fillRect/>
            </a:stretch>
          </p:blipFill>
          <p:spPr>
            <a:xfrm>
              <a:off x="10364679" y="4462008"/>
              <a:ext cx="862741" cy="862741"/>
            </a:xfrm>
            <a:prstGeom prst="rect">
              <a:avLst/>
            </a:prstGeom>
          </p:spPr>
        </p:pic>
        <p:sp>
          <p:nvSpPr>
            <p:cNvPr id="51" name="TextBox 50">
              <a:extLst>
                <a:ext uri="{FF2B5EF4-FFF2-40B4-BE49-F238E27FC236}">
                  <a16:creationId xmlns:a16="http://schemas.microsoft.com/office/drawing/2014/main" id="{FE7FEC11-0F04-314D-D4CF-BB326136E17C}"/>
                </a:ext>
              </a:extLst>
            </p:cNvPr>
            <p:cNvSpPr txBox="1"/>
            <p:nvPr/>
          </p:nvSpPr>
          <p:spPr>
            <a:xfrm>
              <a:off x="10338849" y="5401445"/>
              <a:ext cx="914400" cy="307525"/>
            </a:xfrm>
            <a:prstGeom prst="rect">
              <a:avLst/>
            </a:prstGeom>
            <a:noFill/>
          </p:spPr>
          <p:txBody>
            <a:bodyPr wrap="none" lIns="0" tIns="0" rIns="0" bIns="0" rtlCol="0">
              <a:noAutofit/>
            </a:bodyPr>
            <a:lstStyle/>
            <a:p>
              <a:pPr algn="ctr">
                <a:lnSpc>
                  <a:spcPct val="110000"/>
                </a:lnSpc>
                <a:spcBef>
                  <a:spcPts val="600"/>
                </a:spcBef>
              </a:pPr>
              <a:r>
                <a:rPr lang="en-US" sz="1200" dirty="0">
                  <a:ea typeface="Human Sans" charset="0"/>
                  <a:cs typeface="Human Sans" charset="0"/>
                </a:rPr>
                <a:t>Pavel - DevOps</a:t>
              </a:r>
            </a:p>
          </p:txBody>
        </p:sp>
      </p:grpSp>
    </p:spTree>
    <p:extLst>
      <p:ext uri="{BB962C8B-B14F-4D97-AF65-F5344CB8AC3E}">
        <p14:creationId xmlns:p14="http://schemas.microsoft.com/office/powerpoint/2010/main" val="3173873053"/>
      </p:ext>
    </p:extLst>
  </p:cSld>
  <p:clrMapOvr>
    <a:masterClrMapping/>
  </p:clrMapOvr>
  <p:transition spd="slow">
    <p:push dir="u"/>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3E7B12-94E5-1E8A-9A20-C930CC8426EB}"/>
              </a:ext>
            </a:extLst>
          </p:cNvPr>
          <p:cNvSpPr>
            <a:spLocks noGrp="1"/>
          </p:cNvSpPr>
          <p:nvPr>
            <p:ph type="title"/>
          </p:nvPr>
        </p:nvSpPr>
        <p:spPr>
          <a:xfrm>
            <a:off x="639073" y="1424520"/>
            <a:ext cx="5333999" cy="3447098"/>
          </a:xfrm>
        </p:spPr>
        <p:txBody>
          <a:bodyPr/>
          <a:lstStyle/>
          <a:p>
            <a:r>
              <a:rPr lang="en-US" sz="3200" dirty="0"/>
              <a:t>With the project nearing completion and high team morale.</a:t>
            </a:r>
            <a:br>
              <a:rPr lang="en-US" sz="3200" dirty="0"/>
            </a:br>
            <a:r>
              <a:rPr lang="en-US" sz="3200" dirty="0">
                <a:solidFill>
                  <a:schemeClr val="accent6"/>
                </a:solidFill>
                <a:latin typeface="Calibri" panose="020F0502020204030204" pitchFamily="34" charset="0"/>
                <a:cs typeface="Calibri" panose="020F0502020204030204" pitchFamily="34" charset="0"/>
              </a:rPr>
              <a:t>What steps do you take to ensure a smooth transition or redeployment for team members?</a:t>
            </a:r>
          </a:p>
        </p:txBody>
      </p:sp>
      <p:sp>
        <p:nvSpPr>
          <p:cNvPr id="8" name="Text Placeholder 7">
            <a:extLst>
              <a:ext uri="{FF2B5EF4-FFF2-40B4-BE49-F238E27FC236}">
                <a16:creationId xmlns:a16="http://schemas.microsoft.com/office/drawing/2014/main" id="{A33CA039-DE3C-5D85-0DB8-D98A38BFDC35}"/>
              </a:ext>
            </a:extLst>
          </p:cNvPr>
          <p:cNvSpPr>
            <a:spLocks noGrp="1"/>
          </p:cNvSpPr>
          <p:nvPr>
            <p:ph type="body" sz="quarter" idx="28"/>
          </p:nvPr>
        </p:nvSpPr>
        <p:spPr>
          <a:xfrm>
            <a:off x="627063" y="419100"/>
            <a:ext cx="3725862" cy="397732"/>
          </a:xfrm>
        </p:spPr>
        <p:txBody>
          <a:bodyPr>
            <a:normAutofit/>
          </a:bodyPr>
          <a:lstStyle/>
          <a:p>
            <a:r>
              <a:rPr lang="en-US" dirty="0"/>
              <a:t>Team Leadership workshop: USE-cases</a:t>
            </a:r>
          </a:p>
        </p:txBody>
      </p:sp>
      <p:sp>
        <p:nvSpPr>
          <p:cNvPr id="10" name="Text Placeholder 9">
            <a:extLst>
              <a:ext uri="{FF2B5EF4-FFF2-40B4-BE49-F238E27FC236}">
                <a16:creationId xmlns:a16="http://schemas.microsoft.com/office/drawing/2014/main" id="{1F88C411-8C59-AFA3-5C10-11E75FDF9817}"/>
              </a:ext>
            </a:extLst>
          </p:cNvPr>
          <p:cNvSpPr>
            <a:spLocks noGrp="1"/>
          </p:cNvSpPr>
          <p:nvPr>
            <p:ph type="body" sz="quarter" idx="25"/>
          </p:nvPr>
        </p:nvSpPr>
        <p:spPr>
          <a:xfrm>
            <a:off x="627063" y="722842"/>
            <a:ext cx="4646395" cy="397731"/>
          </a:xfrm>
        </p:spPr>
        <p:txBody>
          <a:bodyPr/>
          <a:lstStyle/>
          <a:p>
            <a:r>
              <a:rPr lang="en-US" dirty="0"/>
              <a:t>Case 12: The End</a:t>
            </a:r>
          </a:p>
        </p:txBody>
      </p:sp>
      <p:grpSp>
        <p:nvGrpSpPr>
          <p:cNvPr id="32" name="Group 31">
            <a:extLst>
              <a:ext uri="{FF2B5EF4-FFF2-40B4-BE49-F238E27FC236}">
                <a16:creationId xmlns:a16="http://schemas.microsoft.com/office/drawing/2014/main" id="{38CAE5AD-B9D9-1BE3-D8DA-9F3BAC97EFE3}"/>
              </a:ext>
            </a:extLst>
          </p:cNvPr>
          <p:cNvGrpSpPr/>
          <p:nvPr/>
        </p:nvGrpSpPr>
        <p:grpSpPr>
          <a:xfrm>
            <a:off x="7031633" y="5174495"/>
            <a:ext cx="914400" cy="1507452"/>
            <a:chOff x="7954394" y="5075784"/>
            <a:chExt cx="914400" cy="1507452"/>
          </a:xfrm>
        </p:grpSpPr>
        <p:pic>
          <p:nvPicPr>
            <p:cNvPr id="33" name="Picture 32" descr="Icon&#10;&#10;Description automatically generated">
              <a:extLst>
                <a:ext uri="{FF2B5EF4-FFF2-40B4-BE49-F238E27FC236}">
                  <a16:creationId xmlns:a16="http://schemas.microsoft.com/office/drawing/2014/main" id="{2F838510-22B0-4FBB-C199-A585524A88F1}"/>
                </a:ext>
              </a:extLst>
            </p:cNvPr>
            <p:cNvPicPr>
              <a:picLocks noChangeAspect="1"/>
            </p:cNvPicPr>
            <p:nvPr/>
          </p:nvPicPr>
          <p:blipFill>
            <a:blip r:embed="rId3"/>
            <a:stretch>
              <a:fillRect/>
            </a:stretch>
          </p:blipFill>
          <p:spPr>
            <a:xfrm>
              <a:off x="7974887" y="5075784"/>
              <a:ext cx="862741" cy="1133067"/>
            </a:xfrm>
            <a:prstGeom prst="rect">
              <a:avLst/>
            </a:prstGeom>
          </p:spPr>
        </p:pic>
        <p:sp>
          <p:nvSpPr>
            <p:cNvPr id="34" name="TextBox 33">
              <a:extLst>
                <a:ext uri="{FF2B5EF4-FFF2-40B4-BE49-F238E27FC236}">
                  <a16:creationId xmlns:a16="http://schemas.microsoft.com/office/drawing/2014/main" id="{587F560B-62C0-B867-EC11-79B4C360893D}"/>
                </a:ext>
              </a:extLst>
            </p:cNvPr>
            <p:cNvSpPr txBox="1"/>
            <p:nvPr/>
          </p:nvSpPr>
          <p:spPr>
            <a:xfrm>
              <a:off x="7954394" y="6275711"/>
              <a:ext cx="914400" cy="307525"/>
            </a:xfrm>
            <a:prstGeom prst="rect">
              <a:avLst/>
            </a:prstGeom>
            <a:noFill/>
          </p:spPr>
          <p:txBody>
            <a:bodyPr wrap="none" lIns="0" tIns="0" rIns="0" bIns="0" rtlCol="0">
              <a:noAutofit/>
            </a:bodyPr>
            <a:lstStyle/>
            <a:p>
              <a:pPr algn="ctr">
                <a:lnSpc>
                  <a:spcPct val="110000"/>
                </a:lnSpc>
                <a:spcBef>
                  <a:spcPts val="600"/>
                </a:spcBef>
              </a:pPr>
              <a:r>
                <a:rPr lang="en-US" sz="1200" dirty="0">
                  <a:ea typeface="Human Sans" charset="0"/>
                  <a:cs typeface="Human Sans" charset="0"/>
                </a:rPr>
                <a:t>You</a:t>
              </a:r>
            </a:p>
          </p:txBody>
        </p:sp>
      </p:grpSp>
      <p:sp>
        <p:nvSpPr>
          <p:cNvPr id="35" name="Speech Bubble: Rectangle 34">
            <a:extLst>
              <a:ext uri="{FF2B5EF4-FFF2-40B4-BE49-F238E27FC236}">
                <a16:creationId xmlns:a16="http://schemas.microsoft.com/office/drawing/2014/main" id="{5A3D9C85-096D-77E0-F8FF-1459C0ADD876}"/>
              </a:ext>
            </a:extLst>
          </p:cNvPr>
          <p:cNvSpPr/>
          <p:nvPr/>
        </p:nvSpPr>
        <p:spPr bwMode="auto">
          <a:xfrm>
            <a:off x="7697873" y="4555837"/>
            <a:ext cx="396301" cy="551798"/>
          </a:xfrm>
          <a:prstGeom prst="wedgeRectCallout">
            <a:avLst/>
          </a:prstGeom>
          <a:ln/>
        </p:spPr>
        <p:style>
          <a:lnRef idx="2">
            <a:schemeClr val="dk1"/>
          </a:lnRef>
          <a:fillRef idx="1">
            <a:schemeClr val="lt1"/>
          </a:fillRef>
          <a:effectRef idx="0">
            <a:schemeClr val="dk1"/>
          </a:effectRef>
          <a:fontRef idx="minor">
            <a:schemeClr val="dk1"/>
          </a:fontRef>
        </p:style>
        <p:txBody>
          <a:bodyPr wrap="none" rtlCol="0" anchor="ctr"/>
          <a:lstStyle/>
          <a:p>
            <a:pPr algn="ctr"/>
            <a:r>
              <a:rPr lang="en-US" sz="2000" dirty="0">
                <a:ln w="0"/>
                <a:solidFill>
                  <a:schemeClr val="tx1"/>
                </a:solidFill>
                <a:effectLst>
                  <a:outerShdw blurRad="38100" dist="19050" dir="2700000" algn="tl" rotWithShape="0">
                    <a:schemeClr val="dk1">
                      <a:alpha val="40000"/>
                    </a:schemeClr>
                  </a:outerShdw>
                </a:effectLst>
                <a:latin typeface="Calibri Light" panose="020F0302020204030204" pitchFamily="34" charset="0"/>
                <a:ea typeface="Human Sans ExtraLight" charset="0"/>
                <a:cs typeface="Human Sans ExtraLight" charset="0"/>
              </a:rPr>
              <a:t>?</a:t>
            </a:r>
            <a:endParaRPr lang="en-US" sz="2000" dirty="0">
              <a:solidFill>
                <a:schemeClr val="bg1"/>
              </a:solidFill>
              <a:latin typeface="Calibri Light" panose="020F0302020204030204" pitchFamily="34" charset="0"/>
              <a:ea typeface="Human Sans ExtraLight" charset="0"/>
              <a:cs typeface="Human Sans ExtraLight" charset="0"/>
            </a:endParaRPr>
          </a:p>
        </p:txBody>
      </p:sp>
      <p:grpSp>
        <p:nvGrpSpPr>
          <p:cNvPr id="4" name="Group 3">
            <a:extLst>
              <a:ext uri="{FF2B5EF4-FFF2-40B4-BE49-F238E27FC236}">
                <a16:creationId xmlns:a16="http://schemas.microsoft.com/office/drawing/2014/main" id="{BB4845E9-5781-3F39-B75A-F8107484E395}"/>
              </a:ext>
            </a:extLst>
          </p:cNvPr>
          <p:cNvGrpSpPr/>
          <p:nvPr/>
        </p:nvGrpSpPr>
        <p:grpSpPr>
          <a:xfrm>
            <a:off x="8827288" y="550438"/>
            <a:ext cx="923632" cy="1258357"/>
            <a:chOff x="9278671" y="722843"/>
            <a:chExt cx="923632" cy="1258357"/>
          </a:xfrm>
        </p:grpSpPr>
        <p:pic>
          <p:nvPicPr>
            <p:cNvPr id="5" name="Picture 4" descr="Icon&#10;&#10;Description automatically generated">
              <a:extLst>
                <a:ext uri="{FF2B5EF4-FFF2-40B4-BE49-F238E27FC236}">
                  <a16:creationId xmlns:a16="http://schemas.microsoft.com/office/drawing/2014/main" id="{551DFBEF-7F97-AFC6-553C-1B3BBF9FFF2B}"/>
                </a:ext>
              </a:extLst>
            </p:cNvPr>
            <p:cNvPicPr>
              <a:picLocks noChangeAspect="1"/>
            </p:cNvPicPr>
            <p:nvPr/>
          </p:nvPicPr>
          <p:blipFill>
            <a:blip r:embed="rId4"/>
            <a:stretch>
              <a:fillRect/>
            </a:stretch>
          </p:blipFill>
          <p:spPr>
            <a:xfrm>
              <a:off x="9278671" y="722843"/>
              <a:ext cx="862741" cy="862741"/>
            </a:xfrm>
            <a:prstGeom prst="rect">
              <a:avLst/>
            </a:prstGeom>
          </p:spPr>
        </p:pic>
        <p:sp>
          <p:nvSpPr>
            <p:cNvPr id="6" name="TextBox 5">
              <a:extLst>
                <a:ext uri="{FF2B5EF4-FFF2-40B4-BE49-F238E27FC236}">
                  <a16:creationId xmlns:a16="http://schemas.microsoft.com/office/drawing/2014/main" id="{787D0E6B-D589-01B3-A6E4-63C68B64DD65}"/>
                </a:ext>
              </a:extLst>
            </p:cNvPr>
            <p:cNvSpPr txBox="1"/>
            <p:nvPr/>
          </p:nvSpPr>
          <p:spPr>
            <a:xfrm>
              <a:off x="9287903" y="1673675"/>
              <a:ext cx="914400" cy="307525"/>
            </a:xfrm>
            <a:prstGeom prst="rect">
              <a:avLst/>
            </a:prstGeom>
            <a:noFill/>
          </p:spPr>
          <p:txBody>
            <a:bodyPr wrap="none" lIns="0" tIns="0" rIns="0" bIns="0" rtlCol="0">
              <a:noAutofit/>
            </a:bodyPr>
            <a:lstStyle/>
            <a:p>
              <a:pPr algn="ctr">
                <a:lnSpc>
                  <a:spcPct val="110000"/>
                </a:lnSpc>
                <a:spcBef>
                  <a:spcPts val="600"/>
                </a:spcBef>
              </a:pPr>
              <a:r>
                <a:rPr lang="en-US" sz="1200" dirty="0">
                  <a:ea typeface="Human Sans" charset="0"/>
                  <a:cs typeface="Human Sans" charset="0"/>
                </a:rPr>
                <a:t>Dean - SM</a:t>
              </a:r>
            </a:p>
          </p:txBody>
        </p:sp>
      </p:grpSp>
      <p:grpSp>
        <p:nvGrpSpPr>
          <p:cNvPr id="7" name="Group 6">
            <a:extLst>
              <a:ext uri="{FF2B5EF4-FFF2-40B4-BE49-F238E27FC236}">
                <a16:creationId xmlns:a16="http://schemas.microsoft.com/office/drawing/2014/main" id="{84309EC9-FF7E-8DB6-3B0A-F24E5005367D}"/>
              </a:ext>
            </a:extLst>
          </p:cNvPr>
          <p:cNvGrpSpPr/>
          <p:nvPr/>
        </p:nvGrpSpPr>
        <p:grpSpPr>
          <a:xfrm>
            <a:off x="7748640" y="1590899"/>
            <a:ext cx="914400" cy="1280310"/>
            <a:chOff x="7949057" y="1717959"/>
            <a:chExt cx="914400" cy="1280310"/>
          </a:xfrm>
        </p:grpSpPr>
        <p:pic>
          <p:nvPicPr>
            <p:cNvPr id="9" name="Picture 8" descr="Icon, circle&#10;&#10;Description automatically generated">
              <a:extLst>
                <a:ext uri="{FF2B5EF4-FFF2-40B4-BE49-F238E27FC236}">
                  <a16:creationId xmlns:a16="http://schemas.microsoft.com/office/drawing/2014/main" id="{38E0BDAB-5373-19C6-6F91-35D85857A5DD}"/>
                </a:ext>
              </a:extLst>
            </p:cNvPr>
            <p:cNvPicPr>
              <a:picLocks noChangeAspect="1"/>
            </p:cNvPicPr>
            <p:nvPr/>
          </p:nvPicPr>
          <p:blipFill>
            <a:blip r:embed="rId5"/>
            <a:stretch>
              <a:fillRect/>
            </a:stretch>
          </p:blipFill>
          <p:spPr>
            <a:xfrm>
              <a:off x="7974889" y="1717959"/>
              <a:ext cx="862741" cy="862741"/>
            </a:xfrm>
            <a:prstGeom prst="rect">
              <a:avLst/>
            </a:prstGeom>
          </p:spPr>
        </p:pic>
        <p:sp>
          <p:nvSpPr>
            <p:cNvPr id="36" name="TextBox 35">
              <a:extLst>
                <a:ext uri="{FF2B5EF4-FFF2-40B4-BE49-F238E27FC236}">
                  <a16:creationId xmlns:a16="http://schemas.microsoft.com/office/drawing/2014/main" id="{EF22CD6A-7350-B784-9FA5-1629B4C3CE31}"/>
                </a:ext>
              </a:extLst>
            </p:cNvPr>
            <p:cNvSpPr txBox="1"/>
            <p:nvPr/>
          </p:nvSpPr>
          <p:spPr>
            <a:xfrm>
              <a:off x="7949057" y="2690744"/>
              <a:ext cx="914400" cy="307525"/>
            </a:xfrm>
            <a:prstGeom prst="rect">
              <a:avLst/>
            </a:prstGeom>
            <a:noFill/>
          </p:spPr>
          <p:txBody>
            <a:bodyPr wrap="none" lIns="0" tIns="0" rIns="0" bIns="0" rtlCol="0">
              <a:noAutofit/>
            </a:bodyPr>
            <a:lstStyle/>
            <a:p>
              <a:pPr algn="ctr">
                <a:lnSpc>
                  <a:spcPct val="110000"/>
                </a:lnSpc>
                <a:spcBef>
                  <a:spcPts val="600"/>
                </a:spcBef>
              </a:pPr>
              <a:r>
                <a:rPr lang="en-US" sz="1200" dirty="0">
                  <a:ea typeface="Human Sans" charset="0"/>
                  <a:cs typeface="Human Sans" charset="0"/>
                </a:rPr>
                <a:t>Adam – SD</a:t>
              </a:r>
            </a:p>
          </p:txBody>
        </p:sp>
      </p:grpSp>
      <p:grpSp>
        <p:nvGrpSpPr>
          <p:cNvPr id="37" name="Group 36">
            <a:extLst>
              <a:ext uri="{FF2B5EF4-FFF2-40B4-BE49-F238E27FC236}">
                <a16:creationId xmlns:a16="http://schemas.microsoft.com/office/drawing/2014/main" id="{15401A2B-13DF-F884-07EA-990F72A86F8E}"/>
              </a:ext>
            </a:extLst>
          </p:cNvPr>
          <p:cNvGrpSpPr/>
          <p:nvPr/>
        </p:nvGrpSpPr>
        <p:grpSpPr>
          <a:xfrm>
            <a:off x="9940995" y="1630369"/>
            <a:ext cx="926780" cy="1257253"/>
            <a:chOff x="10327938" y="1717960"/>
            <a:chExt cx="926780" cy="1257253"/>
          </a:xfrm>
        </p:grpSpPr>
        <p:pic>
          <p:nvPicPr>
            <p:cNvPr id="38" name="Picture 37" descr="Icon&#10;&#10;Description automatically generated">
              <a:extLst>
                <a:ext uri="{FF2B5EF4-FFF2-40B4-BE49-F238E27FC236}">
                  <a16:creationId xmlns:a16="http://schemas.microsoft.com/office/drawing/2014/main" id="{18881A4B-8FB3-CD52-49B2-C568CC61DE34}"/>
                </a:ext>
              </a:extLst>
            </p:cNvPr>
            <p:cNvPicPr>
              <a:picLocks noChangeAspect="1"/>
            </p:cNvPicPr>
            <p:nvPr/>
          </p:nvPicPr>
          <p:blipFill>
            <a:blip r:embed="rId6"/>
            <a:stretch>
              <a:fillRect/>
            </a:stretch>
          </p:blipFill>
          <p:spPr>
            <a:xfrm>
              <a:off x="10327938" y="1717960"/>
              <a:ext cx="862741" cy="862741"/>
            </a:xfrm>
            <a:prstGeom prst="rect">
              <a:avLst/>
            </a:prstGeom>
          </p:spPr>
        </p:pic>
        <p:sp>
          <p:nvSpPr>
            <p:cNvPr id="39" name="TextBox 38">
              <a:extLst>
                <a:ext uri="{FF2B5EF4-FFF2-40B4-BE49-F238E27FC236}">
                  <a16:creationId xmlns:a16="http://schemas.microsoft.com/office/drawing/2014/main" id="{123AC138-EB9B-5AF0-1D25-C569E570C2DA}"/>
                </a:ext>
              </a:extLst>
            </p:cNvPr>
            <p:cNvSpPr txBox="1"/>
            <p:nvPr/>
          </p:nvSpPr>
          <p:spPr>
            <a:xfrm>
              <a:off x="10340318" y="2667688"/>
              <a:ext cx="914400" cy="307525"/>
            </a:xfrm>
            <a:prstGeom prst="rect">
              <a:avLst/>
            </a:prstGeom>
            <a:noFill/>
          </p:spPr>
          <p:txBody>
            <a:bodyPr wrap="none" lIns="0" tIns="0" rIns="0" bIns="0" rtlCol="0">
              <a:noAutofit/>
            </a:bodyPr>
            <a:lstStyle/>
            <a:p>
              <a:pPr algn="ctr">
                <a:lnSpc>
                  <a:spcPct val="110000"/>
                </a:lnSpc>
                <a:spcBef>
                  <a:spcPts val="600"/>
                </a:spcBef>
              </a:pPr>
              <a:r>
                <a:rPr lang="en-US" sz="1200" dirty="0">
                  <a:ea typeface="Human Sans" charset="0"/>
                  <a:cs typeface="Human Sans" charset="0"/>
                </a:rPr>
                <a:t>Mary – PO/BA</a:t>
              </a:r>
            </a:p>
          </p:txBody>
        </p:sp>
      </p:grpSp>
      <p:grpSp>
        <p:nvGrpSpPr>
          <p:cNvPr id="40" name="Group 39">
            <a:extLst>
              <a:ext uri="{FF2B5EF4-FFF2-40B4-BE49-F238E27FC236}">
                <a16:creationId xmlns:a16="http://schemas.microsoft.com/office/drawing/2014/main" id="{B0B1EFE6-25B8-46DF-22EF-47268626D5DA}"/>
              </a:ext>
            </a:extLst>
          </p:cNvPr>
          <p:cNvGrpSpPr/>
          <p:nvPr/>
        </p:nvGrpSpPr>
        <p:grpSpPr>
          <a:xfrm>
            <a:off x="7610190" y="2962921"/>
            <a:ext cx="933043" cy="1261978"/>
            <a:chOff x="7810607" y="3089981"/>
            <a:chExt cx="933043" cy="1261978"/>
          </a:xfrm>
        </p:grpSpPr>
        <p:pic>
          <p:nvPicPr>
            <p:cNvPr id="41" name="Picture 40" descr="Icon&#10;&#10;Description automatically generated">
              <a:extLst>
                <a:ext uri="{FF2B5EF4-FFF2-40B4-BE49-F238E27FC236}">
                  <a16:creationId xmlns:a16="http://schemas.microsoft.com/office/drawing/2014/main" id="{5D679CD3-BC09-9870-C144-64E4120FF3EE}"/>
                </a:ext>
              </a:extLst>
            </p:cNvPr>
            <p:cNvPicPr>
              <a:picLocks noChangeAspect="1"/>
            </p:cNvPicPr>
            <p:nvPr/>
          </p:nvPicPr>
          <p:blipFill>
            <a:blip r:embed="rId7"/>
            <a:stretch>
              <a:fillRect/>
            </a:stretch>
          </p:blipFill>
          <p:spPr>
            <a:xfrm>
              <a:off x="7810607" y="3089981"/>
              <a:ext cx="862741" cy="862741"/>
            </a:xfrm>
            <a:prstGeom prst="rect">
              <a:avLst/>
            </a:prstGeom>
          </p:spPr>
        </p:pic>
        <p:sp>
          <p:nvSpPr>
            <p:cNvPr id="42" name="TextBox 41">
              <a:extLst>
                <a:ext uri="{FF2B5EF4-FFF2-40B4-BE49-F238E27FC236}">
                  <a16:creationId xmlns:a16="http://schemas.microsoft.com/office/drawing/2014/main" id="{C888D0DC-3138-63C0-086D-2383C730CE89}"/>
                </a:ext>
              </a:extLst>
            </p:cNvPr>
            <p:cNvSpPr txBox="1"/>
            <p:nvPr/>
          </p:nvSpPr>
          <p:spPr>
            <a:xfrm>
              <a:off x="7829250" y="4044434"/>
              <a:ext cx="914400" cy="307525"/>
            </a:xfrm>
            <a:prstGeom prst="rect">
              <a:avLst/>
            </a:prstGeom>
            <a:noFill/>
          </p:spPr>
          <p:txBody>
            <a:bodyPr wrap="none" lIns="0" tIns="0" rIns="0" bIns="0" rtlCol="0">
              <a:noAutofit/>
            </a:bodyPr>
            <a:lstStyle/>
            <a:p>
              <a:pPr algn="ctr">
                <a:lnSpc>
                  <a:spcPct val="110000"/>
                </a:lnSpc>
                <a:spcBef>
                  <a:spcPts val="600"/>
                </a:spcBef>
              </a:pPr>
              <a:r>
                <a:rPr lang="en-US" sz="1200" dirty="0">
                  <a:ea typeface="Human Sans" charset="0"/>
                  <a:cs typeface="Human Sans" charset="0"/>
                </a:rPr>
                <a:t>Bob – MD</a:t>
              </a:r>
            </a:p>
          </p:txBody>
        </p:sp>
      </p:grpSp>
      <p:grpSp>
        <p:nvGrpSpPr>
          <p:cNvPr id="43" name="Group 42">
            <a:extLst>
              <a:ext uri="{FF2B5EF4-FFF2-40B4-BE49-F238E27FC236}">
                <a16:creationId xmlns:a16="http://schemas.microsoft.com/office/drawing/2014/main" id="{D57BE348-96F4-A86B-766A-69EE3A26BD5F}"/>
              </a:ext>
            </a:extLst>
          </p:cNvPr>
          <p:cNvGrpSpPr/>
          <p:nvPr/>
        </p:nvGrpSpPr>
        <p:grpSpPr>
          <a:xfrm>
            <a:off x="8656115" y="2962922"/>
            <a:ext cx="914400" cy="1265709"/>
            <a:chOff x="8856532" y="3089982"/>
            <a:chExt cx="914400" cy="1265709"/>
          </a:xfrm>
        </p:grpSpPr>
        <p:pic>
          <p:nvPicPr>
            <p:cNvPr id="44" name="Picture 43" descr="Icon&#10;&#10;Description automatically generated">
              <a:extLst>
                <a:ext uri="{FF2B5EF4-FFF2-40B4-BE49-F238E27FC236}">
                  <a16:creationId xmlns:a16="http://schemas.microsoft.com/office/drawing/2014/main" id="{74801FF4-2909-3002-3F91-24C62642132B}"/>
                </a:ext>
              </a:extLst>
            </p:cNvPr>
            <p:cNvPicPr>
              <a:picLocks noChangeAspect="1"/>
            </p:cNvPicPr>
            <p:nvPr/>
          </p:nvPicPr>
          <p:blipFill>
            <a:blip r:embed="rId8"/>
            <a:stretch>
              <a:fillRect/>
            </a:stretch>
          </p:blipFill>
          <p:spPr>
            <a:xfrm>
              <a:off x="8882362" y="3089982"/>
              <a:ext cx="862741" cy="862741"/>
            </a:xfrm>
            <a:prstGeom prst="rect">
              <a:avLst/>
            </a:prstGeom>
          </p:spPr>
        </p:pic>
        <p:sp>
          <p:nvSpPr>
            <p:cNvPr id="45" name="TextBox 44">
              <a:extLst>
                <a:ext uri="{FF2B5EF4-FFF2-40B4-BE49-F238E27FC236}">
                  <a16:creationId xmlns:a16="http://schemas.microsoft.com/office/drawing/2014/main" id="{B85FC62E-3972-030F-18E0-640C16D623C7}"/>
                </a:ext>
              </a:extLst>
            </p:cNvPr>
            <p:cNvSpPr txBox="1"/>
            <p:nvPr/>
          </p:nvSpPr>
          <p:spPr>
            <a:xfrm>
              <a:off x="8856532" y="4048166"/>
              <a:ext cx="914400" cy="307525"/>
            </a:xfrm>
            <a:prstGeom prst="rect">
              <a:avLst/>
            </a:prstGeom>
            <a:noFill/>
          </p:spPr>
          <p:txBody>
            <a:bodyPr wrap="none" lIns="0" tIns="0" rIns="0" bIns="0" rtlCol="0">
              <a:noAutofit/>
            </a:bodyPr>
            <a:lstStyle/>
            <a:p>
              <a:pPr algn="ctr">
                <a:lnSpc>
                  <a:spcPct val="110000"/>
                </a:lnSpc>
                <a:spcBef>
                  <a:spcPts val="600"/>
                </a:spcBef>
              </a:pPr>
              <a:r>
                <a:rPr lang="en-US" sz="1200" dirty="0">
                  <a:ea typeface="Human Sans" charset="0"/>
                  <a:cs typeface="Human Sans" charset="0"/>
                </a:rPr>
                <a:t>Eva - JD</a:t>
              </a:r>
            </a:p>
          </p:txBody>
        </p:sp>
      </p:grpSp>
      <p:grpSp>
        <p:nvGrpSpPr>
          <p:cNvPr id="46" name="Group 45">
            <a:extLst>
              <a:ext uri="{FF2B5EF4-FFF2-40B4-BE49-F238E27FC236}">
                <a16:creationId xmlns:a16="http://schemas.microsoft.com/office/drawing/2014/main" id="{3EA658B8-54F8-A019-9430-44555FE20C4C}"/>
              </a:ext>
            </a:extLst>
          </p:cNvPr>
          <p:cNvGrpSpPr/>
          <p:nvPr/>
        </p:nvGrpSpPr>
        <p:grpSpPr>
          <a:xfrm>
            <a:off x="9915165" y="2962922"/>
            <a:ext cx="914400" cy="1285035"/>
            <a:chOff x="10115582" y="3089982"/>
            <a:chExt cx="914400" cy="1285035"/>
          </a:xfrm>
        </p:grpSpPr>
        <p:pic>
          <p:nvPicPr>
            <p:cNvPr id="47" name="Picture 46" descr="Icon&#10;&#10;Description automatically generated">
              <a:extLst>
                <a:ext uri="{FF2B5EF4-FFF2-40B4-BE49-F238E27FC236}">
                  <a16:creationId xmlns:a16="http://schemas.microsoft.com/office/drawing/2014/main" id="{7F723980-9F86-DB0F-2C39-652042288F24}"/>
                </a:ext>
              </a:extLst>
            </p:cNvPr>
            <p:cNvPicPr>
              <a:picLocks noChangeAspect="1"/>
            </p:cNvPicPr>
            <p:nvPr/>
          </p:nvPicPr>
          <p:blipFill>
            <a:blip r:embed="rId9"/>
            <a:stretch>
              <a:fillRect/>
            </a:stretch>
          </p:blipFill>
          <p:spPr>
            <a:xfrm>
              <a:off x="10141412" y="3089982"/>
              <a:ext cx="862741" cy="862741"/>
            </a:xfrm>
            <a:prstGeom prst="rect">
              <a:avLst/>
            </a:prstGeom>
          </p:spPr>
        </p:pic>
        <p:sp>
          <p:nvSpPr>
            <p:cNvPr id="48" name="TextBox 47">
              <a:extLst>
                <a:ext uri="{FF2B5EF4-FFF2-40B4-BE49-F238E27FC236}">
                  <a16:creationId xmlns:a16="http://schemas.microsoft.com/office/drawing/2014/main" id="{A41BCC08-3034-1F8B-3F21-EECBD65EB641}"/>
                </a:ext>
              </a:extLst>
            </p:cNvPr>
            <p:cNvSpPr txBox="1"/>
            <p:nvPr/>
          </p:nvSpPr>
          <p:spPr>
            <a:xfrm>
              <a:off x="10115582" y="4067492"/>
              <a:ext cx="914400" cy="307525"/>
            </a:xfrm>
            <a:prstGeom prst="rect">
              <a:avLst/>
            </a:prstGeom>
            <a:noFill/>
          </p:spPr>
          <p:txBody>
            <a:bodyPr wrap="none" lIns="0" tIns="0" rIns="0" bIns="0" rtlCol="0">
              <a:noAutofit/>
            </a:bodyPr>
            <a:lstStyle/>
            <a:p>
              <a:pPr algn="ctr">
                <a:lnSpc>
                  <a:spcPct val="110000"/>
                </a:lnSpc>
                <a:spcBef>
                  <a:spcPts val="600"/>
                </a:spcBef>
              </a:pPr>
              <a:r>
                <a:rPr lang="en-US" sz="1200" dirty="0">
                  <a:ea typeface="Human Sans" charset="0"/>
                  <a:cs typeface="Human Sans" charset="0"/>
                </a:rPr>
                <a:t>Diana - QA</a:t>
              </a:r>
            </a:p>
          </p:txBody>
        </p:sp>
      </p:grpSp>
      <p:grpSp>
        <p:nvGrpSpPr>
          <p:cNvPr id="49" name="Group 48">
            <a:extLst>
              <a:ext uri="{FF2B5EF4-FFF2-40B4-BE49-F238E27FC236}">
                <a16:creationId xmlns:a16="http://schemas.microsoft.com/office/drawing/2014/main" id="{2328E9C9-E83C-362D-F6D2-A69E23B0BBA1}"/>
              </a:ext>
            </a:extLst>
          </p:cNvPr>
          <p:cNvGrpSpPr/>
          <p:nvPr/>
        </p:nvGrpSpPr>
        <p:grpSpPr>
          <a:xfrm>
            <a:off x="9953375" y="4368223"/>
            <a:ext cx="914400" cy="1246962"/>
            <a:chOff x="10338849" y="4462008"/>
            <a:chExt cx="914400" cy="1246962"/>
          </a:xfrm>
        </p:grpSpPr>
        <p:pic>
          <p:nvPicPr>
            <p:cNvPr id="50" name="Picture 49" descr="Icon&#10;&#10;Description automatically generated">
              <a:extLst>
                <a:ext uri="{FF2B5EF4-FFF2-40B4-BE49-F238E27FC236}">
                  <a16:creationId xmlns:a16="http://schemas.microsoft.com/office/drawing/2014/main" id="{7664D971-33C2-298C-5CDD-B8E9723F4675}"/>
                </a:ext>
              </a:extLst>
            </p:cNvPr>
            <p:cNvPicPr>
              <a:picLocks noChangeAspect="1"/>
            </p:cNvPicPr>
            <p:nvPr/>
          </p:nvPicPr>
          <p:blipFill>
            <a:blip r:embed="rId10"/>
            <a:stretch>
              <a:fillRect/>
            </a:stretch>
          </p:blipFill>
          <p:spPr>
            <a:xfrm>
              <a:off x="10364679" y="4462008"/>
              <a:ext cx="862741" cy="862741"/>
            </a:xfrm>
            <a:prstGeom prst="rect">
              <a:avLst/>
            </a:prstGeom>
          </p:spPr>
        </p:pic>
        <p:sp>
          <p:nvSpPr>
            <p:cNvPr id="51" name="TextBox 50">
              <a:extLst>
                <a:ext uri="{FF2B5EF4-FFF2-40B4-BE49-F238E27FC236}">
                  <a16:creationId xmlns:a16="http://schemas.microsoft.com/office/drawing/2014/main" id="{FE7FEC11-0F04-314D-D4CF-BB326136E17C}"/>
                </a:ext>
              </a:extLst>
            </p:cNvPr>
            <p:cNvSpPr txBox="1"/>
            <p:nvPr/>
          </p:nvSpPr>
          <p:spPr>
            <a:xfrm>
              <a:off x="10338849" y="5401445"/>
              <a:ext cx="914400" cy="307525"/>
            </a:xfrm>
            <a:prstGeom prst="rect">
              <a:avLst/>
            </a:prstGeom>
            <a:noFill/>
          </p:spPr>
          <p:txBody>
            <a:bodyPr wrap="none" lIns="0" tIns="0" rIns="0" bIns="0" rtlCol="0">
              <a:noAutofit/>
            </a:bodyPr>
            <a:lstStyle/>
            <a:p>
              <a:pPr algn="ctr">
                <a:lnSpc>
                  <a:spcPct val="110000"/>
                </a:lnSpc>
                <a:spcBef>
                  <a:spcPts val="600"/>
                </a:spcBef>
              </a:pPr>
              <a:r>
                <a:rPr lang="en-US" sz="1200" dirty="0">
                  <a:ea typeface="Human Sans" charset="0"/>
                  <a:cs typeface="Human Sans" charset="0"/>
                </a:rPr>
                <a:t>Pavel - DevOps</a:t>
              </a:r>
            </a:p>
          </p:txBody>
        </p:sp>
      </p:grpSp>
    </p:spTree>
    <p:extLst>
      <p:ext uri="{BB962C8B-B14F-4D97-AF65-F5344CB8AC3E}">
        <p14:creationId xmlns:p14="http://schemas.microsoft.com/office/powerpoint/2010/main" val="317305034"/>
      </p:ext>
    </p:extLst>
  </p:cSld>
  <p:clrMapOvr>
    <a:masterClrMapping/>
  </p:clrMapOvr>
  <p:transition spd="slow">
    <p:push dir="u"/>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a:xfrm>
            <a:off x="5974813" y="3244334"/>
            <a:ext cx="242374" cy="369332"/>
          </a:xfrm>
          <a:prstGeom prst="rect">
            <a:avLst/>
          </a:prstGeom>
        </p:spPr>
        <p:txBody>
          <a:bodyPr wrap="none">
            <a:spAutoFit/>
          </a:bodyPr>
          <a:lstStyle/>
          <a:p>
            <a:r>
              <a:rPr lang="ru-RU">
                <a:solidFill>
                  <a:srgbClr val="000000"/>
                </a:solidFill>
                <a:latin typeface="Times New Roman" panose="02020603050405020304" pitchFamily="18" charset="0"/>
              </a:rPr>
              <a:t> </a:t>
            </a:r>
            <a:endParaRPr lang="ru-RU"/>
          </a:p>
        </p:txBody>
      </p:sp>
      <p:sp>
        <p:nvSpPr>
          <p:cNvPr id="3" name="Title 2">
            <a:extLst>
              <a:ext uri="{FF2B5EF4-FFF2-40B4-BE49-F238E27FC236}">
                <a16:creationId xmlns:a16="http://schemas.microsoft.com/office/drawing/2014/main" id="{7FE0072B-F5BB-B847-8290-F50BF0BBDDEE}"/>
              </a:ext>
            </a:extLst>
          </p:cNvPr>
          <p:cNvSpPr>
            <a:spLocks noGrp="1"/>
          </p:cNvSpPr>
          <p:nvPr>
            <p:ph type="title"/>
          </p:nvPr>
        </p:nvSpPr>
        <p:spPr/>
        <p:txBody>
          <a:bodyPr/>
          <a:lstStyle/>
          <a:p>
            <a:r>
              <a:rPr lang="en-GB" dirty="0"/>
              <a:t>Homework</a:t>
            </a:r>
            <a:endParaRPr lang="en-KZ" dirty="0"/>
          </a:p>
        </p:txBody>
      </p:sp>
      <p:sp>
        <p:nvSpPr>
          <p:cNvPr id="9" name="Text Placeholder 8">
            <a:extLst>
              <a:ext uri="{FF2B5EF4-FFF2-40B4-BE49-F238E27FC236}">
                <a16:creationId xmlns:a16="http://schemas.microsoft.com/office/drawing/2014/main" id="{62F09D45-D9C9-DC4A-B5E8-1951F8CB1E58}"/>
              </a:ext>
            </a:extLst>
          </p:cNvPr>
          <p:cNvSpPr>
            <a:spLocks noGrp="1"/>
          </p:cNvSpPr>
          <p:nvPr>
            <p:ph type="body" sz="quarter" idx="16"/>
          </p:nvPr>
        </p:nvSpPr>
        <p:spPr>
          <a:xfrm>
            <a:off x="1285240" y="2822347"/>
            <a:ext cx="4757677" cy="998735"/>
          </a:xfrm>
        </p:spPr>
        <p:txBody>
          <a:bodyPr/>
          <a:lstStyle/>
          <a:p>
            <a:r>
              <a:rPr lang="en-US" sz="2000" b="1" dirty="0">
                <a:solidFill>
                  <a:schemeClr val="accent6"/>
                </a:solidFill>
                <a:latin typeface="Calibri" panose="020F0502020204030204" pitchFamily="34" charset="0"/>
                <a:cs typeface="Calibri" panose="020F0502020204030204" pitchFamily="34" charset="0"/>
              </a:rPr>
              <a:t>Write your own solution for each case, try to think about consequences of your own decisions</a:t>
            </a:r>
          </a:p>
        </p:txBody>
      </p:sp>
      <p:pic>
        <p:nvPicPr>
          <p:cNvPr id="13" name="Picture Placeholder 12">
            <a:extLst>
              <a:ext uri="{FF2B5EF4-FFF2-40B4-BE49-F238E27FC236}">
                <a16:creationId xmlns:a16="http://schemas.microsoft.com/office/drawing/2014/main" id="{9BB2F88A-DC9D-3601-A5E0-794B18334B92}"/>
              </a:ext>
            </a:extLst>
          </p:cNvPr>
          <p:cNvPicPr>
            <a:picLocks noGrp="1" noChangeAspect="1"/>
          </p:cNvPicPr>
          <p:nvPr>
            <p:ph type="pic" sz="quarter" idx="17"/>
          </p:nvPr>
        </p:nvPicPr>
        <p:blipFill>
          <a:blip r:embed="rId2">
            <a:extLst>
              <a:ext uri="{96DAC541-7B7A-43D3-8B79-37D633B846F1}">
                <asvg:svgBlip xmlns:asvg="http://schemas.microsoft.com/office/drawing/2016/SVG/main" r:embed="rId3"/>
              </a:ext>
            </a:extLst>
          </a:blip>
          <a:srcRect t="414" b="414"/>
          <a:stretch/>
        </p:blipFill>
        <p:spPr/>
      </p:pic>
    </p:spTree>
    <p:extLst>
      <p:ext uri="{BB962C8B-B14F-4D97-AF65-F5344CB8AC3E}">
        <p14:creationId xmlns:p14="http://schemas.microsoft.com/office/powerpoint/2010/main" val="245338789"/>
      </p:ext>
    </p:extLst>
  </p:cSld>
  <p:clrMapOvr>
    <a:masterClrMapping/>
  </p:clrMapOvr>
  <p:transition spd="slow">
    <p:push dir="u"/>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a:xfrm>
            <a:off x="5974813" y="3244334"/>
            <a:ext cx="242374" cy="369332"/>
          </a:xfrm>
          <a:prstGeom prst="rect">
            <a:avLst/>
          </a:prstGeom>
        </p:spPr>
        <p:txBody>
          <a:bodyPr wrap="none">
            <a:spAutoFit/>
          </a:bodyPr>
          <a:lstStyle/>
          <a:p>
            <a:r>
              <a:rPr lang="ru-RU">
                <a:solidFill>
                  <a:srgbClr val="000000"/>
                </a:solidFill>
                <a:latin typeface="Times New Roman" panose="02020603050405020304" pitchFamily="18" charset="0"/>
              </a:rPr>
              <a:t> </a:t>
            </a:r>
            <a:endParaRPr lang="ru-RU"/>
          </a:p>
        </p:txBody>
      </p:sp>
      <p:sp>
        <p:nvSpPr>
          <p:cNvPr id="3" name="Title 2">
            <a:extLst>
              <a:ext uri="{FF2B5EF4-FFF2-40B4-BE49-F238E27FC236}">
                <a16:creationId xmlns:a16="http://schemas.microsoft.com/office/drawing/2014/main" id="{7FE0072B-F5BB-B847-8290-F50BF0BBDDEE}"/>
              </a:ext>
            </a:extLst>
          </p:cNvPr>
          <p:cNvSpPr>
            <a:spLocks noGrp="1"/>
          </p:cNvSpPr>
          <p:nvPr>
            <p:ph type="title"/>
          </p:nvPr>
        </p:nvSpPr>
        <p:spPr/>
        <p:txBody>
          <a:bodyPr/>
          <a:lstStyle/>
          <a:p>
            <a:r>
              <a:rPr lang="en-GB" dirty="0"/>
              <a:t>Q&amp;A</a:t>
            </a:r>
            <a:endParaRPr lang="en-KZ" dirty="0"/>
          </a:p>
        </p:txBody>
      </p:sp>
      <p:sp>
        <p:nvSpPr>
          <p:cNvPr id="9" name="Text Placeholder 8">
            <a:extLst>
              <a:ext uri="{FF2B5EF4-FFF2-40B4-BE49-F238E27FC236}">
                <a16:creationId xmlns:a16="http://schemas.microsoft.com/office/drawing/2014/main" id="{62F09D45-D9C9-DC4A-B5E8-1951F8CB1E58}"/>
              </a:ext>
            </a:extLst>
          </p:cNvPr>
          <p:cNvSpPr>
            <a:spLocks noGrp="1"/>
          </p:cNvSpPr>
          <p:nvPr>
            <p:ph type="body" sz="quarter" idx="16"/>
          </p:nvPr>
        </p:nvSpPr>
        <p:spPr>
          <a:xfrm>
            <a:off x="1285240" y="5014402"/>
            <a:ext cx="4757677" cy="321627"/>
          </a:xfrm>
        </p:spPr>
        <p:txBody>
          <a:bodyPr/>
          <a:lstStyle/>
          <a:p>
            <a:r>
              <a:rPr lang="en-US" sz="2000" b="1" dirty="0">
                <a:solidFill>
                  <a:schemeClr val="accent6"/>
                </a:solidFill>
                <a:latin typeface="Calibri" panose="020F0502020204030204" pitchFamily="34" charset="0"/>
                <a:cs typeface="Calibri" panose="020F0502020204030204" pitchFamily="34" charset="0"/>
              </a:rPr>
              <a:t>Feel free to write them in the chat</a:t>
            </a:r>
          </a:p>
        </p:txBody>
      </p:sp>
      <p:pic>
        <p:nvPicPr>
          <p:cNvPr id="13" name="Picture Placeholder 12">
            <a:extLst>
              <a:ext uri="{FF2B5EF4-FFF2-40B4-BE49-F238E27FC236}">
                <a16:creationId xmlns:a16="http://schemas.microsoft.com/office/drawing/2014/main" id="{9BB2F88A-DC9D-3601-A5E0-794B18334B92}"/>
              </a:ext>
            </a:extLst>
          </p:cNvPr>
          <p:cNvPicPr>
            <a:picLocks noGrp="1" noChangeAspect="1"/>
          </p:cNvPicPr>
          <p:nvPr>
            <p:ph type="pic" sz="quarter" idx="17"/>
          </p:nvPr>
        </p:nvPicPr>
        <p:blipFill>
          <a:blip r:embed="rId2">
            <a:extLst>
              <a:ext uri="{96DAC541-7B7A-43D3-8B79-37D633B846F1}">
                <asvg:svgBlip xmlns:asvg="http://schemas.microsoft.com/office/drawing/2016/SVG/main" r:embed="rId3"/>
              </a:ext>
            </a:extLst>
          </a:blip>
          <a:srcRect t="414" b="414"/>
          <a:stretch/>
        </p:blipFill>
        <p:spPr/>
      </p:pic>
    </p:spTree>
    <p:extLst>
      <p:ext uri="{BB962C8B-B14F-4D97-AF65-F5344CB8AC3E}">
        <p14:creationId xmlns:p14="http://schemas.microsoft.com/office/powerpoint/2010/main" val="372937970"/>
      </p:ext>
    </p:extLst>
  </p:cSld>
  <p:clrMapOvr>
    <a:masterClrMapping/>
  </p:clrMapOvr>
  <p:transition spd="slow">
    <p:push dir="u"/>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a:xfrm>
            <a:off x="5974813" y="3244334"/>
            <a:ext cx="242374" cy="369332"/>
          </a:xfrm>
          <a:prstGeom prst="rect">
            <a:avLst/>
          </a:prstGeom>
        </p:spPr>
        <p:txBody>
          <a:bodyPr wrap="none">
            <a:spAutoFit/>
          </a:bodyPr>
          <a:lstStyle/>
          <a:p>
            <a:r>
              <a:rPr lang="ru-RU">
                <a:solidFill>
                  <a:srgbClr val="000000"/>
                </a:solidFill>
                <a:latin typeface="Times New Roman" panose="02020603050405020304" pitchFamily="18" charset="0"/>
              </a:rPr>
              <a:t> </a:t>
            </a:r>
            <a:endParaRPr lang="ru-RU"/>
          </a:p>
        </p:txBody>
      </p:sp>
      <p:sp>
        <p:nvSpPr>
          <p:cNvPr id="3" name="Title 2">
            <a:extLst>
              <a:ext uri="{FF2B5EF4-FFF2-40B4-BE49-F238E27FC236}">
                <a16:creationId xmlns:a16="http://schemas.microsoft.com/office/drawing/2014/main" id="{7FE0072B-F5BB-B847-8290-F50BF0BBDDEE}"/>
              </a:ext>
            </a:extLst>
          </p:cNvPr>
          <p:cNvSpPr>
            <a:spLocks noGrp="1"/>
          </p:cNvSpPr>
          <p:nvPr>
            <p:ph type="title"/>
          </p:nvPr>
        </p:nvSpPr>
        <p:spPr/>
        <p:txBody>
          <a:bodyPr/>
          <a:lstStyle/>
          <a:p>
            <a:r>
              <a:rPr lang="en-GB" dirty="0"/>
              <a:t>Feedback and takeaways </a:t>
            </a:r>
            <a:endParaRPr lang="en-KZ" dirty="0"/>
          </a:p>
        </p:txBody>
      </p:sp>
      <p:sp>
        <p:nvSpPr>
          <p:cNvPr id="9" name="Text Placeholder 8">
            <a:extLst>
              <a:ext uri="{FF2B5EF4-FFF2-40B4-BE49-F238E27FC236}">
                <a16:creationId xmlns:a16="http://schemas.microsoft.com/office/drawing/2014/main" id="{62F09D45-D9C9-DC4A-B5E8-1951F8CB1E58}"/>
              </a:ext>
            </a:extLst>
          </p:cNvPr>
          <p:cNvSpPr>
            <a:spLocks noGrp="1"/>
          </p:cNvSpPr>
          <p:nvPr>
            <p:ph type="body" sz="quarter" idx="16"/>
          </p:nvPr>
        </p:nvSpPr>
        <p:spPr>
          <a:xfrm>
            <a:off x="1285240" y="5014402"/>
            <a:ext cx="4757677" cy="321627"/>
          </a:xfrm>
        </p:spPr>
        <p:txBody>
          <a:bodyPr/>
          <a:lstStyle/>
          <a:p>
            <a:r>
              <a:rPr lang="en-US" sz="2000" b="1" dirty="0">
                <a:solidFill>
                  <a:schemeClr val="accent6"/>
                </a:solidFill>
                <a:latin typeface="Calibri" panose="020F0502020204030204" pitchFamily="34" charset="0"/>
                <a:cs typeface="Calibri" panose="020F0502020204030204" pitchFamily="34" charset="0"/>
              </a:rPr>
              <a:t>Help the program to become better</a:t>
            </a:r>
          </a:p>
        </p:txBody>
      </p:sp>
      <p:pic>
        <p:nvPicPr>
          <p:cNvPr id="13" name="Picture Placeholder 12">
            <a:extLst>
              <a:ext uri="{FF2B5EF4-FFF2-40B4-BE49-F238E27FC236}">
                <a16:creationId xmlns:a16="http://schemas.microsoft.com/office/drawing/2014/main" id="{9BB2F88A-DC9D-3601-A5E0-794B18334B92}"/>
              </a:ext>
            </a:extLst>
          </p:cNvPr>
          <p:cNvPicPr>
            <a:picLocks noGrp="1" noChangeAspect="1"/>
          </p:cNvPicPr>
          <p:nvPr>
            <p:ph type="pic" sz="quarter" idx="17"/>
          </p:nvPr>
        </p:nvPicPr>
        <p:blipFill>
          <a:blip r:embed="rId3">
            <a:extLst>
              <a:ext uri="{96DAC541-7B7A-43D3-8B79-37D633B846F1}">
                <asvg:svgBlip xmlns:asvg="http://schemas.microsoft.com/office/drawing/2016/SVG/main" r:embed="rId4"/>
              </a:ext>
            </a:extLst>
          </a:blip>
          <a:srcRect t="414" b="414"/>
          <a:stretch/>
        </p:blipFill>
        <p:spPr/>
      </p:pic>
    </p:spTree>
    <p:extLst>
      <p:ext uri="{BB962C8B-B14F-4D97-AF65-F5344CB8AC3E}">
        <p14:creationId xmlns:p14="http://schemas.microsoft.com/office/powerpoint/2010/main" val="862857461"/>
      </p:ext>
    </p:extLst>
  </p:cSld>
  <p:clrMapOvr>
    <a:masterClrMapping/>
  </p:clrMapOvr>
  <p:transition spd="slow">
    <p:push dir="u"/>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Placeholder 6">
            <a:extLst>
              <a:ext uri="{FF2B5EF4-FFF2-40B4-BE49-F238E27FC236}">
                <a16:creationId xmlns:a16="http://schemas.microsoft.com/office/drawing/2014/main" id="{277F5026-A4B6-3E15-C245-C0AD932D3E7C}"/>
              </a:ext>
            </a:extLst>
          </p:cNvPr>
          <p:cNvPicPr>
            <a:picLocks noChangeAspect="1"/>
          </p:cNvPicPr>
          <p:nvPr/>
        </p:nvPicPr>
        <p:blipFill>
          <a:blip r:embed="rId3"/>
          <a:srcRect/>
          <a:stretch/>
        </p:blipFill>
        <p:spPr>
          <a:xfrm>
            <a:off x="0" y="0"/>
            <a:ext cx="12192000" cy="6858000"/>
          </a:xfrm>
          <a:prstGeom prst="rect">
            <a:avLst/>
          </a:prstGeom>
          <a:noFill/>
        </p:spPr>
      </p:pic>
      <p:sp>
        <p:nvSpPr>
          <p:cNvPr id="3" name="Text Placeholder 2">
            <a:extLst>
              <a:ext uri="{FF2B5EF4-FFF2-40B4-BE49-F238E27FC236}">
                <a16:creationId xmlns:a16="http://schemas.microsoft.com/office/drawing/2014/main" id="{605CD837-5DA0-7F49-823D-405CCB7B0E1F}"/>
              </a:ext>
            </a:extLst>
          </p:cNvPr>
          <p:cNvSpPr>
            <a:spLocks noGrp="1"/>
          </p:cNvSpPr>
          <p:nvPr>
            <p:ph type="body" sz="quarter" idx="12"/>
          </p:nvPr>
        </p:nvSpPr>
        <p:spPr>
          <a:xfrm>
            <a:off x="647699" y="4531314"/>
            <a:ext cx="3827462" cy="257250"/>
          </a:xfrm>
        </p:spPr>
        <p:txBody>
          <a:bodyPr/>
          <a:lstStyle/>
          <a:p>
            <a:r>
              <a:rPr lang="en-US" sz="2000" dirty="0">
                <a:solidFill>
                  <a:schemeClr val="tx1"/>
                </a:solidFill>
              </a:rPr>
              <a:t>Please contact us</a:t>
            </a:r>
          </a:p>
          <a:p>
            <a:endParaRPr lang="en-US" dirty="0">
              <a:solidFill>
                <a:schemeClr val="tx1"/>
              </a:solidFill>
            </a:endParaRPr>
          </a:p>
          <a:p>
            <a:r>
              <a:rPr lang="en-US" b="1" dirty="0">
                <a:solidFill>
                  <a:schemeClr val="accent6"/>
                </a:solidFill>
              </a:rPr>
              <a:t>uladzimir_litvinau@epam.com</a:t>
            </a:r>
          </a:p>
          <a:p>
            <a:r>
              <a:rPr lang="en-US" b="1" dirty="0">
                <a:solidFill>
                  <a:schemeClr val="accent6"/>
                </a:solidFill>
              </a:rPr>
              <a:t>wl.litvinov@gmail.com</a:t>
            </a:r>
          </a:p>
        </p:txBody>
      </p:sp>
      <p:sp>
        <p:nvSpPr>
          <p:cNvPr id="2" name="Title 1">
            <a:extLst>
              <a:ext uri="{FF2B5EF4-FFF2-40B4-BE49-F238E27FC236}">
                <a16:creationId xmlns:a16="http://schemas.microsoft.com/office/drawing/2014/main" id="{FCDCF703-2E21-034C-BAC7-3D90554215AF}"/>
              </a:ext>
            </a:extLst>
          </p:cNvPr>
          <p:cNvSpPr>
            <a:spLocks noGrp="1"/>
          </p:cNvSpPr>
          <p:nvPr>
            <p:ph type="title"/>
          </p:nvPr>
        </p:nvSpPr>
        <p:spPr/>
        <p:txBody>
          <a:bodyPr/>
          <a:lstStyle/>
          <a:p>
            <a:r>
              <a:rPr lang="en-US">
                <a:solidFill>
                  <a:schemeClr val="accent6"/>
                </a:solidFill>
              </a:rPr>
              <a:t>Thank you!</a:t>
            </a:r>
          </a:p>
        </p:txBody>
      </p:sp>
      <p:pic>
        <p:nvPicPr>
          <p:cNvPr id="35" name="Picture 34">
            <a:extLst>
              <a:ext uri="{FF2B5EF4-FFF2-40B4-BE49-F238E27FC236}">
                <a16:creationId xmlns:a16="http://schemas.microsoft.com/office/drawing/2014/main" id="{F1463326-CCCC-528D-E5FB-2F15B595A856}"/>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647699" y="716555"/>
            <a:ext cx="646663" cy="237744"/>
          </a:xfrm>
          <a:prstGeom prst="rect">
            <a:avLst/>
          </a:prstGeom>
        </p:spPr>
      </p:pic>
      <p:pic>
        <p:nvPicPr>
          <p:cNvPr id="4" name="Graphic 2">
            <a:extLst>
              <a:ext uri="{FF2B5EF4-FFF2-40B4-BE49-F238E27FC236}">
                <a16:creationId xmlns:a16="http://schemas.microsoft.com/office/drawing/2014/main" id="{5943D167-7CFA-DE7E-00CD-5CC24E1D2F05}"/>
              </a:ext>
            </a:extLst>
          </p:cNvPr>
          <p:cNvPicPr>
            <a:picLocks noChangeAspect="1"/>
          </p:cNvPicPr>
          <p:nvPr/>
        </p:nvPicPr>
        <p:blipFill>
          <a:blip r:embed="rId5"/>
          <a:srcRect/>
          <a:stretch/>
        </p:blipFill>
        <p:spPr>
          <a:xfrm>
            <a:off x="1677511" y="692958"/>
            <a:ext cx="908033" cy="245472"/>
          </a:xfrm>
          <a:prstGeom prst="rect">
            <a:avLst/>
          </a:prstGeom>
        </p:spPr>
      </p:pic>
    </p:spTree>
    <p:extLst>
      <p:ext uri="{BB962C8B-B14F-4D97-AF65-F5344CB8AC3E}">
        <p14:creationId xmlns:p14="http://schemas.microsoft.com/office/powerpoint/2010/main" val="2011181405"/>
      </p:ext>
    </p:extLst>
  </p:cSld>
  <p:clrMapOvr>
    <a:masterClrMapping/>
  </p:clrMapOvr>
  <p:transition spd="slow">
    <p:push dir="u"/>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3E7B12-94E5-1E8A-9A20-C930CC8426EB}"/>
              </a:ext>
            </a:extLst>
          </p:cNvPr>
          <p:cNvSpPr>
            <a:spLocks noGrp="1"/>
          </p:cNvSpPr>
          <p:nvPr>
            <p:ph type="title"/>
          </p:nvPr>
        </p:nvSpPr>
        <p:spPr>
          <a:xfrm>
            <a:off x="639073" y="1424520"/>
            <a:ext cx="5333999" cy="4616648"/>
          </a:xfrm>
        </p:spPr>
        <p:txBody>
          <a:bodyPr/>
          <a:lstStyle/>
          <a:p>
            <a:r>
              <a:rPr lang="en-US" dirty="0"/>
              <a:t>Work hard </a:t>
            </a:r>
            <a:r>
              <a:rPr lang="en-US" dirty="0">
                <a:solidFill>
                  <a:schemeClr val="accent4">
                    <a:lumMod val="75000"/>
                  </a:schemeClr>
                </a:solidFill>
              </a:rPr>
              <a:t>now</a:t>
            </a:r>
            <a:br>
              <a:rPr lang="en-US" dirty="0"/>
            </a:br>
            <a:r>
              <a:rPr lang="en-US" dirty="0">
                <a:solidFill>
                  <a:schemeClr val="accent6"/>
                </a:solidFill>
                <a:latin typeface="Calibri" panose="020F0502020204030204" pitchFamily="34" charset="0"/>
                <a:cs typeface="Calibri" panose="020F0502020204030204" pitchFamily="34" charset="0"/>
              </a:rPr>
              <a:t>Save hundreds of hours and nerves in future…</a:t>
            </a:r>
          </a:p>
        </p:txBody>
      </p:sp>
      <p:sp>
        <p:nvSpPr>
          <p:cNvPr id="9" name="Text Placeholder 8">
            <a:extLst>
              <a:ext uri="{FF2B5EF4-FFF2-40B4-BE49-F238E27FC236}">
                <a16:creationId xmlns:a16="http://schemas.microsoft.com/office/drawing/2014/main" id="{43E65A60-BFF6-5D2C-96CA-C0DCDBCDC9B7}"/>
              </a:ext>
            </a:extLst>
          </p:cNvPr>
          <p:cNvSpPr>
            <a:spLocks noGrp="1"/>
          </p:cNvSpPr>
          <p:nvPr>
            <p:ph type="body" sz="quarter" idx="16"/>
          </p:nvPr>
        </p:nvSpPr>
        <p:spPr>
          <a:xfrm>
            <a:off x="6942827" y="1981200"/>
            <a:ext cx="4610100" cy="3824380"/>
          </a:xfrm>
        </p:spPr>
        <p:txBody>
          <a:bodyPr/>
          <a:lstStyle/>
          <a:p>
            <a:pPr marL="285750" indent="-285750">
              <a:buFont typeface="Arial" panose="020B0604020202020204" pitchFamily="34" charset="0"/>
              <a:buChar char="•"/>
            </a:pPr>
            <a:r>
              <a:rPr lang="en-US" b="1" dirty="0"/>
              <a:t>No  multitasking </a:t>
            </a:r>
            <a:r>
              <a:rPr lang="en-US" dirty="0"/>
              <a:t>– 2 hour of concentration</a:t>
            </a:r>
          </a:p>
          <a:p>
            <a:pPr marL="285750" indent="-285750">
              <a:buFont typeface="Arial" panose="020B0604020202020204" pitchFamily="34" charset="0"/>
              <a:buChar char="•"/>
            </a:pPr>
            <a:r>
              <a:rPr lang="en-US" dirty="0"/>
              <a:t>Switching on your </a:t>
            </a:r>
            <a:r>
              <a:rPr lang="en-US" b="1" dirty="0"/>
              <a:t>cameras</a:t>
            </a:r>
            <a:r>
              <a:rPr lang="en-US" dirty="0"/>
              <a:t> will be very nice</a:t>
            </a:r>
          </a:p>
          <a:p>
            <a:pPr marL="285750" indent="-285750">
              <a:buFont typeface="Arial" panose="020B0604020202020204" pitchFamily="34" charset="0"/>
              <a:buChar char="•"/>
            </a:pPr>
            <a:r>
              <a:rPr lang="en-US" dirty="0">
                <a:latin typeface="Calibri Light"/>
                <a:ea typeface="Source Sans Pro"/>
                <a:cs typeface="Calibri Light"/>
              </a:rPr>
              <a:t>This knowledge will be useful and for </a:t>
            </a:r>
            <a:r>
              <a:rPr lang="en-US" b="1" dirty="0">
                <a:latin typeface="Calibri Light"/>
                <a:ea typeface="Source Sans Pro"/>
                <a:cs typeface="Calibri Light"/>
              </a:rPr>
              <a:t>leads</a:t>
            </a:r>
            <a:r>
              <a:rPr lang="en-US" dirty="0">
                <a:latin typeface="Calibri Light"/>
                <a:ea typeface="Source Sans Pro"/>
                <a:cs typeface="Calibri Light"/>
              </a:rPr>
              <a:t> and for </a:t>
            </a:r>
            <a:r>
              <a:rPr lang="en-US" b="1" dirty="0">
                <a:latin typeface="Calibri Light"/>
                <a:ea typeface="Source Sans Pro"/>
                <a:cs typeface="Calibri Light"/>
              </a:rPr>
              <a:t>team members</a:t>
            </a:r>
          </a:p>
          <a:p>
            <a:pPr marL="285750" indent="-285750">
              <a:buFont typeface="Arial" panose="020B0604020202020204" pitchFamily="34" charset="0"/>
              <a:buChar char="•"/>
            </a:pPr>
            <a:r>
              <a:rPr lang="en-US" b="1" dirty="0"/>
              <a:t>10 years </a:t>
            </a:r>
            <a:r>
              <a:rPr lang="en-US" dirty="0"/>
              <a:t>of experience </a:t>
            </a:r>
            <a:r>
              <a:rPr lang="en-US" b="1" dirty="0"/>
              <a:t>key</a:t>
            </a:r>
            <a:r>
              <a:rPr lang="en-US" dirty="0"/>
              <a:t> lessons learned</a:t>
            </a:r>
          </a:p>
          <a:p>
            <a:pPr marL="285750" indent="-285750">
              <a:buFont typeface="Arial" panose="020B0604020202020204" pitchFamily="34" charset="0"/>
              <a:buChar char="•"/>
            </a:pPr>
            <a:r>
              <a:rPr lang="en-US" b="1" dirty="0"/>
              <a:t>Be active </a:t>
            </a:r>
            <a:r>
              <a:rPr lang="en-US" dirty="0"/>
              <a:t>(</a:t>
            </a:r>
            <a:r>
              <a:rPr lang="en-US" dirty="0" err="1"/>
              <a:t>teamlead</a:t>
            </a:r>
            <a:r>
              <a:rPr lang="en-US" dirty="0"/>
              <a:t> should have and be able to express his opinion, to start a search of solution)</a:t>
            </a:r>
          </a:p>
          <a:p>
            <a:pPr marL="285750" indent="-285750">
              <a:buFont typeface="Arial" panose="020B0604020202020204" pitchFamily="34" charset="0"/>
              <a:buChar char="•"/>
            </a:pPr>
            <a:r>
              <a:rPr lang="en-US" dirty="0"/>
              <a:t>Back to </a:t>
            </a:r>
            <a:r>
              <a:rPr lang="en-US" b="1" dirty="0"/>
              <a:t>school</a:t>
            </a:r>
          </a:p>
          <a:p>
            <a:pPr marL="285750" indent="-285750">
              <a:buFont typeface="Arial" panose="020B0604020202020204" pitchFamily="34" charset="0"/>
              <a:buChar char="•"/>
            </a:pPr>
            <a:r>
              <a:rPr lang="en-US" dirty="0"/>
              <a:t>Formulate your statements correctly - do not forget about the </a:t>
            </a:r>
            <a:r>
              <a:rPr lang="en-US" b="1" dirty="0"/>
              <a:t>characteristic of measure </a:t>
            </a:r>
            <a:r>
              <a:rPr lang="en-US" dirty="0"/>
              <a:t>(sometimes, always, never, from my experience and </a:t>
            </a:r>
            <a:r>
              <a:rPr lang="en-US" dirty="0" err="1"/>
              <a:t>etc</a:t>
            </a:r>
            <a:r>
              <a:rPr lang="en-US" dirty="0"/>
              <a:t>)</a:t>
            </a:r>
          </a:p>
        </p:txBody>
      </p:sp>
      <p:sp>
        <p:nvSpPr>
          <p:cNvPr id="8" name="Text Placeholder 7">
            <a:extLst>
              <a:ext uri="{FF2B5EF4-FFF2-40B4-BE49-F238E27FC236}">
                <a16:creationId xmlns:a16="http://schemas.microsoft.com/office/drawing/2014/main" id="{A33CA039-DE3C-5D85-0DB8-D98A38BFDC35}"/>
              </a:ext>
            </a:extLst>
          </p:cNvPr>
          <p:cNvSpPr>
            <a:spLocks noGrp="1"/>
          </p:cNvSpPr>
          <p:nvPr>
            <p:ph type="body" sz="quarter" idx="28"/>
          </p:nvPr>
        </p:nvSpPr>
        <p:spPr/>
        <p:txBody>
          <a:bodyPr>
            <a:normAutofit/>
          </a:bodyPr>
          <a:lstStyle/>
          <a:p>
            <a:r>
              <a:rPr lang="en-US" dirty="0"/>
              <a:t>Every team lead should start from:</a:t>
            </a:r>
          </a:p>
        </p:txBody>
      </p:sp>
      <p:sp>
        <p:nvSpPr>
          <p:cNvPr id="10" name="Text Placeholder 9">
            <a:extLst>
              <a:ext uri="{FF2B5EF4-FFF2-40B4-BE49-F238E27FC236}">
                <a16:creationId xmlns:a16="http://schemas.microsoft.com/office/drawing/2014/main" id="{1F88C411-8C59-AFA3-5C10-11E75FDF9817}"/>
              </a:ext>
            </a:extLst>
          </p:cNvPr>
          <p:cNvSpPr>
            <a:spLocks noGrp="1"/>
          </p:cNvSpPr>
          <p:nvPr>
            <p:ph type="body" sz="quarter" idx="25"/>
          </p:nvPr>
        </p:nvSpPr>
        <p:spPr/>
        <p:txBody>
          <a:bodyPr/>
          <a:lstStyle/>
          <a:p>
            <a:r>
              <a:rPr lang="en-US" dirty="0"/>
              <a:t>Initial Rules</a:t>
            </a:r>
          </a:p>
        </p:txBody>
      </p:sp>
    </p:spTree>
    <p:extLst>
      <p:ext uri="{BB962C8B-B14F-4D97-AF65-F5344CB8AC3E}">
        <p14:creationId xmlns:p14="http://schemas.microsoft.com/office/powerpoint/2010/main" val="96084815"/>
      </p:ext>
    </p:extLst>
  </p:cSld>
  <p:clrMapOvr>
    <a:masterClrMapping/>
  </p:clrMapOvr>
  <p:transition spd="slow">
    <p:push dir="u"/>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3E7B12-94E5-1E8A-9A20-C930CC8426EB}"/>
              </a:ext>
            </a:extLst>
          </p:cNvPr>
          <p:cNvSpPr>
            <a:spLocks noGrp="1"/>
          </p:cNvSpPr>
          <p:nvPr>
            <p:ph type="title"/>
          </p:nvPr>
        </p:nvSpPr>
        <p:spPr>
          <a:xfrm>
            <a:off x="639073" y="1424520"/>
            <a:ext cx="5333999" cy="4616648"/>
          </a:xfrm>
        </p:spPr>
        <p:txBody>
          <a:bodyPr/>
          <a:lstStyle/>
          <a:p>
            <a:r>
              <a:rPr lang="en-US" dirty="0"/>
              <a:t>From Senior Developer to Junior Team Lead (and sometimes back)</a:t>
            </a:r>
            <a:endParaRPr lang="en-US" dirty="0">
              <a:solidFill>
                <a:schemeClr val="accent6"/>
              </a:solidFill>
              <a:latin typeface="Calibri" panose="020F0502020204030204" pitchFamily="34" charset="0"/>
              <a:cs typeface="Calibri" panose="020F0502020204030204" pitchFamily="34" charset="0"/>
            </a:endParaRPr>
          </a:p>
        </p:txBody>
      </p:sp>
      <p:sp>
        <p:nvSpPr>
          <p:cNvPr id="8" name="Text Placeholder 7">
            <a:extLst>
              <a:ext uri="{FF2B5EF4-FFF2-40B4-BE49-F238E27FC236}">
                <a16:creationId xmlns:a16="http://schemas.microsoft.com/office/drawing/2014/main" id="{A33CA039-DE3C-5D85-0DB8-D98A38BFDC35}"/>
              </a:ext>
            </a:extLst>
          </p:cNvPr>
          <p:cNvSpPr>
            <a:spLocks noGrp="1"/>
          </p:cNvSpPr>
          <p:nvPr>
            <p:ph type="body" sz="quarter" idx="28"/>
          </p:nvPr>
        </p:nvSpPr>
        <p:spPr>
          <a:xfrm>
            <a:off x="627063" y="419100"/>
            <a:ext cx="3725862" cy="397732"/>
          </a:xfrm>
        </p:spPr>
        <p:txBody>
          <a:bodyPr>
            <a:normAutofit/>
          </a:bodyPr>
          <a:lstStyle/>
          <a:p>
            <a:r>
              <a:rPr lang="en-US" dirty="0"/>
              <a:t>Why we need to learn how to lead</a:t>
            </a:r>
          </a:p>
        </p:txBody>
      </p:sp>
      <p:sp>
        <p:nvSpPr>
          <p:cNvPr id="10" name="Text Placeholder 9">
            <a:extLst>
              <a:ext uri="{FF2B5EF4-FFF2-40B4-BE49-F238E27FC236}">
                <a16:creationId xmlns:a16="http://schemas.microsoft.com/office/drawing/2014/main" id="{1F88C411-8C59-AFA3-5C10-11E75FDF9817}"/>
              </a:ext>
            </a:extLst>
          </p:cNvPr>
          <p:cNvSpPr>
            <a:spLocks noGrp="1"/>
          </p:cNvSpPr>
          <p:nvPr>
            <p:ph type="body" sz="quarter" idx="25"/>
          </p:nvPr>
        </p:nvSpPr>
        <p:spPr/>
        <p:txBody>
          <a:bodyPr/>
          <a:lstStyle/>
          <a:p>
            <a:r>
              <a:rPr lang="en-US" dirty="0"/>
              <a:t>Evolution</a:t>
            </a:r>
          </a:p>
        </p:txBody>
      </p:sp>
      <p:pic>
        <p:nvPicPr>
          <p:cNvPr id="1028" name="Picture 4" descr="Howard Researchers: Racist, Sexist Depictions of Human Evolution Still  Permeate Science, Medicine, and Education | The Dig at Howard University">
            <a:extLst>
              <a:ext uri="{FF2B5EF4-FFF2-40B4-BE49-F238E27FC236}">
                <a16:creationId xmlns:a16="http://schemas.microsoft.com/office/drawing/2014/main" id="{D788961D-E8E6-31C0-F009-5992EF45DB5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348853" y="4348007"/>
            <a:ext cx="2669888" cy="1778556"/>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4" descr="Howard Researchers: Racist, Sexist Depictions of Human Evolution Still  Permeate Science, Medicine, and Education | The Dig at Howard University">
            <a:extLst>
              <a:ext uri="{FF2B5EF4-FFF2-40B4-BE49-F238E27FC236}">
                <a16:creationId xmlns:a16="http://schemas.microsoft.com/office/drawing/2014/main" id="{4BAED662-8EEC-9CFB-F459-6A88AAA1281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693308" y="1886190"/>
            <a:ext cx="2669888" cy="1778556"/>
          </a:xfrm>
          <a:prstGeom prst="rect">
            <a:avLst/>
          </a:prstGeom>
          <a:noFill/>
          <a:extLst>
            <a:ext uri="{909E8E84-426E-40DD-AFC4-6F175D3DCCD1}">
              <a14:hiddenFill xmlns:a14="http://schemas.microsoft.com/office/drawing/2010/main">
                <a:solidFill>
                  <a:srgbClr val="FFFFFF"/>
                </a:solidFill>
              </a14:hiddenFill>
            </a:ext>
          </a:extLst>
        </p:spPr>
      </p:pic>
      <p:sp>
        <p:nvSpPr>
          <p:cNvPr id="5" name="TextBox 4">
            <a:extLst>
              <a:ext uri="{FF2B5EF4-FFF2-40B4-BE49-F238E27FC236}">
                <a16:creationId xmlns:a16="http://schemas.microsoft.com/office/drawing/2014/main" id="{5A45A3AD-C449-06AE-FEF9-FC63D677312E}"/>
              </a:ext>
            </a:extLst>
          </p:cNvPr>
          <p:cNvSpPr txBox="1"/>
          <p:nvPr/>
        </p:nvSpPr>
        <p:spPr>
          <a:xfrm>
            <a:off x="6774983" y="3664746"/>
            <a:ext cx="1918325" cy="543699"/>
          </a:xfrm>
          <a:prstGeom prst="rect">
            <a:avLst/>
          </a:prstGeom>
          <a:noFill/>
        </p:spPr>
        <p:txBody>
          <a:bodyPr wrap="none" lIns="0" tIns="0" rIns="0" bIns="0" rtlCol="0">
            <a:noAutofit/>
          </a:bodyPr>
          <a:lstStyle/>
          <a:p>
            <a:pPr>
              <a:lnSpc>
                <a:spcPct val="110000"/>
              </a:lnSpc>
              <a:spcBef>
                <a:spcPts val="600"/>
              </a:spcBef>
            </a:pPr>
            <a:r>
              <a:rPr lang="en-US" sz="3600" dirty="0">
                <a:ea typeface="Human Sans" charset="0"/>
                <a:cs typeface="Human Sans" charset="0"/>
              </a:rPr>
              <a:t>Developer</a:t>
            </a:r>
          </a:p>
        </p:txBody>
      </p:sp>
      <p:sp>
        <p:nvSpPr>
          <p:cNvPr id="7" name="TextBox 6">
            <a:extLst>
              <a:ext uri="{FF2B5EF4-FFF2-40B4-BE49-F238E27FC236}">
                <a16:creationId xmlns:a16="http://schemas.microsoft.com/office/drawing/2014/main" id="{9A782F51-3745-A52C-11FA-4F80E5F83E5B}"/>
              </a:ext>
            </a:extLst>
          </p:cNvPr>
          <p:cNvSpPr txBox="1"/>
          <p:nvPr/>
        </p:nvSpPr>
        <p:spPr>
          <a:xfrm>
            <a:off x="9018741" y="1212140"/>
            <a:ext cx="1918325" cy="543699"/>
          </a:xfrm>
          <a:prstGeom prst="rect">
            <a:avLst/>
          </a:prstGeom>
          <a:noFill/>
        </p:spPr>
        <p:txBody>
          <a:bodyPr wrap="none" lIns="0" tIns="0" rIns="0" bIns="0" rtlCol="0" anchor="t">
            <a:noAutofit/>
          </a:bodyPr>
          <a:lstStyle/>
          <a:p>
            <a:pPr>
              <a:lnSpc>
                <a:spcPct val="110000"/>
              </a:lnSpc>
              <a:spcBef>
                <a:spcPts val="600"/>
              </a:spcBef>
            </a:pPr>
            <a:r>
              <a:rPr lang="en-US" sz="3600" dirty="0">
                <a:ea typeface="Human Sans" charset="0"/>
                <a:cs typeface="Human Sans" charset="0"/>
              </a:rPr>
              <a:t>Team Lead</a:t>
            </a:r>
          </a:p>
        </p:txBody>
      </p:sp>
    </p:spTree>
    <p:extLst>
      <p:ext uri="{BB962C8B-B14F-4D97-AF65-F5344CB8AC3E}">
        <p14:creationId xmlns:p14="http://schemas.microsoft.com/office/powerpoint/2010/main" val="4293770624"/>
      </p:ext>
    </p:extLst>
  </p:cSld>
  <p:clrMapOvr>
    <a:masterClrMapping/>
  </p:clrMapOvr>
  <p:transition spd="slow">
    <p:push dir="u"/>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3E7B12-94E5-1E8A-9A20-C930CC8426EB}"/>
              </a:ext>
            </a:extLst>
          </p:cNvPr>
          <p:cNvSpPr>
            <a:spLocks noGrp="1"/>
          </p:cNvSpPr>
          <p:nvPr>
            <p:ph type="title"/>
          </p:nvPr>
        </p:nvSpPr>
        <p:spPr>
          <a:xfrm>
            <a:off x="639073" y="1424520"/>
            <a:ext cx="5333999" cy="4616648"/>
          </a:xfrm>
        </p:spPr>
        <p:txBody>
          <a:bodyPr/>
          <a:lstStyle/>
          <a:p>
            <a:r>
              <a:rPr lang="en-US" dirty="0"/>
              <a:t>What is the difference in learning style of</a:t>
            </a:r>
            <a:br>
              <a:rPr lang="en-US" dirty="0"/>
            </a:br>
            <a:r>
              <a:rPr lang="en-US" dirty="0">
                <a:solidFill>
                  <a:schemeClr val="accent6"/>
                </a:solidFill>
                <a:latin typeface="Calibri" panose="020F0502020204030204" pitchFamily="34" charset="0"/>
                <a:cs typeface="Calibri" panose="020F0502020204030204" pitchFamily="34" charset="0"/>
              </a:rPr>
              <a:t>child and an adult?…</a:t>
            </a:r>
          </a:p>
        </p:txBody>
      </p:sp>
      <p:sp>
        <p:nvSpPr>
          <p:cNvPr id="8" name="Text Placeholder 7">
            <a:extLst>
              <a:ext uri="{FF2B5EF4-FFF2-40B4-BE49-F238E27FC236}">
                <a16:creationId xmlns:a16="http://schemas.microsoft.com/office/drawing/2014/main" id="{A33CA039-DE3C-5D85-0DB8-D98A38BFDC35}"/>
              </a:ext>
            </a:extLst>
          </p:cNvPr>
          <p:cNvSpPr>
            <a:spLocks noGrp="1"/>
          </p:cNvSpPr>
          <p:nvPr>
            <p:ph type="body" sz="quarter" idx="28"/>
          </p:nvPr>
        </p:nvSpPr>
        <p:spPr>
          <a:xfrm>
            <a:off x="627063" y="419100"/>
            <a:ext cx="3725862" cy="397732"/>
          </a:xfrm>
        </p:spPr>
        <p:txBody>
          <a:bodyPr>
            <a:normAutofit/>
          </a:bodyPr>
          <a:lstStyle/>
          <a:p>
            <a:r>
              <a:rPr lang="en-US" dirty="0"/>
              <a:t>On current session, As a Lead, As A Team member</a:t>
            </a:r>
          </a:p>
        </p:txBody>
      </p:sp>
      <p:sp>
        <p:nvSpPr>
          <p:cNvPr id="10" name="Text Placeholder 9">
            <a:extLst>
              <a:ext uri="{FF2B5EF4-FFF2-40B4-BE49-F238E27FC236}">
                <a16:creationId xmlns:a16="http://schemas.microsoft.com/office/drawing/2014/main" id="{1F88C411-8C59-AFA3-5C10-11E75FDF9817}"/>
              </a:ext>
            </a:extLst>
          </p:cNvPr>
          <p:cNvSpPr>
            <a:spLocks noGrp="1"/>
          </p:cNvSpPr>
          <p:nvPr>
            <p:ph type="body" sz="quarter" idx="25"/>
          </p:nvPr>
        </p:nvSpPr>
        <p:spPr/>
        <p:txBody>
          <a:bodyPr/>
          <a:lstStyle/>
          <a:p>
            <a:r>
              <a:rPr lang="en-US" dirty="0"/>
              <a:t>How to learn and how to teach?</a:t>
            </a:r>
          </a:p>
        </p:txBody>
      </p:sp>
      <p:pic>
        <p:nvPicPr>
          <p:cNvPr id="4" name="Picture 3" descr="A close-up of a person's face&#10;&#10;Description automatically generated with low confidence">
            <a:extLst>
              <a:ext uri="{FF2B5EF4-FFF2-40B4-BE49-F238E27FC236}">
                <a16:creationId xmlns:a16="http://schemas.microsoft.com/office/drawing/2014/main" id="{E3728E40-CBB6-7E65-60F4-2888F16D2A7F}"/>
              </a:ext>
            </a:extLst>
          </p:cNvPr>
          <p:cNvPicPr>
            <a:picLocks noChangeAspect="1"/>
          </p:cNvPicPr>
          <p:nvPr/>
        </p:nvPicPr>
        <p:blipFill>
          <a:blip r:embed="rId3"/>
          <a:stretch>
            <a:fillRect/>
          </a:stretch>
        </p:blipFill>
        <p:spPr>
          <a:xfrm>
            <a:off x="6630320" y="2684406"/>
            <a:ext cx="1136461" cy="1136461"/>
          </a:xfrm>
          <a:prstGeom prst="rect">
            <a:avLst/>
          </a:prstGeom>
        </p:spPr>
      </p:pic>
      <p:pic>
        <p:nvPicPr>
          <p:cNvPr id="5" name="Picture 4" descr="Icon&#10;&#10;Description automatically generated">
            <a:extLst>
              <a:ext uri="{FF2B5EF4-FFF2-40B4-BE49-F238E27FC236}">
                <a16:creationId xmlns:a16="http://schemas.microsoft.com/office/drawing/2014/main" id="{17E1A62D-C5B3-ABCB-51AD-D53ED7C0CACC}"/>
              </a:ext>
            </a:extLst>
          </p:cNvPr>
          <p:cNvPicPr>
            <a:picLocks noChangeAspect="1"/>
          </p:cNvPicPr>
          <p:nvPr/>
        </p:nvPicPr>
        <p:blipFill>
          <a:blip r:embed="rId4"/>
          <a:stretch>
            <a:fillRect/>
          </a:stretch>
        </p:blipFill>
        <p:spPr>
          <a:xfrm>
            <a:off x="10074363" y="2389340"/>
            <a:ext cx="1647172" cy="1647172"/>
          </a:xfrm>
          <a:prstGeom prst="rect">
            <a:avLst/>
          </a:prstGeom>
        </p:spPr>
      </p:pic>
      <p:sp>
        <p:nvSpPr>
          <p:cNvPr id="6" name="Text Placeholder 8">
            <a:extLst>
              <a:ext uri="{FF2B5EF4-FFF2-40B4-BE49-F238E27FC236}">
                <a16:creationId xmlns:a16="http://schemas.microsoft.com/office/drawing/2014/main" id="{7764826D-D2A7-04A9-F9A4-6AE617C6D7DB}"/>
              </a:ext>
            </a:extLst>
          </p:cNvPr>
          <p:cNvSpPr txBox="1">
            <a:spLocks/>
          </p:cNvSpPr>
          <p:nvPr/>
        </p:nvSpPr>
        <p:spPr>
          <a:xfrm>
            <a:off x="8833887" y="3252637"/>
            <a:ext cx="583228" cy="352725"/>
          </a:xfrm>
          <a:prstGeom prst="rect">
            <a:avLst/>
          </a:prstGeom>
        </p:spPr>
        <p:txBody>
          <a:bodyPr vert="horz" wrap="square" lIns="0" tIns="0" rIns="0" bIns="0" rtlCol="0" anchor="t" anchorCtr="0">
            <a:spAutoFit/>
          </a:bodyPr>
          <a:lstStyle>
            <a:lvl1pPr marL="0" indent="0" algn="l" defTabSz="914400" rtl="0" eaLnBrk="1" latinLnBrk="0" hangingPunct="1">
              <a:lnSpc>
                <a:spcPts val="2400"/>
              </a:lnSpc>
              <a:spcBef>
                <a:spcPts val="600"/>
              </a:spcBef>
              <a:spcAft>
                <a:spcPts val="0"/>
              </a:spcAft>
              <a:buFont typeface="Arial" panose="020B0604020202020204" pitchFamily="34" charset="0"/>
              <a:buNone/>
              <a:tabLst/>
              <a:defRPr lang="en-GB" sz="1600" b="0" i="0" kern="1200" baseline="0">
                <a:solidFill>
                  <a:srgbClr val="000000"/>
                </a:solidFill>
                <a:latin typeface="Calibri Light" panose="020F0302020204030204" pitchFamily="34" charset="0"/>
                <a:ea typeface="Source Sans Pro" panose="020B0503030403020204" pitchFamily="34" charset="0"/>
                <a:cs typeface="Calibri Light" panose="020F0302020204030204" pitchFamily="34" charset="0"/>
              </a:defRPr>
            </a:lvl1pPr>
            <a:lvl2pPr marL="6350" indent="0" algn="l" defTabSz="914400" rtl="0" eaLnBrk="1" latinLnBrk="0" hangingPunct="1">
              <a:lnSpc>
                <a:spcPct val="110000"/>
              </a:lnSpc>
              <a:spcBef>
                <a:spcPts val="600"/>
              </a:spcBef>
              <a:spcAft>
                <a:spcPts val="0"/>
              </a:spcAft>
              <a:buFont typeface="Arial" panose="020B0604020202020204" pitchFamily="34" charset="0"/>
              <a:buNone/>
              <a:tabLst/>
              <a:defRPr lang="en-GB" sz="1200" b="0" i="0" kern="1200">
                <a:solidFill>
                  <a:schemeClr val="tx1"/>
                </a:solidFill>
                <a:latin typeface="Calibri Light" panose="020F0302020204030204" pitchFamily="34" charset="0"/>
                <a:ea typeface="Source Sans Pro" panose="020B0503030403020204" pitchFamily="34" charset="0"/>
                <a:cs typeface="Calibri Light" panose="020F0302020204030204" pitchFamily="34" charset="0"/>
              </a:defRPr>
            </a:lvl2pPr>
            <a:lvl3pPr marL="228600" indent="-228600" algn="l" defTabSz="914400" rtl="0" eaLnBrk="1" latinLnBrk="0" hangingPunct="1">
              <a:lnSpc>
                <a:spcPct val="110000"/>
              </a:lnSpc>
              <a:spcBef>
                <a:spcPts val="600"/>
              </a:spcBef>
              <a:spcAft>
                <a:spcPts val="0"/>
              </a:spcAft>
              <a:buFont typeface="Arial" panose="020B0604020202020204" pitchFamily="34" charset="0"/>
              <a:buChar char="•"/>
              <a:tabLst/>
              <a:defRPr lang="en-GB" sz="1200" b="0" i="0" kern="1200">
                <a:solidFill>
                  <a:schemeClr val="tx1"/>
                </a:solidFill>
                <a:latin typeface="Calibri Light" panose="020F0302020204030204" pitchFamily="34" charset="0"/>
                <a:ea typeface="Source Sans Pro" panose="020B0503030403020204" pitchFamily="34" charset="0"/>
                <a:cs typeface="Calibri Light" panose="020F0302020204030204" pitchFamily="34" charset="0"/>
              </a:defRPr>
            </a:lvl3pPr>
            <a:lvl4pPr marL="401638" indent="-228600" algn="l" defTabSz="914400" rtl="0" eaLnBrk="1" latinLnBrk="0" hangingPunct="1">
              <a:lnSpc>
                <a:spcPct val="110000"/>
              </a:lnSpc>
              <a:spcBef>
                <a:spcPts val="600"/>
              </a:spcBef>
              <a:spcAft>
                <a:spcPts val="0"/>
              </a:spcAft>
              <a:buFont typeface="Arial" panose="020B0604020202020204" pitchFamily="34" charset="0"/>
              <a:buChar char="•"/>
              <a:tabLst/>
              <a:defRPr lang="en-GB" sz="1200" b="0" i="0" kern="1200">
                <a:solidFill>
                  <a:schemeClr val="tx1"/>
                </a:solidFill>
                <a:latin typeface="Calibri Light" panose="020F0302020204030204" pitchFamily="34" charset="0"/>
                <a:ea typeface="Source Sans Pro" panose="020B0503030403020204" pitchFamily="34" charset="0"/>
                <a:cs typeface="Calibri Light" panose="020F0302020204030204" pitchFamily="34" charset="0"/>
              </a:defRPr>
            </a:lvl4pPr>
            <a:lvl5pPr marL="582613" indent="-228600" algn="l" defTabSz="914400" rtl="0" eaLnBrk="1" latinLnBrk="0" hangingPunct="1">
              <a:lnSpc>
                <a:spcPct val="110000"/>
              </a:lnSpc>
              <a:spcBef>
                <a:spcPts val="600"/>
              </a:spcBef>
              <a:spcAft>
                <a:spcPts val="0"/>
              </a:spcAft>
              <a:buFont typeface="Arial" panose="020B0604020202020204" pitchFamily="34" charset="0"/>
              <a:buChar char="•"/>
              <a:tabLst/>
              <a:defRPr lang="en-US" sz="1200" b="0" i="0" kern="1200" dirty="0">
                <a:solidFill>
                  <a:schemeClr val="tx1"/>
                </a:solidFill>
                <a:latin typeface="Calibri Light" panose="020F0302020204030204" pitchFamily="34" charset="0"/>
                <a:ea typeface="Source Sans Pro" panose="020B0503030403020204" pitchFamily="34" charset="0"/>
                <a:cs typeface="Calibri Light" panose="020F03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3600" b="1" dirty="0"/>
              <a:t>VS</a:t>
            </a:r>
            <a:endParaRPr lang="en-US" sz="3600" dirty="0"/>
          </a:p>
        </p:txBody>
      </p:sp>
    </p:spTree>
    <p:extLst>
      <p:ext uri="{BB962C8B-B14F-4D97-AF65-F5344CB8AC3E}">
        <p14:creationId xmlns:p14="http://schemas.microsoft.com/office/powerpoint/2010/main" val="747380446"/>
      </p:ext>
    </p:extLst>
  </p:cSld>
  <p:clrMapOvr>
    <a:masterClrMapping/>
  </p:clrMapOvr>
  <p:transition spd="slow">
    <p:push dir="u"/>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5359522-46B2-9C49-8E5A-315B3E4B881C}"/>
              </a:ext>
            </a:extLst>
          </p:cNvPr>
          <p:cNvSpPr>
            <a:spLocks noGrp="1"/>
          </p:cNvSpPr>
          <p:nvPr>
            <p:ph type="title"/>
          </p:nvPr>
        </p:nvSpPr>
        <p:spPr/>
        <p:txBody>
          <a:bodyPr/>
          <a:lstStyle/>
          <a:p>
            <a:r>
              <a:rPr lang="en-US" dirty="0"/>
              <a:t>Kolb's Experiential Learning Theory</a:t>
            </a:r>
          </a:p>
        </p:txBody>
      </p:sp>
      <p:sp>
        <p:nvSpPr>
          <p:cNvPr id="6" name="Text Placeholder 5">
            <a:extLst>
              <a:ext uri="{FF2B5EF4-FFF2-40B4-BE49-F238E27FC236}">
                <a16:creationId xmlns:a16="http://schemas.microsoft.com/office/drawing/2014/main" id="{B3CC20FE-2EC0-8782-52C5-7FEAC09DF4C2}"/>
              </a:ext>
            </a:extLst>
          </p:cNvPr>
          <p:cNvSpPr>
            <a:spLocks noGrp="1"/>
          </p:cNvSpPr>
          <p:nvPr>
            <p:ph type="body" sz="quarter" idx="28"/>
          </p:nvPr>
        </p:nvSpPr>
        <p:spPr/>
        <p:txBody>
          <a:bodyPr/>
          <a:lstStyle/>
          <a:p>
            <a:r>
              <a:rPr lang="en-US" dirty="0"/>
              <a:t>How to learn and how to teach</a:t>
            </a:r>
          </a:p>
          <a:p>
            <a:endParaRPr lang="en-CZ" dirty="0"/>
          </a:p>
        </p:txBody>
      </p:sp>
      <p:sp>
        <p:nvSpPr>
          <p:cNvPr id="4" name="TextBox 3">
            <a:extLst>
              <a:ext uri="{FF2B5EF4-FFF2-40B4-BE49-F238E27FC236}">
                <a16:creationId xmlns:a16="http://schemas.microsoft.com/office/drawing/2014/main" id="{6B0F5AF8-4574-AE42-A00B-41DEBD7C2560}"/>
              </a:ext>
            </a:extLst>
          </p:cNvPr>
          <p:cNvSpPr txBox="1"/>
          <p:nvPr/>
        </p:nvSpPr>
        <p:spPr>
          <a:xfrm>
            <a:off x="634602" y="1690668"/>
            <a:ext cx="5115643" cy="4583242"/>
          </a:xfrm>
          <a:prstGeom prst="rect">
            <a:avLst/>
          </a:prstGeom>
          <a:noFill/>
        </p:spPr>
        <p:txBody>
          <a:bodyPr wrap="square" rtlCol="0">
            <a:spAutoFit/>
          </a:bodyPr>
          <a:lstStyle/>
          <a:p>
            <a:pPr marL="268793" indent="-268793" defTabSz="1219170">
              <a:lnSpc>
                <a:spcPct val="150000"/>
              </a:lnSpc>
              <a:buClr>
                <a:schemeClr val="tx1"/>
              </a:buClr>
              <a:buFont typeface="Arial" panose="020B0604020202020204" pitchFamily="34" charset="0"/>
              <a:buChar char="•"/>
              <a:defRPr/>
            </a:pPr>
            <a:r>
              <a:rPr lang="en-US" sz="1400" b="1" dirty="0">
                <a:solidFill>
                  <a:srgbClr val="222222"/>
                </a:solidFill>
                <a:latin typeface="Calibri Light" panose="020F0302020204030204" pitchFamily="34" charset="0"/>
                <a:cs typeface="Calibri Light" panose="020F0302020204030204" pitchFamily="34" charset="0"/>
              </a:rPr>
              <a:t>Concrete Experience </a:t>
            </a:r>
            <a:r>
              <a:rPr lang="en-US" sz="1400" dirty="0">
                <a:solidFill>
                  <a:srgbClr val="222222"/>
                </a:solidFill>
                <a:latin typeface="Calibri Light" panose="020F0302020204030204" pitchFamily="34" charset="0"/>
                <a:cs typeface="Calibri Light" panose="020F0302020204030204" pitchFamily="34" charset="0"/>
              </a:rPr>
              <a:t>– the learner encounters a concrete experience. This might be a new experience or situation, or a reinterpretation of existing experience in the light of new concepts.</a:t>
            </a:r>
          </a:p>
          <a:p>
            <a:pPr marL="268793" indent="-268793" defTabSz="1219170">
              <a:lnSpc>
                <a:spcPct val="150000"/>
              </a:lnSpc>
              <a:buClr>
                <a:schemeClr val="tx1"/>
              </a:buClr>
              <a:buFont typeface="Arial" panose="020B0604020202020204" pitchFamily="34" charset="0"/>
              <a:buChar char="•"/>
              <a:defRPr/>
            </a:pPr>
            <a:r>
              <a:rPr lang="en-US" sz="1400" b="1" dirty="0">
                <a:solidFill>
                  <a:srgbClr val="222222"/>
                </a:solidFill>
                <a:latin typeface="Calibri Light" panose="020F0302020204030204" pitchFamily="34" charset="0"/>
                <a:cs typeface="Calibri Light" panose="020F0302020204030204" pitchFamily="34" charset="0"/>
              </a:rPr>
              <a:t>Reflective Observation of the New Experience </a:t>
            </a:r>
            <a:r>
              <a:rPr lang="en-US" sz="1400" dirty="0">
                <a:solidFill>
                  <a:srgbClr val="222222"/>
                </a:solidFill>
                <a:latin typeface="Calibri Light" panose="020F0302020204030204" pitchFamily="34" charset="0"/>
                <a:cs typeface="Calibri Light" panose="020F0302020204030204" pitchFamily="34" charset="0"/>
              </a:rPr>
              <a:t>– the learner reflects on the new experience in the light of their existing knowledge. Of particular importance are any inconsistencies between experience and understanding.</a:t>
            </a:r>
          </a:p>
          <a:p>
            <a:pPr marL="268793" indent="-268793" defTabSz="1219170">
              <a:lnSpc>
                <a:spcPct val="150000"/>
              </a:lnSpc>
              <a:buClr>
                <a:schemeClr val="tx1"/>
              </a:buClr>
              <a:buFont typeface="Arial" panose="020B0604020202020204" pitchFamily="34" charset="0"/>
              <a:buChar char="•"/>
              <a:defRPr/>
            </a:pPr>
            <a:r>
              <a:rPr lang="en-US" sz="1400" b="1" dirty="0">
                <a:solidFill>
                  <a:srgbClr val="222222"/>
                </a:solidFill>
                <a:latin typeface="Calibri Light" panose="020F0302020204030204" pitchFamily="34" charset="0"/>
                <a:cs typeface="Calibri Light" panose="020F0302020204030204" pitchFamily="34" charset="0"/>
              </a:rPr>
              <a:t>Abstract Conceptualization </a:t>
            </a:r>
            <a:r>
              <a:rPr lang="en-US" sz="1400" dirty="0">
                <a:solidFill>
                  <a:srgbClr val="222222"/>
                </a:solidFill>
                <a:latin typeface="Calibri Light" panose="020F0302020204030204" pitchFamily="34" charset="0"/>
                <a:cs typeface="Calibri Light" panose="020F0302020204030204" pitchFamily="34" charset="0"/>
              </a:rPr>
              <a:t>– reflection gives rise to a new idea, or a modification of an existing abstract concept (the person has learned from their experience).</a:t>
            </a:r>
          </a:p>
          <a:p>
            <a:pPr marL="268793" indent="-268793" defTabSz="1219170">
              <a:lnSpc>
                <a:spcPct val="150000"/>
              </a:lnSpc>
              <a:buClr>
                <a:schemeClr val="tx1"/>
              </a:buClr>
              <a:buFont typeface="Arial" panose="020B0604020202020204" pitchFamily="34" charset="0"/>
              <a:buChar char="•"/>
              <a:defRPr/>
            </a:pPr>
            <a:r>
              <a:rPr lang="en-US" sz="1400" b="1" dirty="0">
                <a:solidFill>
                  <a:srgbClr val="222222"/>
                </a:solidFill>
                <a:latin typeface="Calibri Light" panose="020F0302020204030204" pitchFamily="34" charset="0"/>
                <a:cs typeface="Calibri Light" panose="020F0302020204030204" pitchFamily="34" charset="0"/>
              </a:rPr>
              <a:t>Active Experimentation </a:t>
            </a:r>
            <a:r>
              <a:rPr lang="en-US" sz="1400" dirty="0">
                <a:solidFill>
                  <a:srgbClr val="222222"/>
                </a:solidFill>
                <a:latin typeface="Calibri Light" panose="020F0302020204030204" pitchFamily="34" charset="0"/>
                <a:cs typeface="Calibri Light" panose="020F0302020204030204" pitchFamily="34" charset="0"/>
              </a:rPr>
              <a:t>– the newly created or modified concepts give rise to experimentation. The learner applies their idea(s) to the world around them to see what happens.</a:t>
            </a:r>
          </a:p>
        </p:txBody>
      </p:sp>
      <p:sp>
        <p:nvSpPr>
          <p:cNvPr id="9" name="Rectangle 8">
            <a:extLst>
              <a:ext uri="{FF2B5EF4-FFF2-40B4-BE49-F238E27FC236}">
                <a16:creationId xmlns:a16="http://schemas.microsoft.com/office/drawing/2014/main" id="{529CE732-355F-405F-B8E1-C9ED38D10CDC}"/>
              </a:ext>
            </a:extLst>
          </p:cNvPr>
          <p:cNvSpPr/>
          <p:nvPr/>
        </p:nvSpPr>
        <p:spPr>
          <a:xfrm>
            <a:off x="568884" y="1167448"/>
            <a:ext cx="5247080" cy="523220"/>
          </a:xfrm>
          <a:prstGeom prst="rect">
            <a:avLst/>
          </a:prstGeom>
        </p:spPr>
        <p:txBody>
          <a:bodyPr wrap="square">
            <a:spAutoFit/>
          </a:bodyPr>
          <a:lstStyle/>
          <a:p>
            <a:pPr>
              <a:defRPr/>
            </a:pPr>
            <a:r>
              <a:rPr lang="en-US" sz="1400" b="1" dirty="0">
                <a:latin typeface="Calibri Light" panose="020F0302020204030204" pitchFamily="34" charset="0"/>
                <a:cs typeface="Calibri Light" panose="020F0302020204030204" pitchFamily="34" charset="0"/>
              </a:rPr>
              <a:t>Kolb’s experiential learning style theory is typically represented by a four-stage learning cycle in which the learner “touches all the bases”</a:t>
            </a:r>
          </a:p>
        </p:txBody>
      </p:sp>
      <p:pic>
        <p:nvPicPr>
          <p:cNvPr id="3" name="Picture 2" descr="Diagram&#10;&#10;Description automatically generated">
            <a:extLst>
              <a:ext uri="{FF2B5EF4-FFF2-40B4-BE49-F238E27FC236}">
                <a16:creationId xmlns:a16="http://schemas.microsoft.com/office/drawing/2014/main" id="{7594CE47-86BB-86F5-2A89-B5CEBF2F7CF4}"/>
              </a:ext>
            </a:extLst>
          </p:cNvPr>
          <p:cNvPicPr>
            <a:picLocks noChangeAspect="1"/>
          </p:cNvPicPr>
          <p:nvPr/>
        </p:nvPicPr>
        <p:blipFill>
          <a:blip r:embed="rId3"/>
          <a:stretch>
            <a:fillRect/>
          </a:stretch>
        </p:blipFill>
        <p:spPr>
          <a:xfrm>
            <a:off x="6441757" y="503651"/>
            <a:ext cx="5452489" cy="5452489"/>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3606294842"/>
      </p:ext>
    </p:extLst>
  </p:cSld>
  <p:clrMapOvr>
    <a:masterClrMapping/>
  </p:clrMapOvr>
  <p:transition spd="slow">
    <p:push dir="u"/>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3E7B12-94E5-1E8A-9A20-C930CC8426EB}"/>
              </a:ext>
            </a:extLst>
          </p:cNvPr>
          <p:cNvSpPr>
            <a:spLocks noGrp="1"/>
          </p:cNvSpPr>
          <p:nvPr>
            <p:ph type="title"/>
          </p:nvPr>
        </p:nvSpPr>
        <p:spPr>
          <a:xfrm>
            <a:off x="639073" y="1424520"/>
            <a:ext cx="5333999" cy="3693319"/>
          </a:xfrm>
        </p:spPr>
        <p:txBody>
          <a:bodyPr/>
          <a:lstStyle/>
          <a:p>
            <a:r>
              <a:rPr lang="en-US" sz="4800" dirty="0">
                <a:latin typeface="Calibri Light"/>
                <a:ea typeface="Calibri"/>
                <a:cs typeface="Calibri Light"/>
              </a:rPr>
              <a:t>What are the key skills of a Team Lead?</a:t>
            </a:r>
            <a:br>
              <a:rPr lang="en-US" sz="4800" dirty="0"/>
            </a:br>
            <a:r>
              <a:rPr lang="en-US" sz="4800" dirty="0">
                <a:solidFill>
                  <a:schemeClr val="accent6"/>
                </a:solidFill>
                <a:latin typeface="Calibri Light"/>
                <a:ea typeface="Calibri"/>
                <a:cs typeface="Calibri Light"/>
              </a:rPr>
              <a:t>What is the difference between a group and a team?</a:t>
            </a:r>
          </a:p>
        </p:txBody>
      </p:sp>
      <p:sp>
        <p:nvSpPr>
          <p:cNvPr id="8" name="Text Placeholder 7">
            <a:extLst>
              <a:ext uri="{FF2B5EF4-FFF2-40B4-BE49-F238E27FC236}">
                <a16:creationId xmlns:a16="http://schemas.microsoft.com/office/drawing/2014/main" id="{A33CA039-DE3C-5D85-0DB8-D98A38BFDC35}"/>
              </a:ext>
            </a:extLst>
          </p:cNvPr>
          <p:cNvSpPr>
            <a:spLocks noGrp="1"/>
          </p:cNvSpPr>
          <p:nvPr>
            <p:ph type="body" sz="quarter" idx="28"/>
          </p:nvPr>
        </p:nvSpPr>
        <p:spPr>
          <a:xfrm>
            <a:off x="627063" y="419100"/>
            <a:ext cx="3725862" cy="397732"/>
          </a:xfrm>
        </p:spPr>
        <p:txBody>
          <a:bodyPr>
            <a:normAutofit/>
          </a:bodyPr>
          <a:lstStyle/>
          <a:p>
            <a:r>
              <a:rPr lang="en-US" dirty="0"/>
              <a:t>Tricky question</a:t>
            </a:r>
          </a:p>
        </p:txBody>
      </p:sp>
      <p:sp>
        <p:nvSpPr>
          <p:cNvPr id="10" name="Text Placeholder 9">
            <a:extLst>
              <a:ext uri="{FF2B5EF4-FFF2-40B4-BE49-F238E27FC236}">
                <a16:creationId xmlns:a16="http://schemas.microsoft.com/office/drawing/2014/main" id="{1F88C411-8C59-AFA3-5C10-11E75FDF9817}"/>
              </a:ext>
            </a:extLst>
          </p:cNvPr>
          <p:cNvSpPr>
            <a:spLocks noGrp="1"/>
          </p:cNvSpPr>
          <p:nvPr>
            <p:ph type="body" sz="quarter" idx="25"/>
          </p:nvPr>
        </p:nvSpPr>
        <p:spPr/>
        <p:txBody>
          <a:bodyPr/>
          <a:lstStyle/>
          <a:p>
            <a:r>
              <a:rPr lang="en-US" dirty="0"/>
              <a:t>Before the discussion</a:t>
            </a:r>
          </a:p>
        </p:txBody>
      </p:sp>
      <p:pic>
        <p:nvPicPr>
          <p:cNvPr id="6" name="Picture 5" descr="A picture containing room, table&#10;&#10;Description automatically generated">
            <a:extLst>
              <a:ext uri="{FF2B5EF4-FFF2-40B4-BE49-F238E27FC236}">
                <a16:creationId xmlns:a16="http://schemas.microsoft.com/office/drawing/2014/main" id="{8B9BCDD0-BBCA-7E06-A2DC-09C50A694646}"/>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004672" y="1424520"/>
            <a:ext cx="3812316" cy="3506217"/>
          </a:xfrm>
          <a:prstGeom prst="rect">
            <a:avLst/>
          </a:prstGeom>
        </p:spPr>
      </p:pic>
    </p:spTree>
    <p:extLst>
      <p:ext uri="{BB962C8B-B14F-4D97-AF65-F5344CB8AC3E}">
        <p14:creationId xmlns:p14="http://schemas.microsoft.com/office/powerpoint/2010/main" val="306702682"/>
      </p:ext>
    </p:extLst>
  </p:cSld>
  <p:clrMapOvr>
    <a:masterClrMapping/>
  </p:clrMapOvr>
  <p:transition spd="slow">
    <p:push dir="u"/>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3E7B12-94E5-1E8A-9A20-C930CC8426EB}"/>
              </a:ext>
            </a:extLst>
          </p:cNvPr>
          <p:cNvSpPr>
            <a:spLocks noGrp="1"/>
          </p:cNvSpPr>
          <p:nvPr>
            <p:ph type="title"/>
          </p:nvPr>
        </p:nvSpPr>
        <p:spPr>
          <a:xfrm>
            <a:off x="639073" y="1424520"/>
            <a:ext cx="5333999" cy="4431983"/>
          </a:xfrm>
        </p:spPr>
        <p:txBody>
          <a:bodyPr/>
          <a:lstStyle/>
          <a:p>
            <a:r>
              <a:rPr lang="en-US" sz="3600" dirty="0"/>
              <a:t>A </a:t>
            </a:r>
            <a:r>
              <a:rPr lang="en-US" sz="3600" dirty="0">
                <a:solidFill>
                  <a:schemeClr val="accent6"/>
                </a:solidFill>
              </a:rPr>
              <a:t>team</a:t>
            </a:r>
            <a:r>
              <a:rPr lang="en-US" sz="3600" dirty="0"/>
              <a:t> is a </a:t>
            </a:r>
            <a:r>
              <a:rPr lang="en-US" sz="3600" dirty="0">
                <a:solidFill>
                  <a:schemeClr val="accent6"/>
                </a:solidFill>
              </a:rPr>
              <a:t>small number</a:t>
            </a:r>
            <a:r>
              <a:rPr lang="en-US" sz="3600" dirty="0"/>
              <a:t> of people with </a:t>
            </a:r>
            <a:r>
              <a:rPr lang="en-US" sz="3600" dirty="0">
                <a:solidFill>
                  <a:schemeClr val="accent6"/>
                </a:solidFill>
              </a:rPr>
              <a:t>complementary skills</a:t>
            </a:r>
            <a:r>
              <a:rPr lang="en-US" sz="3600" dirty="0"/>
              <a:t> who are </a:t>
            </a:r>
            <a:r>
              <a:rPr lang="en-US" sz="3600" dirty="0">
                <a:solidFill>
                  <a:schemeClr val="accent6"/>
                </a:solidFill>
              </a:rPr>
              <a:t>committed to a common purpose</a:t>
            </a:r>
            <a:r>
              <a:rPr lang="en-US" sz="3600" dirty="0"/>
              <a:t>, set of performance </a:t>
            </a:r>
            <a:r>
              <a:rPr lang="en-US" sz="3600" dirty="0">
                <a:solidFill>
                  <a:schemeClr val="accent6"/>
                </a:solidFill>
              </a:rPr>
              <a:t>goals</a:t>
            </a:r>
            <a:r>
              <a:rPr lang="en-US" sz="3600" dirty="0"/>
              <a:t>, and </a:t>
            </a:r>
            <a:r>
              <a:rPr lang="en-US" sz="3600" dirty="0">
                <a:solidFill>
                  <a:schemeClr val="accent6"/>
                </a:solidFill>
              </a:rPr>
              <a:t>approach</a:t>
            </a:r>
            <a:r>
              <a:rPr lang="en-US" sz="3600" dirty="0"/>
              <a:t> for which they hold themselves </a:t>
            </a:r>
            <a:r>
              <a:rPr lang="en-US" sz="3600" dirty="0">
                <a:solidFill>
                  <a:schemeClr val="accent6"/>
                </a:solidFill>
              </a:rPr>
              <a:t>mutually accountable</a:t>
            </a:r>
            <a:r>
              <a:rPr lang="en-US" sz="3600" dirty="0"/>
              <a:t>.</a:t>
            </a:r>
          </a:p>
        </p:txBody>
      </p:sp>
      <p:sp>
        <p:nvSpPr>
          <p:cNvPr id="8" name="Text Placeholder 7">
            <a:extLst>
              <a:ext uri="{FF2B5EF4-FFF2-40B4-BE49-F238E27FC236}">
                <a16:creationId xmlns:a16="http://schemas.microsoft.com/office/drawing/2014/main" id="{A33CA039-DE3C-5D85-0DB8-D98A38BFDC35}"/>
              </a:ext>
            </a:extLst>
          </p:cNvPr>
          <p:cNvSpPr>
            <a:spLocks noGrp="1"/>
          </p:cNvSpPr>
          <p:nvPr>
            <p:ph type="body" sz="quarter" idx="28"/>
          </p:nvPr>
        </p:nvSpPr>
        <p:spPr>
          <a:xfrm>
            <a:off x="627063" y="419100"/>
            <a:ext cx="3725862" cy="397732"/>
          </a:xfrm>
        </p:spPr>
        <p:txBody>
          <a:bodyPr>
            <a:normAutofit/>
          </a:bodyPr>
          <a:lstStyle/>
          <a:p>
            <a:r>
              <a:rPr lang="en-US" dirty="0"/>
              <a:t>Key definition</a:t>
            </a:r>
          </a:p>
        </p:txBody>
      </p:sp>
      <p:sp>
        <p:nvSpPr>
          <p:cNvPr id="10" name="Text Placeholder 9">
            <a:extLst>
              <a:ext uri="{FF2B5EF4-FFF2-40B4-BE49-F238E27FC236}">
                <a16:creationId xmlns:a16="http://schemas.microsoft.com/office/drawing/2014/main" id="{1F88C411-8C59-AFA3-5C10-11E75FDF9817}"/>
              </a:ext>
            </a:extLst>
          </p:cNvPr>
          <p:cNvSpPr>
            <a:spLocks noGrp="1"/>
          </p:cNvSpPr>
          <p:nvPr>
            <p:ph type="body" sz="quarter" idx="25"/>
          </p:nvPr>
        </p:nvSpPr>
        <p:spPr/>
        <p:txBody>
          <a:bodyPr/>
          <a:lstStyle/>
          <a:p>
            <a:r>
              <a:rPr lang="en-US" dirty="0"/>
              <a:t>Definition of Team</a:t>
            </a:r>
          </a:p>
        </p:txBody>
      </p:sp>
      <p:pic>
        <p:nvPicPr>
          <p:cNvPr id="6" name="Picture 5" descr="A picture containing room, table&#10;&#10;Description automatically generated">
            <a:extLst>
              <a:ext uri="{FF2B5EF4-FFF2-40B4-BE49-F238E27FC236}">
                <a16:creationId xmlns:a16="http://schemas.microsoft.com/office/drawing/2014/main" id="{86BB01EE-E1E1-34C2-8D82-42F2A8714B22}"/>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004672" y="1424520"/>
            <a:ext cx="3812316" cy="3506217"/>
          </a:xfrm>
          <a:prstGeom prst="rect">
            <a:avLst/>
          </a:prstGeom>
        </p:spPr>
      </p:pic>
    </p:spTree>
    <p:extLst>
      <p:ext uri="{BB962C8B-B14F-4D97-AF65-F5344CB8AC3E}">
        <p14:creationId xmlns:p14="http://schemas.microsoft.com/office/powerpoint/2010/main" val="2378474052"/>
      </p:ext>
    </p:extLst>
  </p:cSld>
  <p:clrMapOvr>
    <a:masterClrMapping/>
  </p:clrMapOvr>
  <p:transition spd="slow">
    <p:push dir="u"/>
  </p:transition>
</p:sld>
</file>

<file path=ppt/tags/tag1.xml><?xml version="1.0" encoding="utf-8"?>
<p:tagLst xmlns:a="http://schemas.openxmlformats.org/drawingml/2006/main" xmlns:r="http://schemas.openxmlformats.org/officeDocument/2006/relationships" xmlns:p="http://schemas.openxmlformats.org/presentationml/2006/main">
  <p:tag name="MIO_SHAPETYPES_AGENDA" val="MIO_AGENDA_TITLE"/>
</p:tagLst>
</file>

<file path=ppt/tags/tag2.xml><?xml version="1.0" encoding="utf-8"?>
<p:tagLst xmlns:a="http://schemas.openxmlformats.org/drawingml/2006/main" xmlns:r="http://schemas.openxmlformats.org/officeDocument/2006/relationships" xmlns:p="http://schemas.openxmlformats.org/presentationml/2006/main">
  <p:tag name="MIO_SHAPETYPES_AGENDA" val="MIO_AGENDA_FIRSTELEMENT_DECORATION"/>
</p:tagLst>
</file>

<file path=ppt/tags/tag3.xml><?xml version="1.0" encoding="utf-8"?>
<p:tagLst xmlns:a="http://schemas.openxmlformats.org/drawingml/2006/main" xmlns:r="http://schemas.openxmlformats.org/officeDocument/2006/relationships" xmlns:p="http://schemas.openxmlformats.org/presentationml/2006/main">
  <p:tag name="MIO_SHAPETYPES_AGENDA" val="MIO_AGENDA_FIRSTELEMENT_DECORATION"/>
</p:tagLst>
</file>

<file path=ppt/tags/tag4.xml><?xml version="1.0" encoding="utf-8"?>
<p:tagLst xmlns:a="http://schemas.openxmlformats.org/drawingml/2006/main" xmlns:r="http://schemas.openxmlformats.org/officeDocument/2006/relationships" xmlns:p="http://schemas.openxmlformats.org/presentationml/2006/main">
  <p:tag name="MIO_SHAPETYPES_AGENDA" val="MIO_AGENDA_FIRSTELEMENT_DECORATION"/>
</p:tagLst>
</file>

<file path=ppt/theme/theme1.xml><?xml version="1.0" encoding="utf-8"?>
<a:theme xmlns:a="http://schemas.openxmlformats.org/drawingml/2006/main" name="4_EngX Theme - ver.1.0">
  <a:themeElements>
    <a:clrScheme name="EngX Color Palette">
      <a:dk1>
        <a:srgbClr val="000000"/>
      </a:dk1>
      <a:lt1>
        <a:srgbClr val="FFFFFF"/>
      </a:lt1>
      <a:dk2>
        <a:srgbClr val="0A203C"/>
      </a:dk2>
      <a:lt2>
        <a:srgbClr val="F1F9F8"/>
      </a:lt2>
      <a:accent1>
        <a:srgbClr val="2C302F"/>
      </a:accent1>
      <a:accent2>
        <a:srgbClr val="1698DC"/>
      </a:accent2>
      <a:accent3>
        <a:srgbClr val="FA9A26"/>
      </a:accent3>
      <a:accent4>
        <a:srgbClr val="FF736C"/>
      </a:accent4>
      <a:accent5>
        <a:srgbClr val="75CCBD"/>
      </a:accent5>
      <a:accent6>
        <a:srgbClr val="177D69"/>
      </a:accent6>
      <a:hlink>
        <a:srgbClr val="37C1D6"/>
      </a:hlink>
      <a:folHlink>
        <a:srgbClr val="000000"/>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solidFill>
          <a:schemeClr val="accent1"/>
        </a:solidFill>
        <a:ln>
          <a:noFill/>
        </a:ln>
        <a:effectLst/>
      </a:spPr>
      <a:bodyPr wrap="none" rtlCol="0" anchor="ctr"/>
      <a:lstStyle>
        <a:defPPr algn="ctr">
          <a:defRPr sz="2400" dirty="0" err="1" smtClean="0">
            <a:solidFill>
              <a:schemeClr val="bg1"/>
            </a:solidFill>
            <a:latin typeface="Calibri Light" panose="020F0302020204030204" pitchFamily="34" charset="0"/>
            <a:ea typeface="Human Sans ExtraLight" charset="0"/>
            <a:cs typeface="Human Sans ExtraLight" charset="0"/>
          </a:defRPr>
        </a:defPPr>
      </a:lstStyle>
    </a:spDef>
    <a:lnDef>
      <a:spPr>
        <a:ln w="6350">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nSpc>
            <a:spcPct val="110000"/>
          </a:lnSpc>
          <a:spcBef>
            <a:spcPts val="600"/>
          </a:spcBef>
          <a:defRPr sz="1200" dirty="0" err="1" smtClean="0">
            <a:ea typeface="Human Sans" charset="0"/>
            <a:cs typeface="Human Sans" charset="0"/>
          </a:defRPr>
        </a:defPPr>
      </a:lstStyle>
    </a:txDef>
  </a:objectDefaults>
  <a:extraClrSchemeLst/>
  <a:extLst>
    <a:ext uri="{05A4C25C-085E-4340-85A3-A5531E510DB2}">
      <thm15:themeFamily xmlns:thm15="http://schemas.microsoft.com/office/thememl/2012/main" name="Presentation6" id="{62DACD8C-B8D8-704C-A726-ED3C800E8B6F}" vid="{BF7782E1-39DB-C74E-80CB-72E0F1C63BE3}"/>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10390</TotalTime>
  <Words>4835</Words>
  <Application>Microsoft Office PowerPoint</Application>
  <PresentationFormat>Widescreen</PresentationFormat>
  <Paragraphs>549</Paragraphs>
  <Slides>36</Slides>
  <Notes>34</Notes>
  <HiddenSlides>0</HiddenSlides>
  <MMClips>0</MMClips>
  <ScaleCrop>false</ScaleCrop>
  <HeadingPairs>
    <vt:vector size="6" baseType="variant">
      <vt:variant>
        <vt:lpstr>Fonts Used</vt:lpstr>
      </vt:variant>
      <vt:variant>
        <vt:i4>7</vt:i4>
      </vt:variant>
      <vt:variant>
        <vt:lpstr>Theme</vt:lpstr>
      </vt:variant>
      <vt:variant>
        <vt:i4>1</vt:i4>
      </vt:variant>
      <vt:variant>
        <vt:lpstr>Slide Titles</vt:lpstr>
      </vt:variant>
      <vt:variant>
        <vt:i4>36</vt:i4>
      </vt:variant>
    </vt:vector>
  </HeadingPairs>
  <TitlesOfParts>
    <vt:vector size="44" baseType="lpstr">
      <vt:lpstr>-apple-system</vt:lpstr>
      <vt:lpstr>Arial</vt:lpstr>
      <vt:lpstr>Calibri</vt:lpstr>
      <vt:lpstr>Calibri Light</vt:lpstr>
      <vt:lpstr>Human Sans</vt:lpstr>
      <vt:lpstr>Roboto</vt:lpstr>
      <vt:lpstr>Times New Roman</vt:lpstr>
      <vt:lpstr>4_EngX Theme - ver.1.0</vt:lpstr>
      <vt:lpstr>PowerPoint Presentation</vt:lpstr>
      <vt:lpstr> (Recording) Table of Contents  </vt:lpstr>
      <vt:lpstr>Speaker: Uladzimir Litvinau Software Engineering Team Leader </vt:lpstr>
      <vt:lpstr>Work hard now Save hundreds of hours and nerves in future…</vt:lpstr>
      <vt:lpstr>From Senior Developer to Junior Team Lead (and sometimes back)</vt:lpstr>
      <vt:lpstr>What is the difference in learning style of child and an adult?…</vt:lpstr>
      <vt:lpstr>Kolb's Experiential Learning Theory</vt:lpstr>
      <vt:lpstr>What are the key skills of a Team Lead? What is the difference between a group and a team?</vt:lpstr>
      <vt:lpstr>A team is a small number of people with complementary skills who are committed to a common purpose, set of performance goals, and approach for which they hold themselves mutually accountable.</vt:lpstr>
      <vt:lpstr>What are the key skills of Team Lead?</vt:lpstr>
      <vt:lpstr>Key Skills and Roles</vt:lpstr>
      <vt:lpstr>Team development model by Tackman</vt:lpstr>
      <vt:lpstr>THE FUNDAMENTAL ATTRIBUTION ERROR</vt:lpstr>
      <vt:lpstr>Dialectical method (logic)</vt:lpstr>
      <vt:lpstr>Dialectical method (logic) - Examples</vt:lpstr>
      <vt:lpstr>So, you've just become a team lead of new team that will work on new project… </vt:lpstr>
      <vt:lpstr>You've just met your new team. What are your first actions to establish rapport and set expectations?</vt:lpstr>
      <vt:lpstr>A client requires a specific framework, and another needs to be selected by your team.  How will you facilitate this decision?</vt:lpstr>
      <vt:lpstr>The client asks for an estimation of the first epic comprised of several stories.  Describe your approach and tools used for effective estimation. </vt:lpstr>
      <vt:lpstr>During the estimation session, Eva expresses confusion about the process, worried about her speed relative to Adam, it's obvious to her, that she'll work on the same task much longer.  How will you address her concerns and ensure she understands the estimation process?</vt:lpstr>
      <vt:lpstr>The Product Owner believes your team's estimation is too high.  How will you handle this disagreement?</vt:lpstr>
      <vt:lpstr>Rising tension between Adam and Bob is affecting team dynamics. How will you intervene and address the underlying issues?</vt:lpstr>
      <vt:lpstr>Diana reports recurrent issues with features breaking after updates. What strategies will you implement to tackle this?</vt:lpstr>
      <vt:lpstr>Despite agreed-upon quality measures, Bob disregards these guidelines, influencing Eva to follow suit. How will you realign their actions with team protocols?</vt:lpstr>
      <vt:lpstr>Bob is overwhelmed and becoming a bottleneck. What steps will you take to distribute the workload more effectively?</vt:lpstr>
      <vt:lpstr>Bob suffers an injury, sidelining him for 3 weeks. How will your team manage in his absence initially, and what long-term strategies will you consider?</vt:lpstr>
      <vt:lpstr>The client demands the incorporation of a high-priority task mid-sprint, causing disagreement among team members. How do you assess and communicate your decision?</vt:lpstr>
      <vt:lpstr>User story contains several tasks, one of which has tiny functionality but at the same time require large efforts.  How will you communicate it with PO / customer?</vt:lpstr>
      <vt:lpstr>Business Analyst creates contradiction requirements unclear for developers.  What will be your actions?</vt:lpstr>
      <vt:lpstr>A team member expresses interest in becoming a team lead. How will you mentor and prepare them for leadership responsibilities?</vt:lpstr>
      <vt:lpstr>Minutes before a crucial demo to the client, a key feature fails. What immediate actions do you take to salvage the presentation?</vt:lpstr>
      <vt:lpstr>With the project nearing completion and high team morale. What steps do you take to ensure a smooth transition or redeployment for team members?</vt:lpstr>
      <vt:lpstr>Homework</vt:lpstr>
      <vt:lpstr>Q&amp;A</vt:lpstr>
      <vt:lpstr>Feedback and takeaways </vt:lpstr>
      <vt:lpstr>Thank you!</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oduct description</dc:title>
  <dc:creator>Yana Noninian</dc:creator>
  <cp:lastModifiedBy>Uladzimir Litvinau</cp:lastModifiedBy>
  <cp:revision>68</cp:revision>
  <dcterms:created xsi:type="dcterms:W3CDTF">2021-04-12T06:51:46Z</dcterms:created>
  <dcterms:modified xsi:type="dcterms:W3CDTF">2024-08-18T07:36:4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2a535040-0af2-483f-adc3-a132c21e3e2b_Name">
    <vt:lpwstr>EPAM_Confidential</vt:lpwstr>
  </property>
  <property fmtid="{D5CDD505-2E9C-101B-9397-08002B2CF9AE}" pid="3" name="MSIP_Label_2a535040-0af2-483f-adc3-a132c21e3e2b_ContentBits">
    <vt:lpwstr>0</vt:lpwstr>
  </property>
  <property fmtid="{D5CDD505-2E9C-101B-9397-08002B2CF9AE}" pid="4" name="MSIP_Label_2a535040-0af2-483f-adc3-a132c21e3e2b_SiteId">
    <vt:lpwstr>b41b72d0-4e9f-4c26-8a69-f949f367c91d</vt:lpwstr>
  </property>
  <property fmtid="{D5CDD505-2E9C-101B-9397-08002B2CF9AE}" pid="5" name="MSIP_Label_2a535040-0af2-483f-adc3-a132c21e3e2b_Method">
    <vt:lpwstr>Standard</vt:lpwstr>
  </property>
  <property fmtid="{D5CDD505-2E9C-101B-9397-08002B2CF9AE}" pid="6" name="MSIP_Label_2a535040-0af2-483f-adc3-a132c21e3e2b_ActionId">
    <vt:lpwstr>499cad17-fec2-4cef-bb0f-a2f73e09e9a6</vt:lpwstr>
  </property>
  <property fmtid="{D5CDD505-2E9C-101B-9397-08002B2CF9AE}" pid="7" name="MSIP_Label_2a535040-0af2-483f-adc3-a132c21e3e2b_Enabled">
    <vt:lpwstr>true</vt:lpwstr>
  </property>
  <property fmtid="{D5CDD505-2E9C-101B-9397-08002B2CF9AE}" pid="8" name="MSIP_Label_2a535040-0af2-483f-adc3-a132c21e3e2b_SetDate">
    <vt:lpwstr>2022-04-19T10:43:58Z</vt:lpwstr>
  </property>
</Properties>
</file>